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image/svg+xml" Extension="svg"/>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ms-office.classificationlabels+xml" PartName="/docMetadata/LabelInfo.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ms-powerpoint.changesinfo+xml" PartName="/ppt/changesInfos/changesInfo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slide+xml" PartName="/ppt/slides/slide36.xml"/>
  <Override ContentType="application/vnd.openxmlformats-officedocument.presentationml.slide+xml" PartName="/ppt/slides/slide37.xml"/>
  <Override ContentType="application/vnd.openxmlformats-officedocument.presentationml.slide+xml" PartName="/ppt/slides/slide38.xml"/>
  <Override ContentType="application/vnd.openxmlformats-officedocument.presentationml.slide+xml" PartName="/ppt/slides/slide39.xml"/>
  <Override ContentType="application/vnd.openxmlformats-officedocument.presentationml.slide+xml" PartName="/ppt/slides/slide40.xml"/>
  <Override ContentType="application/vnd.openxmlformats-officedocument.presentationml.slide+xml" PartName="/ppt/slides/slide41.xml"/>
  <Override ContentType="application/vnd.openxmlformats-officedocument.presentationml.slide+xml" PartName="/ppt/slides/slide42.xml"/>
  <Override ContentType="application/vnd.openxmlformats-officedocument.presentationml.slide+xml" PartName="/ppt/slides/slide43.xml"/>
  <Override ContentType="application/vnd.openxmlformats-officedocument.presentationml.slide+xml" PartName="/ppt/slides/slide44.xml"/>
  <Override ContentType="application/vnd.openxmlformats-officedocument.presentationml.slide+xml" PartName="/ppt/slides/slide45.xml"/>
  <Override ContentType="application/vnd.openxmlformats-officedocument.presentationml.slide+xml" PartName="/ppt/slides/slide46.xml"/>
  <Override ContentType="application/vnd.openxmlformats-officedocument.presentationml.slide+xml" PartName="/ppt/slides/slide47.xml"/>
  <Override ContentType="application/vnd.openxmlformats-officedocument.presentationml.slide+xml" PartName="/ppt/slides/slide48.xml"/>
  <Override ContentType="application/vnd.openxmlformats-officedocument.presentationml.slide+xml" PartName="/ppt/slides/slide49.xml"/>
  <Override ContentType="application/vnd.openxmlformats-officedocument.presentationml.slide+xml" PartName="/ppt/slides/slide50.xml"/>
  <Override ContentType="application/vnd.openxmlformats-officedocument.presentationml.slide+xml" PartName="/ppt/slides/slide51.xml"/>
  <Override ContentType="application/vnd.openxmlformats-officedocument.presentationml.slide+xml" PartName="/ppt/slides/slide52.xml"/>
  <Override ContentType="application/vnd.openxmlformats-officedocument.presentationml.slide+xml" PartName="/ppt/slides/slide53.xml"/>
  <Override ContentType="application/vnd.openxmlformats-officedocument.presentationml.slide+xml" PartName="/ppt/slides/slide54.xml"/>
  <Override ContentType="application/vnd.openxmlformats-officedocument.presentationml.slide+xml" PartName="/ppt/slides/slide55.xml"/>
  <Override ContentType="application/vnd.openxmlformats-officedocument.presentationml.slide+xml" PartName="/ppt/slides/slide56.xml"/>
  <Override ContentType="application/vnd.openxmlformats-officedocument.presentationml.slide+xml" PartName="/ppt/slides/slide57.xml"/>
  <Override ContentType="application/vnd.openxmlformats-officedocument.presentationml.slide+xml" PartName="/ppt/slides/slide58.xml"/>
  <Override ContentType="application/vnd.openxmlformats-officedocument.presentationml.slide+xml" PartName="/ppt/slides/slide59.xml"/>
  <Override ContentType="application/vnd.openxmlformats-officedocument.presentationml.slide+xml" PartName="/ppt/slides/slide60.xml"/>
  <Override ContentType="application/vnd.openxmlformats-officedocument.presentationml.slide+xml" PartName="/ppt/slides/slide61.xml"/>
  <Override ContentType="application/vnd.openxmlformats-officedocument.presentationml.slide+xml" PartName="/ppt/slides/slide62.xml"/>
  <Override ContentType="application/vnd.openxmlformats-officedocument.presentationml.slide+xml" PartName="/ppt/slides/slide63.xml"/>
  <Override ContentType="application/vnd.openxmlformats-officedocument.presentationml.slide+xml" PartName="/ppt/slides/slide64.xml"/>
  <Override ContentType="application/vnd.openxmlformats-officedocument.presentationml.slide+xml" PartName="/ppt/slides/slide65.xml"/>
  <Override ContentType="application/vnd.openxmlformats-officedocument.presentationml.slide+xml" PartName="/ppt/slides/slide66.xml"/>
  <Override ContentType="application/vnd.openxmlformats-officedocument.presentationml.slide+xml" PartName="/ppt/slides/slide67.xml"/>
  <Override ContentType="application/vnd.openxmlformats-officedocument.presentationml.slide+xml" PartName="/ppt/slides/slide68.xml"/>
  <Override ContentType="application/vnd.openxmlformats-officedocument.presentationml.slide+xml" PartName="/ppt/slides/slide69.xml"/>
  <Override ContentType="application/vnd.openxmlformats-officedocument.presentationml.slide+xml" PartName="/ppt/slides/slide70.xml"/>
  <Override ContentType="application/vnd.openxmlformats-officedocument.presentationml.slide+xml" PartName="/ppt/slides/slide71.xml"/>
  <Override ContentType="application/vnd.openxmlformats-officedocument.presentationml.slide+xml" PartName="/ppt/slides/slide72.xml"/>
  <Override ContentType="application/vnd.openxmlformats-officedocument.presentationml.slide+xml" PartName="/ppt/slides/slide73.xml"/>
  <Override ContentType="application/vnd.openxmlformats-officedocument.presentationml.slide+xml" PartName="/ppt/slides/slide74.xml"/>
  <Override ContentType="application/vnd.openxmlformats-officedocument.presentationml.slide+xml" PartName="/ppt/slides/slide75.xml"/>
  <Override ContentType="application/vnd.openxmlformats-officedocument.presentationml.slide+xml" PartName="/ppt/slides/slide76.xml"/>
  <Override ContentType="application/vnd.openxmlformats-officedocument.presentationml.slide+xml" PartName="/ppt/slides/slide77.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presentationml.tags+xml" PartName="/ppt/tags/tag34.xml"/>
  <Override ContentType="application/vnd.openxmlformats-officedocument.presentationml.tags+xml" PartName="/ppt/tags/tag35.xml"/>
  <Override ContentType="application/vnd.openxmlformats-officedocument.presentationml.tags+xml" PartName="/ppt/tags/tag36.xml"/>
  <Override ContentType="application/vnd.openxmlformats-officedocument.presentationml.tags+xml" PartName="/ppt/tags/tag37.xml"/>
  <Override ContentType="application/vnd.openxmlformats-officedocument.presentationml.tags+xml" PartName="/ppt/tags/tag38.xml"/>
  <Override ContentType="application/vnd.openxmlformats-officedocument.presentationml.tags+xml" PartName="/ppt/tags/tag39.xml"/>
  <Override ContentType="application/vnd.openxmlformats-officedocument.presentationml.tags+xml" PartName="/ppt/tags/tag40.xml"/>
  <Override ContentType="application/vnd.openxmlformats-officedocument.presentationml.tags+xml" PartName="/ppt/tags/tag41.xml"/>
  <Override ContentType="application/vnd.openxmlformats-officedocument.presentationml.tags+xml" PartName="/ppt/tags/tag42.xml"/>
  <Override ContentType="application/vnd.openxmlformats-officedocument.presentationml.tags+xml" PartName="/ppt/tags/tag43.xml"/>
  <Override ContentType="application/vnd.openxmlformats-officedocument.presentationml.tags+xml" PartName="/ppt/tags/tag44.xml"/>
  <Override ContentType="application/vnd.openxmlformats-officedocument.presentationml.tags+xml" PartName="/ppt/tags/tag45.xml"/>
  <Override ContentType="application/vnd.openxmlformats-officedocument.presentationml.tags+xml" PartName="/ppt/tags/tag46.xml"/>
  <Override ContentType="application/vnd.openxmlformats-officedocument.presentationml.tags+xml" PartName="/ppt/tags/tag47.xml"/>
  <Override ContentType="application/vnd.openxmlformats-officedocument.presentationml.tags+xml" PartName="/ppt/tags/tag48.xml"/>
  <Override ContentType="application/vnd.openxmlformats-officedocument.presentationml.tags+xml" PartName="/ppt/tags/tag49.xml"/>
  <Override ContentType="application/vnd.openxmlformats-officedocument.presentationml.tags+xml" PartName="/ppt/tags/tag50.xml"/>
  <Override ContentType="application/vnd.openxmlformats-officedocument.presentationml.tags+xml" PartName="/ppt/tags/tag51.xml"/>
  <Override ContentType="application/vnd.openxmlformats-officedocument.presentationml.tags+xml" PartName="/ppt/tags/tag52.xml"/>
  <Override ContentType="application/vnd.openxmlformats-officedocument.presentationml.tags+xml" PartName="/ppt/tags/tag53.xml"/>
  <Override ContentType="application/vnd.openxmlformats-officedocument.presentationml.tags+xml" PartName="/ppt/tags/tag54.xml"/>
  <Override ContentType="application/vnd.openxmlformats-officedocument.presentationml.tags+xml" PartName="/ppt/tags/tag55.xml"/>
  <Override ContentType="application/vnd.openxmlformats-officedocument.presentationml.tags+xml" PartName="/ppt/tags/tag56.xml"/>
  <Override ContentType="application/vnd.openxmlformats-officedocument.presentationml.tags+xml" PartName="/ppt/tags/tag57.xml"/>
  <Override ContentType="application/vnd.openxmlformats-officedocument.presentationml.tags+xml" PartName="/ppt/tags/tag58.xml"/>
  <Override ContentType="application/vnd.openxmlformats-officedocument.presentationml.tags+xml" PartName="/ppt/tags/tag59.xml"/>
  <Override ContentType="application/vnd.openxmlformats-officedocument.presentationml.tags+xml" PartName="/ppt/tags/tag60.xml"/>
  <Override ContentType="application/vnd.openxmlformats-officedocument.presentationml.tags+xml" PartName="/ppt/tags/tag61.xml"/>
  <Override ContentType="application/vnd.openxmlformats-officedocument.presentationml.tags+xml" PartName="/ppt/tags/tag62.xml"/>
  <Override ContentType="application/vnd.openxmlformats-officedocument.presentationml.tags+xml" PartName="/ppt/tags/tag63.xml"/>
  <Override ContentType="application/vnd.openxmlformats-officedocument.presentationml.tags+xml" PartName="/ppt/tags/tag64.xml"/>
  <Override ContentType="application/vnd.openxmlformats-officedocument.presentationml.tags+xml" PartName="/ppt/tags/tag65.xml"/>
  <Override ContentType="application/vnd.openxmlformats-officedocument.presentationml.tags+xml" PartName="/ppt/tags/tag66.xml"/>
  <Override ContentType="application/vnd.openxmlformats-officedocument.presentationml.tags+xml" PartName="/ppt/tags/tag67.xml"/>
  <Override ContentType="application/vnd.openxmlformats-officedocument.presentationml.tags+xml" PartName="/ppt/tags/tag68.xml"/>
  <Override ContentType="application/vnd.openxmlformats-officedocument.presentationml.tags+xml" PartName="/ppt/tags/tag69.xml"/>
  <Override ContentType="application/vnd.openxmlformats-officedocument.presentationml.tags+xml" PartName="/ppt/tags/tag70.xml"/>
  <Override ContentType="application/vnd.openxmlformats-officedocument.presentationml.tags+xml" PartName="/ppt/tags/tag71.xml"/>
  <Override ContentType="application/vnd.openxmlformats-officedocument.presentationml.tags+xml" PartName="/ppt/tags/tag72.xml"/>
  <Override ContentType="application/vnd.openxmlformats-officedocument.presentationml.tags+xml" PartName="/ppt/tags/tag73.xml"/>
  <Override ContentType="application/vnd.openxmlformats-officedocument.presentationml.tags+xml" PartName="/ppt/tags/tag74.xml"/>
  <Override ContentType="application/vnd.openxmlformats-officedocument.presentationml.tags+xml" PartName="/ppt/tags/tag75.xml"/>
  <Override ContentType="application/vnd.openxmlformats-officedocument.presentationml.tags+xml" PartName="/ppt/tags/tag76.xml"/>
  <Override ContentType="application/vnd.openxmlformats-officedocument.presentationml.tags+xml" PartName="/ppt/tags/tag77.xml"/>
  <Override ContentType="application/vnd.openxmlformats-officedocument.presentationml.tags+xml" PartName="/ppt/tags/tag78.xml"/>
  <Override ContentType="application/vnd.openxmlformats-officedocument.presentationml.tags+xml" PartName="/ppt/tags/tag79.xml"/>
  <Override ContentType="application/vnd.openxmlformats-officedocument.presentationml.tags+xml" PartName="/ppt/tags/tag80.xml"/>
  <Override ContentType="application/vnd.openxmlformats-officedocument.presentationml.tags+xml" PartName="/ppt/tags/tag81.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 Id="rId6" Target="docMetadata/LabelInfo.xml" Type="http://schemas.microsoft.com/office/2020/02/relationships/classificationlabel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4"/>
  </p:sldMasterIdLst>
  <p:notesMasterIdLst>
    <p:notesMasterId r:id="rId82"/>
  </p:notesMasterIdLst>
  <p:sldIdLst>
    <p:sldId id="2146847413" r:id="rId5"/>
    <p:sldId id="2147483311" r:id="rId6"/>
    <p:sldId id="2147483312" r:id="rId7"/>
    <p:sldId id="2147483313" r:id="rId8"/>
    <p:sldId id="2147483289" r:id="rId9"/>
    <p:sldId id="2147378680" r:id="rId10"/>
    <p:sldId id="2147378682" r:id="rId11"/>
    <p:sldId id="2147378681" r:id="rId12"/>
    <p:sldId id="2147378746" r:id="rId13"/>
    <p:sldId id="2147378748" r:id="rId14"/>
    <p:sldId id="2147378683" r:id="rId15"/>
    <p:sldId id="2147378713" r:id="rId16"/>
    <p:sldId id="2147483306" r:id="rId17"/>
    <p:sldId id="2147378727" r:id="rId18"/>
    <p:sldId id="2147378709" r:id="rId19"/>
    <p:sldId id="2147378728" r:id="rId20"/>
    <p:sldId id="2147378729" r:id="rId21"/>
    <p:sldId id="2147378710" r:id="rId22"/>
    <p:sldId id="2147378731" r:id="rId23"/>
    <p:sldId id="2147378732" r:id="rId24"/>
    <p:sldId id="2147378711" r:id="rId25"/>
    <p:sldId id="2147378733" r:id="rId26"/>
    <p:sldId id="2147378734" r:id="rId27"/>
    <p:sldId id="2147378632" r:id="rId28"/>
    <p:sldId id="2147378730" r:id="rId29"/>
    <p:sldId id="2147378771" r:id="rId30"/>
    <p:sldId id="2147378772" r:id="rId31"/>
    <p:sldId id="2147378688" r:id="rId32"/>
    <p:sldId id="2147378739" r:id="rId33"/>
    <p:sldId id="2147483314" r:id="rId34"/>
    <p:sldId id="2147378741" r:id="rId35"/>
    <p:sldId id="2147378756" r:id="rId36"/>
    <p:sldId id="2147378757" r:id="rId37"/>
    <p:sldId id="2147378692" r:id="rId38"/>
    <p:sldId id="2147483307" r:id="rId39"/>
    <p:sldId id="2147378742" r:id="rId40"/>
    <p:sldId id="2147378743" r:id="rId41"/>
    <p:sldId id="2147378744" r:id="rId42"/>
    <p:sldId id="2147378745" r:id="rId43"/>
    <p:sldId id="2147378770" r:id="rId44"/>
    <p:sldId id="2147378747" r:id="rId45"/>
    <p:sldId id="2147378749" r:id="rId46"/>
    <p:sldId id="2147378751" r:id="rId47"/>
    <p:sldId id="2147483277" r:id="rId48"/>
    <p:sldId id="2147378754" r:id="rId49"/>
    <p:sldId id="2147378755" r:id="rId50"/>
    <p:sldId id="2147483276" r:id="rId51"/>
    <p:sldId id="2147378703" r:id="rId52"/>
    <p:sldId id="2147378717" r:id="rId53"/>
    <p:sldId id="2147378750" r:id="rId54"/>
    <p:sldId id="2147483308" r:id="rId55"/>
    <p:sldId id="2147483292" r:id="rId56"/>
    <p:sldId id="2147483293" r:id="rId57"/>
    <p:sldId id="2147483294" r:id="rId58"/>
    <p:sldId id="2147483295" r:id="rId59"/>
    <p:sldId id="2147483296" r:id="rId60"/>
    <p:sldId id="2147483297" r:id="rId61"/>
    <p:sldId id="2147483299" r:id="rId62"/>
    <p:sldId id="2147483300" r:id="rId63"/>
    <p:sldId id="2147378716" r:id="rId64"/>
    <p:sldId id="2147483302" r:id="rId65"/>
    <p:sldId id="2147483303" r:id="rId66"/>
    <p:sldId id="2147483304" r:id="rId67"/>
    <p:sldId id="2147483305" r:id="rId68"/>
    <p:sldId id="2147483309" r:id="rId69"/>
    <p:sldId id="2147378694" r:id="rId70"/>
    <p:sldId id="2147378693" r:id="rId71"/>
    <p:sldId id="2147483310" r:id="rId72"/>
    <p:sldId id="2147378704" r:id="rId73"/>
    <p:sldId id="2147378718" r:id="rId74"/>
    <p:sldId id="2147378705" r:id="rId75"/>
    <p:sldId id="2147378706" r:id="rId76"/>
    <p:sldId id="2147378707" r:id="rId77"/>
    <p:sldId id="2147378708" r:id="rId78"/>
    <p:sldId id="2147378721" r:id="rId79"/>
    <p:sldId id="2147378719" r:id="rId80"/>
    <p:sldId id="2147483275" r:id="rId81"/>
  </p:sldIdLst>
  <p:sldSz cx="12192000" cy="6858000"/>
  <p:notesSz cx="6735763" cy="9866313"/>
  <p:custDataLst>
    <p:tags r:id="rId8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業務計画書" id="{78621E46-1D76-4132-BD88-3FFF98A21A96}">
          <p14:sldIdLst>
            <p14:sldId id="2146847413"/>
            <p14:sldId id="2147483311"/>
            <p14:sldId id="2147483312"/>
            <p14:sldId id="2147483313"/>
          </p14:sldIdLst>
        </p14:section>
        <p14:section name="1.プロジェクトのビジョン" id="{71089CC9-A339-49B3-A81A-3999AFA51E87}">
          <p14:sldIdLst>
            <p14:sldId id="2147483289"/>
            <p14:sldId id="2147378680"/>
            <p14:sldId id="2147378682"/>
            <p14:sldId id="2147378681"/>
            <p14:sldId id="2147378746"/>
            <p14:sldId id="2147378748"/>
            <p14:sldId id="2147378683"/>
            <p14:sldId id="2147378713"/>
          </p14:sldIdLst>
        </p14:section>
        <p14:section name="交通サービスの高度化" id="{D0EF0475-21FA-4032-9BFD-F02F08739130}">
          <p14:sldIdLst>
            <p14:sldId id="2147483306"/>
            <p14:sldId id="2147378727"/>
            <p14:sldId id="2147378709"/>
            <p14:sldId id="2147378728"/>
            <p14:sldId id="2147378729"/>
            <p14:sldId id="2147378710"/>
            <p14:sldId id="2147378731"/>
            <p14:sldId id="2147378732"/>
            <p14:sldId id="2147378711"/>
            <p14:sldId id="2147378733"/>
            <p14:sldId id="2147378734"/>
            <p14:sldId id="2147378632"/>
            <p14:sldId id="2147378730"/>
            <p14:sldId id="2147378771"/>
            <p14:sldId id="2147378772"/>
            <p14:sldId id="2147378688"/>
            <p14:sldId id="2147378739"/>
            <p14:sldId id="2147483314"/>
            <p14:sldId id="2147378741"/>
            <p14:sldId id="2147378756"/>
            <p14:sldId id="2147378757"/>
            <p14:sldId id="2147378692"/>
          </p14:sldIdLst>
        </p14:section>
        <p14:section name="モビリティデータの取得と活用" id="{AC89D64D-E869-4FDF-BC54-73B9C6C88B32}">
          <p14:sldIdLst>
            <p14:sldId id="2147483307"/>
            <p14:sldId id="2147378742"/>
            <p14:sldId id="2147378743"/>
            <p14:sldId id="2147378744"/>
            <p14:sldId id="2147378745"/>
            <p14:sldId id="2147378770"/>
            <p14:sldId id="2147378747"/>
            <p14:sldId id="2147378749"/>
            <p14:sldId id="2147378751"/>
            <p14:sldId id="2147483277"/>
            <p14:sldId id="2147378754"/>
            <p14:sldId id="2147378755"/>
            <p14:sldId id="2147483276"/>
            <p14:sldId id="2147378703"/>
            <p14:sldId id="2147378717"/>
            <p14:sldId id="2147378750"/>
          </p14:sldIdLst>
        </p14:section>
        <p14:section name="Ⅳ. エンドコンテンツとの連携" id="{47EA838A-3E1A-493B-9646-B1DBF5CAC58C}">
          <p14:sldIdLst>
            <p14:sldId id="2147483308"/>
            <p14:sldId id="2147483292"/>
            <p14:sldId id="2147483293"/>
            <p14:sldId id="2147483294"/>
            <p14:sldId id="2147483295"/>
            <p14:sldId id="2147483296"/>
            <p14:sldId id="2147483297"/>
            <p14:sldId id="2147483299"/>
            <p14:sldId id="2147483300"/>
            <p14:sldId id="2147378716"/>
            <p14:sldId id="2147483302"/>
            <p14:sldId id="2147483303"/>
            <p14:sldId id="2147483304"/>
            <p14:sldId id="2147483305"/>
          </p14:sldIdLst>
        </p14:section>
        <p14:section name="Ⅴ. スケジュール" id="{8BA1191A-3529-4549-824C-27FEBF4972ED}">
          <p14:sldIdLst>
            <p14:sldId id="2147483309"/>
            <p14:sldId id="2147378694"/>
            <p14:sldId id="2147378693"/>
          </p14:sldIdLst>
        </p14:section>
        <p14:section name="Ⅵ. マネジメント計画" id="{B5E44641-B6F3-4DEE-B972-3F69BCB59202}">
          <p14:sldIdLst>
            <p14:sldId id="2147483310"/>
            <p14:sldId id="2147378704"/>
            <p14:sldId id="2147378718"/>
            <p14:sldId id="2147378705"/>
            <p14:sldId id="2147378706"/>
            <p14:sldId id="2147378707"/>
            <p14:sldId id="2147378708"/>
            <p14:sldId id="2147378721"/>
            <p14:sldId id="2147378719"/>
            <p14:sldId id="2147483275"/>
          </p14:sldIdLst>
        </p14:section>
      </p14:sectionLst>
    </p:ext>
    <p:ext uri="{EFAFB233-063F-42B5-8137-9DF3F51BA10A}">
      <p15:sldGuideLst xmlns:p15="http://schemas.microsoft.com/office/powerpoint/2012/main">
        <p15:guide id="1" orient="horz" pos="1253" userDrawn="1">
          <p15:clr>
            <a:srgbClr val="A4A3A4"/>
          </p15:clr>
        </p15:guide>
        <p15:guide id="2" orient="horz" pos="4088" userDrawn="1">
          <p15:clr>
            <a:srgbClr val="A4A3A4"/>
          </p15:clr>
        </p15:guide>
        <p15:guide id="3" pos="190" userDrawn="1">
          <p15:clr>
            <a:srgbClr val="A4A3A4"/>
          </p15:clr>
        </p15:guide>
        <p15:guide id="4" pos="7469" userDrawn="1">
          <p15:clr>
            <a:srgbClr val="A4A3A4"/>
          </p15:clr>
        </p15:guide>
        <p15:guide id="5" pos="1527" userDrawn="1">
          <p15:clr>
            <a:srgbClr val="A4A3A4"/>
          </p15:clr>
        </p15:guide>
        <p15:guide id="6" orient="horz" pos="1502" userDrawn="1">
          <p15:clr>
            <a:srgbClr val="A4A3A4"/>
          </p15:clr>
        </p15:guide>
        <p15:guide id="7" pos="3840" userDrawn="1">
          <p15:clr>
            <a:srgbClr val="A4A3A4"/>
          </p15:clr>
        </p15:guide>
        <p15:guide id="8" orient="horz" pos="2228" userDrawn="1">
          <p15:clr>
            <a:srgbClr val="A4A3A4"/>
          </p15:clr>
        </p15:guide>
        <p15:guide id="9" orient="horz" pos="2387" userDrawn="1">
          <p15:clr>
            <a:srgbClr val="A4A3A4"/>
          </p15:clr>
        </p15:guide>
        <p15:guide id="10" orient="horz" pos="2999" userDrawn="1">
          <p15:clr>
            <a:srgbClr val="A4A3A4"/>
          </p15:clr>
        </p15:guide>
        <p15:guide id="11" orient="horz" pos="1888"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A599D28-7D0E-EEFA-642C-DB1C6588FFBE}" name="森田 光貴" initials="光森" userId="S::morita-k2wu@mlit.go.jp::314cf0e2-2175-4948-8a4a-96924aa0786a" providerId="AD"/>
  <p188:author id="{A0892A53-A79B-9856-4E74-B2BF191E53E3}" name="内山 裕弥" initials="裕内" userId="S::uchiyama-y2vw@mlit.go.jp::8d34b9d0-ec49-418d-b1de-019cf6b56da5" providerId="AD"/>
  <p188:author id="{06B1FB5A-B15D-A860-8BE8-61B54813D39C}" name="丁野 光理" initials="光丁" userId="S::chohno-h2ge@mlit.go.jp::53361c9a-10d0-4268-b39c-a1f4044b33f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E4E4"/>
    <a:srgbClr val="E9F300"/>
    <a:srgbClr val="00C2C0"/>
    <a:srgbClr val="94949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1A483AB-3ACD-4C31-80F9-FE8A9CCBC644}" v="5118" dt="2025-02-10T01:49:25.533"/>
    <p1510:client id="{7B790B98-B604-4FBA-AA36-FB769611BBDF}" v="17" dt="2025-02-10T03:00:28.597"/>
    <p1510:client id="{A6405341-5B8D-4D8C-881C-35E94C1D1288}" v="985" dt="2025-02-10T01:49:34.692"/>
    <p1510:client id="{BEA0B159-1E5E-4B76-81CB-EBA25D9989EE}" v="193" dt="2025-02-10T05:09:44.193"/>
    <p1510:client id="{FB4601D1-EEC5-4530-9890-7FAD5B48F6AF}" v="388" dt="2025-02-10T05:37:36.299"/>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テーマ スタイル 1 - アクセント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D113A9D2-9D6B-4929-AA2D-F23B5EE8CBE7}" styleName="テーマ スタイル 2 - アクセント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405" autoAdjust="0"/>
  </p:normalViewPr>
  <p:slideViewPr>
    <p:cSldViewPr snapToGrid="0">
      <p:cViewPr>
        <p:scale>
          <a:sx n="70" d="100"/>
          <a:sy n="70" d="100"/>
        </p:scale>
        <p:origin x="48" y="822"/>
      </p:cViewPr>
      <p:guideLst>
        <p:guide orient="horz" pos="1253"/>
        <p:guide orient="horz" pos="4088"/>
        <p:guide pos="190"/>
        <p:guide pos="7469"/>
        <p:guide pos="1527"/>
        <p:guide orient="horz" pos="1502"/>
        <p:guide pos="3840"/>
        <p:guide orient="horz" pos="2228"/>
        <p:guide orient="horz" pos="2387"/>
        <p:guide orient="horz" pos="2999"/>
        <p:guide orient="horz" pos="1888"/>
      </p:guideLst>
    </p:cSldViewPr>
  </p:slideViewPr>
  <p:notesTextViewPr>
    <p:cViewPr>
      <p:scale>
        <a:sx n="1" d="1"/>
        <a:sy n="1" d="1"/>
      </p:scale>
      <p:origin x="0" y="0"/>
    </p:cViewPr>
  </p:notesTextViewPr>
  <p:gridSpacing cx="76200" cy="76200"/>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customXml/item2.xml" Type="http://schemas.openxmlformats.org/officeDocument/2006/relationships/customXml"/><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slides/slide21.xml" Type="http://schemas.openxmlformats.org/officeDocument/2006/relationships/slide"/><Relationship Id="rId26" Target="slides/slide22.xml" Type="http://schemas.openxmlformats.org/officeDocument/2006/relationships/slide"/><Relationship Id="rId27" Target="slides/slide23.xml" Type="http://schemas.openxmlformats.org/officeDocument/2006/relationships/slide"/><Relationship Id="rId28" Target="slides/slide24.xml" Type="http://schemas.openxmlformats.org/officeDocument/2006/relationships/slide"/><Relationship Id="rId29" Target="slides/slide25.xml" Type="http://schemas.openxmlformats.org/officeDocument/2006/relationships/slide"/><Relationship Id="rId3" Target="../customXml/item3.xml" Type="http://schemas.openxmlformats.org/officeDocument/2006/relationships/customXml"/><Relationship Id="rId30" Target="slides/slide26.xml" Type="http://schemas.openxmlformats.org/officeDocument/2006/relationships/slide"/><Relationship Id="rId31" Target="slides/slide27.xml" Type="http://schemas.openxmlformats.org/officeDocument/2006/relationships/slide"/><Relationship Id="rId32" Target="slides/slide28.xml" Type="http://schemas.openxmlformats.org/officeDocument/2006/relationships/slide"/><Relationship Id="rId33" Target="slides/slide29.xml" Type="http://schemas.openxmlformats.org/officeDocument/2006/relationships/slide"/><Relationship Id="rId34" Target="slides/slide30.xml" Type="http://schemas.openxmlformats.org/officeDocument/2006/relationships/slide"/><Relationship Id="rId35" Target="slides/slide31.xml" Type="http://schemas.openxmlformats.org/officeDocument/2006/relationships/slide"/><Relationship Id="rId36" Target="slides/slide32.xml" Type="http://schemas.openxmlformats.org/officeDocument/2006/relationships/slide"/><Relationship Id="rId37" Target="slides/slide33.xml" Type="http://schemas.openxmlformats.org/officeDocument/2006/relationships/slide"/><Relationship Id="rId38" Target="slides/slide34.xml" Type="http://schemas.openxmlformats.org/officeDocument/2006/relationships/slide"/><Relationship Id="rId39" Target="slides/slide35.xml" Type="http://schemas.openxmlformats.org/officeDocument/2006/relationships/slide"/><Relationship Id="rId4" Target="slideMasters/slideMaster1.xml" Type="http://schemas.openxmlformats.org/officeDocument/2006/relationships/slideMaster"/><Relationship Id="rId40" Target="slides/slide36.xml" Type="http://schemas.openxmlformats.org/officeDocument/2006/relationships/slide"/><Relationship Id="rId41" Target="slides/slide37.xml" Type="http://schemas.openxmlformats.org/officeDocument/2006/relationships/slide"/><Relationship Id="rId42" Target="slides/slide38.xml" Type="http://schemas.openxmlformats.org/officeDocument/2006/relationships/slide"/><Relationship Id="rId43" Target="slides/slide39.xml" Type="http://schemas.openxmlformats.org/officeDocument/2006/relationships/slide"/><Relationship Id="rId44" Target="slides/slide40.xml" Type="http://schemas.openxmlformats.org/officeDocument/2006/relationships/slide"/><Relationship Id="rId45" Target="slides/slide41.xml" Type="http://schemas.openxmlformats.org/officeDocument/2006/relationships/slide"/><Relationship Id="rId46" Target="slides/slide42.xml" Type="http://schemas.openxmlformats.org/officeDocument/2006/relationships/slide"/><Relationship Id="rId47" Target="slides/slide43.xml" Type="http://schemas.openxmlformats.org/officeDocument/2006/relationships/slide"/><Relationship Id="rId48" Target="slides/slide44.xml" Type="http://schemas.openxmlformats.org/officeDocument/2006/relationships/slide"/><Relationship Id="rId49" Target="slides/slide45.xml" Type="http://schemas.openxmlformats.org/officeDocument/2006/relationships/slide"/><Relationship Id="rId5" Target="slides/slide1.xml" Type="http://schemas.openxmlformats.org/officeDocument/2006/relationships/slide"/><Relationship Id="rId50" Target="slides/slide46.xml" Type="http://schemas.openxmlformats.org/officeDocument/2006/relationships/slide"/><Relationship Id="rId51" Target="slides/slide47.xml" Type="http://schemas.openxmlformats.org/officeDocument/2006/relationships/slide"/><Relationship Id="rId52" Target="slides/slide48.xml" Type="http://schemas.openxmlformats.org/officeDocument/2006/relationships/slide"/><Relationship Id="rId53" Target="slides/slide49.xml" Type="http://schemas.openxmlformats.org/officeDocument/2006/relationships/slide"/><Relationship Id="rId54" Target="slides/slide50.xml" Type="http://schemas.openxmlformats.org/officeDocument/2006/relationships/slide"/><Relationship Id="rId55" Target="slides/slide51.xml" Type="http://schemas.openxmlformats.org/officeDocument/2006/relationships/slide"/><Relationship Id="rId56" Target="slides/slide52.xml" Type="http://schemas.openxmlformats.org/officeDocument/2006/relationships/slide"/><Relationship Id="rId57" Target="slides/slide53.xml" Type="http://schemas.openxmlformats.org/officeDocument/2006/relationships/slide"/><Relationship Id="rId58" Target="slides/slide54.xml" Type="http://schemas.openxmlformats.org/officeDocument/2006/relationships/slide"/><Relationship Id="rId59" Target="slides/slide55.xml" Type="http://schemas.openxmlformats.org/officeDocument/2006/relationships/slide"/><Relationship Id="rId6" Target="slides/slide2.xml" Type="http://schemas.openxmlformats.org/officeDocument/2006/relationships/slide"/><Relationship Id="rId60" Target="slides/slide56.xml" Type="http://schemas.openxmlformats.org/officeDocument/2006/relationships/slide"/><Relationship Id="rId61" Target="slides/slide57.xml" Type="http://schemas.openxmlformats.org/officeDocument/2006/relationships/slide"/><Relationship Id="rId62" Target="slides/slide58.xml" Type="http://schemas.openxmlformats.org/officeDocument/2006/relationships/slide"/><Relationship Id="rId63" Target="slides/slide59.xml" Type="http://schemas.openxmlformats.org/officeDocument/2006/relationships/slide"/><Relationship Id="rId64" Target="slides/slide60.xml" Type="http://schemas.openxmlformats.org/officeDocument/2006/relationships/slide"/><Relationship Id="rId65" Target="slides/slide61.xml" Type="http://schemas.openxmlformats.org/officeDocument/2006/relationships/slide"/><Relationship Id="rId66" Target="slides/slide62.xml" Type="http://schemas.openxmlformats.org/officeDocument/2006/relationships/slide"/><Relationship Id="rId67" Target="slides/slide63.xml" Type="http://schemas.openxmlformats.org/officeDocument/2006/relationships/slide"/><Relationship Id="rId68" Target="slides/slide64.xml" Type="http://schemas.openxmlformats.org/officeDocument/2006/relationships/slide"/><Relationship Id="rId69" Target="slides/slide65.xml" Type="http://schemas.openxmlformats.org/officeDocument/2006/relationships/slide"/><Relationship Id="rId7" Target="slides/slide3.xml" Type="http://schemas.openxmlformats.org/officeDocument/2006/relationships/slide"/><Relationship Id="rId70" Target="slides/slide66.xml" Type="http://schemas.openxmlformats.org/officeDocument/2006/relationships/slide"/><Relationship Id="rId71" Target="slides/slide67.xml" Type="http://schemas.openxmlformats.org/officeDocument/2006/relationships/slide"/><Relationship Id="rId72" Target="slides/slide68.xml" Type="http://schemas.openxmlformats.org/officeDocument/2006/relationships/slide"/><Relationship Id="rId73" Target="slides/slide69.xml" Type="http://schemas.openxmlformats.org/officeDocument/2006/relationships/slide"/><Relationship Id="rId74" Target="slides/slide70.xml" Type="http://schemas.openxmlformats.org/officeDocument/2006/relationships/slide"/><Relationship Id="rId75" Target="slides/slide71.xml" Type="http://schemas.openxmlformats.org/officeDocument/2006/relationships/slide"/><Relationship Id="rId76" Target="slides/slide72.xml" Type="http://schemas.openxmlformats.org/officeDocument/2006/relationships/slide"/><Relationship Id="rId77" Target="slides/slide73.xml" Type="http://schemas.openxmlformats.org/officeDocument/2006/relationships/slide"/><Relationship Id="rId78" Target="slides/slide74.xml" Type="http://schemas.openxmlformats.org/officeDocument/2006/relationships/slide"/><Relationship Id="rId79" Target="slides/slide75.xml" Type="http://schemas.openxmlformats.org/officeDocument/2006/relationships/slide"/><Relationship Id="rId8" Target="slides/slide4.xml" Type="http://schemas.openxmlformats.org/officeDocument/2006/relationships/slide"/><Relationship Id="rId80" Target="slides/slide76.xml" Type="http://schemas.openxmlformats.org/officeDocument/2006/relationships/slide"/><Relationship Id="rId81" Target="slides/slide77.xml" Type="http://schemas.openxmlformats.org/officeDocument/2006/relationships/slide"/><Relationship Id="rId82" Target="notesMasters/notesMaster1.xml" Type="http://schemas.openxmlformats.org/officeDocument/2006/relationships/notesMaster"/><Relationship Id="rId83" Target="tags/tag1.xml" Type="http://schemas.openxmlformats.org/officeDocument/2006/relationships/tags"/><Relationship Id="rId84" Target="presProps.xml" Type="http://schemas.openxmlformats.org/officeDocument/2006/relationships/presProps"/><Relationship Id="rId85" Target="viewProps.xml" Type="http://schemas.openxmlformats.org/officeDocument/2006/relationships/viewProps"/><Relationship Id="rId86" Target="theme/theme1.xml" Type="http://schemas.openxmlformats.org/officeDocument/2006/relationships/theme"/><Relationship Id="rId87" Target="tableStyles.xml" Type="http://schemas.openxmlformats.org/officeDocument/2006/relationships/tableStyles"/><Relationship Id="rId88" Target="changesInfos/changesInfo1.xml" Type="http://schemas.microsoft.com/office/2016/11/relationships/changesInfo"/><Relationship Id="rId89" Target="revisionInfo.xml" Type="http://schemas.microsoft.com/office/2015/10/relationships/revisionInfo"/><Relationship Id="rId9" Target="slides/slide5.xml" Type="http://schemas.openxmlformats.org/officeDocument/2006/relationships/slide"/><Relationship Id="rId90" Target="authors.xml" Type="http://schemas.microsoft.com/office/2018/10/relationships/authors"/></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丁野 光理" userId="53361c9a-10d0-4268-b39c-a1f4044b33f4" providerId="ADAL" clId="{5FE0A016-0A93-4063-8F08-CD48630E8DBB}"/>
    <pc:docChg chg="undo redo custSel addSld delSld modSld sldOrd modMainMaster addSection modSection modNotesMaster">
      <pc:chgData name="丁野 光理" userId="53361c9a-10d0-4268-b39c-a1f4044b33f4" providerId="ADAL" clId="{5FE0A016-0A93-4063-8F08-CD48630E8DBB}" dt="2025-02-07T12:37:10.127" v="26258" actId="1076"/>
      <pc:docMkLst>
        <pc:docMk/>
      </pc:docMkLst>
      <pc:sldChg chg="addSp delSp modSp mod">
        <pc:chgData name="丁野 光理" userId="53361c9a-10d0-4268-b39c-a1f4044b33f4" providerId="ADAL" clId="{5FE0A016-0A93-4063-8F08-CD48630E8DBB}" dt="2025-01-31T12:51:40.294" v="650" actId="20577"/>
        <pc:sldMkLst>
          <pc:docMk/>
          <pc:sldMk cId="2355786622" sldId="2146847413"/>
        </pc:sldMkLst>
        <pc:spChg chg="mod">
          <ac:chgData name="丁野 光理" userId="53361c9a-10d0-4268-b39c-a1f4044b33f4" providerId="ADAL" clId="{5FE0A016-0A93-4063-8F08-CD48630E8DBB}" dt="2025-01-29T13:08:43.486" v="196" actId="20577"/>
          <ac:spMkLst>
            <pc:docMk/>
            <pc:sldMk cId="2355786622" sldId="2146847413"/>
            <ac:spMk id="2" creationId="{1F2F2840-6B61-4DF2-B42A-EAA99F678FEE}"/>
          </ac:spMkLst>
        </pc:spChg>
        <pc:spChg chg="mod">
          <ac:chgData name="丁野 光理" userId="53361c9a-10d0-4268-b39c-a1f4044b33f4" providerId="ADAL" clId="{5FE0A016-0A93-4063-8F08-CD48630E8DBB}" dt="2025-01-31T12:51:40.294" v="650" actId="20577"/>
          <ac:spMkLst>
            <pc:docMk/>
            <pc:sldMk cId="2355786622" sldId="2146847413"/>
            <ac:spMk id="3" creationId="{C57F1E1F-3521-45C1-9CD2-360C7A8ED649}"/>
          </ac:spMkLst>
        </pc:spChg>
        <pc:spChg chg="mod">
          <ac:chgData name="丁野 光理" userId="53361c9a-10d0-4268-b39c-a1f4044b33f4" providerId="ADAL" clId="{5FE0A016-0A93-4063-8F08-CD48630E8DBB}" dt="2025-01-29T13:08:36.549" v="184"/>
          <ac:spMkLst>
            <pc:docMk/>
            <pc:sldMk cId="2355786622" sldId="2146847413"/>
            <ac:spMk id="5" creationId="{9481A0E3-366D-4687-A4B2-6C58A1A7C6CC}"/>
          </ac:spMkLst>
        </pc:spChg>
        <pc:spChg chg="add del">
          <ac:chgData name="丁野 光理" userId="53361c9a-10d0-4268-b39c-a1f4044b33f4" providerId="ADAL" clId="{5FE0A016-0A93-4063-8F08-CD48630E8DBB}" dt="2025-01-29T13:08:30.306" v="153" actId="478"/>
          <ac:spMkLst>
            <pc:docMk/>
            <pc:sldMk cId="2355786622" sldId="2146847413"/>
            <ac:spMk id="8" creationId="{62B98AA6-9065-164D-2986-27FFD7882C1B}"/>
          </ac:spMkLst>
        </pc:spChg>
      </pc:sldChg>
      <pc:sldChg chg="addSp delSp modSp mod ord">
        <pc:chgData name="丁野 光理" userId="53361c9a-10d0-4268-b39c-a1f4044b33f4" providerId="ADAL" clId="{5FE0A016-0A93-4063-8F08-CD48630E8DBB}" dt="2025-02-07T01:04:53.808" v="16986" actId="20577"/>
        <pc:sldMkLst>
          <pc:docMk/>
          <pc:sldMk cId="2852443830" sldId="2147378632"/>
        </pc:sldMkLst>
        <pc:spChg chg="add del mod">
          <ac:chgData name="丁野 光理" userId="53361c9a-10d0-4268-b39c-a1f4044b33f4" providerId="ADAL" clId="{5FE0A016-0A93-4063-8F08-CD48630E8DBB}" dt="2025-02-06T15:08:54.697" v="7772"/>
          <ac:spMkLst>
            <pc:docMk/>
            <pc:sldMk cId="2852443830" sldId="2147378632"/>
            <ac:spMk id="2" creationId="{BDE63369-EA7E-4802-A4A3-D4010A333C66}"/>
          </ac:spMkLst>
        </pc:spChg>
        <pc:spChg chg="del">
          <ac:chgData name="丁野 光理" userId="53361c9a-10d0-4268-b39c-a1f4044b33f4" providerId="ADAL" clId="{5FE0A016-0A93-4063-8F08-CD48630E8DBB}" dt="2025-01-29T13:07:26.919" v="135" actId="478"/>
          <ac:spMkLst>
            <pc:docMk/>
            <pc:sldMk cId="2852443830" sldId="2147378632"/>
            <ac:spMk id="3" creationId="{17F7BD63-A43F-D667-8278-6E77C003EFBB}"/>
          </ac:spMkLst>
        </pc:spChg>
        <pc:spChg chg="add del mod">
          <ac:chgData name="丁野 光理" userId="53361c9a-10d0-4268-b39c-a1f4044b33f4" providerId="ADAL" clId="{5FE0A016-0A93-4063-8F08-CD48630E8DBB}" dt="2025-02-06T15:06:30.552" v="7691" actId="478"/>
          <ac:spMkLst>
            <pc:docMk/>
            <pc:sldMk cId="2852443830" sldId="2147378632"/>
            <ac:spMk id="4" creationId="{462CFACA-5357-0B34-ED45-F8718570E4C2}"/>
          </ac:spMkLst>
        </pc:spChg>
        <pc:spChg chg="add mod">
          <ac:chgData name="丁野 光理" userId="53361c9a-10d0-4268-b39c-a1f4044b33f4" providerId="ADAL" clId="{5FE0A016-0A93-4063-8F08-CD48630E8DBB}" dt="2025-02-06T15:06:09.554" v="7662"/>
          <ac:spMkLst>
            <pc:docMk/>
            <pc:sldMk cId="2852443830" sldId="2147378632"/>
            <ac:spMk id="6" creationId="{E7317F97-0794-9B48-E19C-99C6EC000C99}"/>
          </ac:spMkLst>
        </pc:spChg>
        <pc:spChg chg="mod">
          <ac:chgData name="丁野 光理" userId="53361c9a-10d0-4268-b39c-a1f4044b33f4" providerId="ADAL" clId="{5FE0A016-0A93-4063-8F08-CD48630E8DBB}" dt="2025-02-06T15:08:56.792" v="7777"/>
          <ac:spMkLst>
            <pc:docMk/>
            <pc:sldMk cId="2852443830" sldId="2147378632"/>
            <ac:spMk id="9" creationId="{D22A0A06-D5A8-4A1A-B66F-2A8EDBD644F1}"/>
          </ac:spMkLst>
        </pc:spChg>
        <pc:spChg chg="add del mod">
          <ac:chgData name="丁野 光理" userId="53361c9a-10d0-4268-b39c-a1f4044b33f4" providerId="ADAL" clId="{5FE0A016-0A93-4063-8F08-CD48630E8DBB}" dt="2025-02-06T17:25:58.460" v="15786" actId="478"/>
          <ac:spMkLst>
            <pc:docMk/>
            <pc:sldMk cId="2852443830" sldId="2147378632"/>
            <ac:spMk id="10" creationId="{324A39D6-6DFB-9AC8-82A4-4B9F34D17D31}"/>
          </ac:spMkLst>
        </pc:spChg>
        <pc:spChg chg="add mod">
          <ac:chgData name="丁野 光理" userId="53361c9a-10d0-4268-b39c-a1f4044b33f4" providerId="ADAL" clId="{5FE0A016-0A93-4063-8F08-CD48630E8DBB}" dt="2025-02-06T17:28:48.768" v="16134" actId="1076"/>
          <ac:spMkLst>
            <pc:docMk/>
            <pc:sldMk cId="2852443830" sldId="2147378632"/>
            <ac:spMk id="11" creationId="{F3C7DC9A-525C-F63B-8EA0-A1FD3AEF7283}"/>
          </ac:spMkLst>
        </pc:spChg>
        <pc:graphicFrameChg chg="mod modGraphic">
          <ac:chgData name="丁野 光理" userId="53361c9a-10d0-4268-b39c-a1f4044b33f4" providerId="ADAL" clId="{5FE0A016-0A93-4063-8F08-CD48630E8DBB}" dt="2025-02-07T01:04:53.808" v="16986" actId="20577"/>
          <ac:graphicFrameMkLst>
            <pc:docMk/>
            <pc:sldMk cId="2852443830" sldId="2147378632"/>
            <ac:graphicFrameMk id="8" creationId="{628A4627-CAA7-6C39-A2F3-3AFB41DE8AAE}"/>
          </ac:graphicFrameMkLst>
        </pc:graphicFrameChg>
      </pc:sldChg>
      <pc:sldChg chg="delSp modSp del mod modCm">
        <pc:chgData name="丁野 光理" userId="53361c9a-10d0-4268-b39c-a1f4044b33f4" providerId="ADAL" clId="{5FE0A016-0A93-4063-8F08-CD48630E8DBB}" dt="2025-02-07T11:43:37.991" v="25005" actId="47"/>
        <pc:sldMkLst>
          <pc:docMk/>
          <pc:sldMk cId="1869527861" sldId="2147378640"/>
        </pc:sldMkLst>
        <pc:spChg chg="mod">
          <ac:chgData name="丁野 光理" userId="53361c9a-10d0-4268-b39c-a1f4044b33f4" providerId="ADAL" clId="{5FE0A016-0A93-4063-8F08-CD48630E8DBB}" dt="2025-02-07T11:31:29.395" v="24681" actId="14100"/>
          <ac:spMkLst>
            <pc:docMk/>
            <pc:sldMk cId="1869527861" sldId="2147378640"/>
            <ac:spMk id="9" creationId="{67FD600D-F712-D335-9DCD-5DDA57077E60}"/>
          </ac:spMkLst>
        </pc:spChg>
        <pc:spChg chg="mod">
          <ac:chgData name="丁野 光理" userId="53361c9a-10d0-4268-b39c-a1f4044b33f4" providerId="ADAL" clId="{5FE0A016-0A93-4063-8F08-CD48630E8DBB}" dt="2025-02-07T11:38:26.541" v="24922" actId="20577"/>
          <ac:spMkLst>
            <pc:docMk/>
            <pc:sldMk cId="1869527861" sldId="2147378640"/>
            <ac:spMk id="10" creationId="{80E6EF29-A9F8-46B2-8DDE-5092A65E485F}"/>
          </ac:spMkLst>
        </pc:spChg>
        <pc:spChg chg="del">
          <ac:chgData name="丁野 光理" userId="53361c9a-10d0-4268-b39c-a1f4044b33f4" providerId="ADAL" clId="{5FE0A016-0A93-4063-8F08-CD48630E8DBB}" dt="2025-02-06T12:38:41.312" v="1292" actId="478"/>
          <ac:spMkLst>
            <pc:docMk/>
            <pc:sldMk cId="1869527861" sldId="2147378640"/>
            <ac:spMk id="12" creationId="{9CCD81C1-1043-F8AF-5811-0282266A431F}"/>
          </ac:spMkLst>
        </pc:spChg>
        <pc:extLst>
          <p:ext xmlns:p="http://schemas.openxmlformats.org/presentationml/2006/main" uri="{D6D511B9-2390-475A-947B-AFAB55BFBCF1}">
            <pc226:cmChg xmlns:pc226="http://schemas.microsoft.com/office/powerpoint/2022/06/main/command" chg="mod">
              <pc226:chgData name="丁野 光理" userId="53361c9a-10d0-4268-b39c-a1f4044b33f4" providerId="ADAL" clId="{5FE0A016-0A93-4063-8F08-CD48630E8DBB}" dt="2025-02-05T11:25:13.276" v="796" actId="20577"/>
              <pc2:cmMkLst xmlns:pc2="http://schemas.microsoft.com/office/powerpoint/2019/9/main/command">
                <pc:docMk/>
                <pc:sldMk cId="1869527861" sldId="2147378640"/>
                <pc2:cmMk id="{CB76E606-BD79-470F-8264-5EC4A7D34A70}"/>
              </pc2:cmMkLst>
            </pc226:cmChg>
            <pc226:cmChg xmlns:pc226="http://schemas.microsoft.com/office/powerpoint/2022/06/main/command" chg="mod">
              <pc226:chgData name="丁野 光理" userId="53361c9a-10d0-4268-b39c-a1f4044b33f4" providerId="ADAL" clId="{5FE0A016-0A93-4063-8F08-CD48630E8DBB}" dt="2025-02-05T11:25:13.276" v="796" actId="20577"/>
              <pc2:cmMkLst xmlns:pc2="http://schemas.microsoft.com/office/powerpoint/2019/9/main/command">
                <pc:docMk/>
                <pc:sldMk cId="1869527861" sldId="2147378640"/>
                <pc2:cmMk id="{FEDF5F49-B924-4C4F-AC7B-7CE1C185AACC}"/>
              </pc2:cmMkLst>
            </pc226:cmChg>
            <pc226:cmChg xmlns:pc226="http://schemas.microsoft.com/office/powerpoint/2022/06/main/command" chg="mod">
              <pc226:chgData name="丁野 光理" userId="53361c9a-10d0-4268-b39c-a1f4044b33f4" providerId="ADAL" clId="{5FE0A016-0A93-4063-8F08-CD48630E8DBB}" dt="2025-02-05T11:25:13.276" v="796" actId="20577"/>
              <pc2:cmMkLst xmlns:pc2="http://schemas.microsoft.com/office/powerpoint/2019/9/main/command">
                <pc:docMk/>
                <pc:sldMk cId="1869527861" sldId="2147378640"/>
                <pc2:cmMk id="{FDC01290-64EA-4550-803A-97F0B2CBA9DE}"/>
              </pc2:cmMkLst>
            </pc226:cmChg>
          </p:ext>
        </pc:extLst>
      </pc:sldChg>
      <pc:sldChg chg="del">
        <pc:chgData name="丁野 光理" userId="53361c9a-10d0-4268-b39c-a1f4044b33f4" providerId="ADAL" clId="{5FE0A016-0A93-4063-8F08-CD48630E8DBB}" dt="2025-02-05T11:26:29.036" v="805" actId="47"/>
        <pc:sldMkLst>
          <pc:docMk/>
          <pc:sldMk cId="2854292604" sldId="2147378652"/>
        </pc:sldMkLst>
      </pc:sldChg>
      <pc:sldChg chg="del">
        <pc:chgData name="丁野 光理" userId="53361c9a-10d0-4268-b39c-a1f4044b33f4" providerId="ADAL" clId="{5FE0A016-0A93-4063-8F08-CD48630E8DBB}" dt="2025-02-05T11:26:37.660" v="807" actId="47"/>
        <pc:sldMkLst>
          <pc:docMk/>
          <pc:sldMk cId="1245055399" sldId="2147378653"/>
        </pc:sldMkLst>
      </pc:sldChg>
      <pc:sldChg chg="del">
        <pc:chgData name="丁野 光理" userId="53361c9a-10d0-4268-b39c-a1f4044b33f4" providerId="ADAL" clId="{5FE0A016-0A93-4063-8F08-CD48630E8DBB}" dt="2025-02-05T11:27:12.262" v="816" actId="47"/>
        <pc:sldMkLst>
          <pc:docMk/>
          <pc:sldMk cId="1786860980" sldId="2147378654"/>
        </pc:sldMkLst>
      </pc:sldChg>
      <pc:sldChg chg="modSp mod">
        <pc:chgData name="丁野 光理" userId="53361c9a-10d0-4268-b39c-a1f4044b33f4" providerId="ADAL" clId="{5FE0A016-0A93-4063-8F08-CD48630E8DBB}" dt="2025-02-07T04:04:10.510" v="22873" actId="20577"/>
        <pc:sldMkLst>
          <pc:docMk/>
          <pc:sldMk cId="1132711422" sldId="2147378657"/>
        </pc:sldMkLst>
        <pc:graphicFrameChg chg="mod modGraphic">
          <ac:chgData name="丁野 光理" userId="53361c9a-10d0-4268-b39c-a1f4044b33f4" providerId="ADAL" clId="{5FE0A016-0A93-4063-8F08-CD48630E8DBB}" dt="2025-02-07T04:04:10.510" v="22873" actId="20577"/>
          <ac:graphicFrameMkLst>
            <pc:docMk/>
            <pc:sldMk cId="1132711422" sldId="2147378657"/>
            <ac:graphicFrameMk id="13" creationId="{6B84DF48-8B2E-7483-E19E-A4C36C91AA03}"/>
          </ac:graphicFrameMkLst>
        </pc:graphicFrameChg>
      </pc:sldChg>
      <pc:sldChg chg="addSp delSp modSp mod delCm">
        <pc:chgData name="丁野 光理" userId="53361c9a-10d0-4268-b39c-a1f4044b33f4" providerId="ADAL" clId="{5FE0A016-0A93-4063-8F08-CD48630E8DBB}" dt="2025-02-07T10:22:23.504" v="22917"/>
        <pc:sldMkLst>
          <pc:docMk/>
          <pc:sldMk cId="2948473411" sldId="2147378680"/>
        </pc:sldMkLst>
        <pc:spChg chg="add del mod">
          <ac:chgData name="丁野 光理" userId="53361c9a-10d0-4268-b39c-a1f4044b33f4" providerId="ADAL" clId="{5FE0A016-0A93-4063-8F08-CD48630E8DBB}" dt="2025-02-06T08:03:24.762" v="1144" actId="478"/>
          <ac:spMkLst>
            <pc:docMk/>
            <pc:sldMk cId="2948473411" sldId="2147378680"/>
            <ac:spMk id="7" creationId="{393E1F9A-31BB-8E37-35B3-295684E57F40}"/>
          </ac:spMkLst>
        </pc:spChg>
        <pc:spChg chg="add del">
          <ac:chgData name="丁野 光理" userId="53361c9a-10d0-4268-b39c-a1f4044b33f4" providerId="ADAL" clId="{5FE0A016-0A93-4063-8F08-CD48630E8DBB}" dt="2025-01-29T13:08:27.301" v="152" actId="478"/>
          <ac:spMkLst>
            <pc:docMk/>
            <pc:sldMk cId="2948473411" sldId="2147378680"/>
            <ac:spMk id="7" creationId="{BC211F3A-D242-7373-8291-F217BC706F6C}"/>
          </ac:spMkLst>
        </pc:spChg>
        <pc:spChg chg="mod">
          <ac:chgData name="丁野 光理" userId="53361c9a-10d0-4268-b39c-a1f4044b33f4" providerId="ADAL" clId="{5FE0A016-0A93-4063-8F08-CD48630E8DBB}" dt="2025-02-06T08:03:01.061" v="1113" actId="20577"/>
          <ac:spMkLst>
            <pc:docMk/>
            <pc:sldMk cId="2948473411" sldId="2147378680"/>
            <ac:spMk id="14" creationId="{C5AE03D3-7F7A-F51B-E6D0-B212D7BC9438}"/>
          </ac:spMkLst>
        </pc:spChg>
        <pc:spChg chg="add mod">
          <ac:chgData name="丁野 光理" userId="53361c9a-10d0-4268-b39c-a1f4044b33f4" providerId="ADAL" clId="{5FE0A016-0A93-4063-8F08-CD48630E8DBB}" dt="2025-02-06T08:03:05.522" v="1115" actId="1076"/>
          <ac:spMkLst>
            <pc:docMk/>
            <pc:sldMk cId="2948473411" sldId="2147378680"/>
            <ac:spMk id="15" creationId="{668576EA-FDEE-7E01-3BFC-7913B7EA7A76}"/>
          </ac:spMkLst>
        </pc:spChg>
        <pc:spChg chg="add del mod">
          <ac:chgData name="丁野 光理" userId="53361c9a-10d0-4268-b39c-a1f4044b33f4" providerId="ADAL" clId="{5FE0A016-0A93-4063-8F08-CD48630E8DBB}" dt="2025-01-29T13:08:20.692" v="150" actId="478"/>
          <ac:spMkLst>
            <pc:docMk/>
            <pc:sldMk cId="2948473411" sldId="2147378680"/>
            <ac:spMk id="15" creationId="{66FA0C50-D6E3-F885-BF2A-13158B2BEF9D}"/>
          </ac:spMkLst>
        </pc:spChg>
        <pc:spChg chg="add del mod">
          <ac:chgData name="丁野 光理" userId="53361c9a-10d0-4268-b39c-a1f4044b33f4" providerId="ADAL" clId="{5FE0A016-0A93-4063-8F08-CD48630E8DBB}" dt="2025-01-30T11:11:34.434" v="212" actId="478"/>
          <ac:spMkLst>
            <pc:docMk/>
            <pc:sldMk cId="2948473411" sldId="2147378680"/>
            <ac:spMk id="16" creationId="{54E39AEB-AFC8-8038-0F64-A8ED1F9F246A}"/>
          </ac:spMkLst>
        </pc:spChg>
        <pc:spChg chg="add mod">
          <ac:chgData name="丁野 光理" userId="53361c9a-10d0-4268-b39c-a1f4044b33f4" providerId="ADAL" clId="{5FE0A016-0A93-4063-8F08-CD48630E8DBB}" dt="2025-02-06T08:03:20.069" v="1142" actId="1035"/>
          <ac:spMkLst>
            <pc:docMk/>
            <pc:sldMk cId="2948473411" sldId="2147378680"/>
            <ac:spMk id="17" creationId="{9CB049EA-D28B-6871-C398-C1BDC5A9CD85}"/>
          </ac:spMkLst>
        </pc:spChg>
        <pc:spChg chg="add mod">
          <ac:chgData name="丁野 光理" userId="53361c9a-10d0-4268-b39c-a1f4044b33f4" providerId="ADAL" clId="{5FE0A016-0A93-4063-8F08-CD48630E8DBB}" dt="2025-02-06T08:03:20.069" v="1142" actId="1035"/>
          <ac:spMkLst>
            <pc:docMk/>
            <pc:sldMk cId="2948473411" sldId="2147378680"/>
            <ac:spMk id="18" creationId="{D91B2939-5A22-4165-783E-0B3E2F11331C}"/>
          </ac:spMkLst>
        </pc:spChg>
        <pc:spChg chg="add mod">
          <ac:chgData name="丁野 光理" userId="53361c9a-10d0-4268-b39c-a1f4044b33f4" providerId="ADAL" clId="{5FE0A016-0A93-4063-8F08-CD48630E8DBB}" dt="2025-02-06T08:03:20.069" v="1142" actId="1035"/>
          <ac:spMkLst>
            <pc:docMk/>
            <pc:sldMk cId="2948473411" sldId="2147378680"/>
            <ac:spMk id="19" creationId="{02558BF2-3EDA-7025-0ECE-C89ECFB64967}"/>
          </ac:spMkLst>
        </pc:spChg>
        <pc:spChg chg="add mod">
          <ac:chgData name="丁野 光理" userId="53361c9a-10d0-4268-b39c-a1f4044b33f4" providerId="ADAL" clId="{5FE0A016-0A93-4063-8F08-CD48630E8DBB}" dt="2025-02-06T08:03:20.069" v="1142" actId="1035"/>
          <ac:spMkLst>
            <pc:docMk/>
            <pc:sldMk cId="2948473411" sldId="2147378680"/>
            <ac:spMk id="21" creationId="{FBFBD771-18DC-7EA0-6AD9-BB8AC11C534C}"/>
          </ac:spMkLst>
        </pc:spChg>
        <pc:spChg chg="mod">
          <ac:chgData name="丁野 光理" userId="53361c9a-10d0-4268-b39c-a1f4044b33f4" providerId="ADAL" clId="{5FE0A016-0A93-4063-8F08-CD48630E8DBB}" dt="2025-02-06T08:03:14.646" v="1117"/>
          <ac:spMkLst>
            <pc:docMk/>
            <pc:sldMk cId="2948473411" sldId="2147378680"/>
            <ac:spMk id="26" creationId="{1D38DAB1-96DD-7D1F-B90C-0624BE546C7C}"/>
          </ac:spMkLst>
        </pc:spChg>
        <pc:spChg chg="mod">
          <ac:chgData name="丁野 光理" userId="53361c9a-10d0-4268-b39c-a1f4044b33f4" providerId="ADAL" clId="{5FE0A016-0A93-4063-8F08-CD48630E8DBB}" dt="2025-02-06T08:03:14.646" v="1117"/>
          <ac:spMkLst>
            <pc:docMk/>
            <pc:sldMk cId="2948473411" sldId="2147378680"/>
            <ac:spMk id="28" creationId="{9B1DB169-59DF-7705-4C89-16425D1EDB43}"/>
          </ac:spMkLst>
        </pc:spChg>
        <pc:spChg chg="mod">
          <ac:chgData name="丁野 光理" userId="53361c9a-10d0-4268-b39c-a1f4044b33f4" providerId="ADAL" clId="{5FE0A016-0A93-4063-8F08-CD48630E8DBB}" dt="2025-02-06T08:03:14.646" v="1117"/>
          <ac:spMkLst>
            <pc:docMk/>
            <pc:sldMk cId="2948473411" sldId="2147378680"/>
            <ac:spMk id="33" creationId="{25C46C6B-F9FE-9E50-E54C-41F861C18348}"/>
          </ac:spMkLst>
        </pc:spChg>
        <pc:spChg chg="mod">
          <ac:chgData name="丁野 光理" userId="53361c9a-10d0-4268-b39c-a1f4044b33f4" providerId="ADAL" clId="{5FE0A016-0A93-4063-8F08-CD48630E8DBB}" dt="2025-02-06T08:03:14.646" v="1117"/>
          <ac:spMkLst>
            <pc:docMk/>
            <pc:sldMk cId="2948473411" sldId="2147378680"/>
            <ac:spMk id="38" creationId="{24B41715-EF6C-7100-1503-B5FE68BDF0B6}"/>
          </ac:spMkLst>
        </pc:spChg>
        <pc:spChg chg="mod">
          <ac:chgData name="丁野 光理" userId="53361c9a-10d0-4268-b39c-a1f4044b33f4" providerId="ADAL" clId="{5FE0A016-0A93-4063-8F08-CD48630E8DBB}" dt="2025-02-06T08:03:14.646" v="1117"/>
          <ac:spMkLst>
            <pc:docMk/>
            <pc:sldMk cId="2948473411" sldId="2147378680"/>
            <ac:spMk id="39" creationId="{738B8C2A-F2EC-A193-911C-471E55B5CA5F}"/>
          </ac:spMkLst>
        </pc:spChg>
        <pc:spChg chg="mod">
          <ac:chgData name="丁野 光理" userId="53361c9a-10d0-4268-b39c-a1f4044b33f4" providerId="ADAL" clId="{5FE0A016-0A93-4063-8F08-CD48630E8DBB}" dt="2025-02-06T08:03:14.646" v="1117"/>
          <ac:spMkLst>
            <pc:docMk/>
            <pc:sldMk cId="2948473411" sldId="2147378680"/>
            <ac:spMk id="41" creationId="{56D91AD4-499F-6353-E7A6-3BD8200981F4}"/>
          </ac:spMkLst>
        </pc:spChg>
        <pc:spChg chg="add mod">
          <ac:chgData name="丁野 光理" userId="53361c9a-10d0-4268-b39c-a1f4044b33f4" providerId="ADAL" clId="{5FE0A016-0A93-4063-8F08-CD48630E8DBB}" dt="2025-02-06T08:03:27.496" v="1145"/>
          <ac:spMkLst>
            <pc:docMk/>
            <pc:sldMk cId="2948473411" sldId="2147378680"/>
            <ac:spMk id="46" creationId="{BEEF53A0-A1D2-0672-B913-9B9CFA29BBFC}"/>
          </ac:spMkLst>
        </pc:spChg>
        <pc:spChg chg="add mod">
          <ac:chgData name="丁野 光理" userId="53361c9a-10d0-4268-b39c-a1f4044b33f4" providerId="ADAL" clId="{5FE0A016-0A93-4063-8F08-CD48630E8DBB}" dt="2025-02-06T08:03:54.699" v="1146"/>
          <ac:spMkLst>
            <pc:docMk/>
            <pc:sldMk cId="2948473411" sldId="2147378680"/>
            <ac:spMk id="47" creationId="{E1B0BCC6-24C3-1AA3-6FBA-54BB8409049A}"/>
          </ac:spMkLst>
        </pc:spChg>
        <pc:spChg chg="add del mod">
          <ac:chgData name="丁野 光理" userId="53361c9a-10d0-4268-b39c-a1f4044b33f4" providerId="ADAL" clId="{5FE0A016-0A93-4063-8F08-CD48630E8DBB}" dt="2025-02-06T08:04:03.971" v="1149" actId="478"/>
          <ac:spMkLst>
            <pc:docMk/>
            <pc:sldMk cId="2948473411" sldId="2147378680"/>
            <ac:spMk id="48" creationId="{3FC3988B-523E-EE8E-72F9-11901B631736}"/>
          </ac:spMkLst>
        </pc:spChg>
        <pc:spChg chg="add mod">
          <ac:chgData name="丁野 光理" userId="53361c9a-10d0-4268-b39c-a1f4044b33f4" providerId="ADAL" clId="{5FE0A016-0A93-4063-8F08-CD48630E8DBB}" dt="2025-02-06T08:04:08.814" v="1150"/>
          <ac:spMkLst>
            <pc:docMk/>
            <pc:sldMk cId="2948473411" sldId="2147378680"/>
            <ac:spMk id="49" creationId="{47CF5BA8-C018-387E-8ACC-4C42E184EA89}"/>
          </ac:spMkLst>
        </pc:spChg>
        <pc:grpChg chg="add mod">
          <ac:chgData name="丁野 光理" userId="53361c9a-10d0-4268-b39c-a1f4044b33f4" providerId="ADAL" clId="{5FE0A016-0A93-4063-8F08-CD48630E8DBB}" dt="2025-02-06T08:03:20.069" v="1142" actId="1035"/>
          <ac:grpSpMkLst>
            <pc:docMk/>
            <pc:sldMk cId="2948473411" sldId="2147378680"/>
            <ac:grpSpMk id="24" creationId="{686DFB0C-C623-8B17-FEDE-424CD4686420}"/>
          </ac:grpSpMkLst>
        </pc:grpChg>
        <pc:grpChg chg="add mod">
          <ac:chgData name="丁野 光理" userId="53361c9a-10d0-4268-b39c-a1f4044b33f4" providerId="ADAL" clId="{5FE0A016-0A93-4063-8F08-CD48630E8DBB}" dt="2025-02-06T08:03:20.069" v="1142" actId="1035"/>
          <ac:grpSpMkLst>
            <pc:docMk/>
            <pc:sldMk cId="2948473411" sldId="2147378680"/>
            <ac:grpSpMk id="40" creationId="{0B947C4C-99B2-0B97-0BB3-F7F50213961B}"/>
          </ac:grpSpMkLst>
        </pc:grpChg>
        <pc:picChg chg="add mod">
          <ac:chgData name="丁野 光理" userId="53361c9a-10d0-4268-b39c-a1f4044b33f4" providerId="ADAL" clId="{5FE0A016-0A93-4063-8F08-CD48630E8DBB}" dt="2025-02-06T08:03:20.069" v="1142" actId="1035"/>
          <ac:picMkLst>
            <pc:docMk/>
            <pc:sldMk cId="2948473411" sldId="2147378680"/>
            <ac:picMk id="20" creationId="{F08B9873-A595-97A3-E2F1-005F23AA848A}"/>
          </ac:picMkLst>
        </pc:picChg>
        <pc:picChg chg="add mod">
          <ac:chgData name="丁野 光理" userId="53361c9a-10d0-4268-b39c-a1f4044b33f4" providerId="ADAL" clId="{5FE0A016-0A93-4063-8F08-CD48630E8DBB}" dt="2025-02-06T08:03:20.069" v="1142" actId="1035"/>
          <ac:picMkLst>
            <pc:docMk/>
            <pc:sldMk cId="2948473411" sldId="2147378680"/>
            <ac:picMk id="22" creationId="{FDF8B75C-A5FE-721C-F10A-C2FF03DB1DD7}"/>
          </ac:picMkLst>
        </pc:picChg>
        <pc:picChg chg="add mod">
          <ac:chgData name="丁野 光理" userId="53361c9a-10d0-4268-b39c-a1f4044b33f4" providerId="ADAL" clId="{5FE0A016-0A93-4063-8F08-CD48630E8DBB}" dt="2025-02-06T08:03:20.069" v="1142" actId="1035"/>
          <ac:picMkLst>
            <pc:docMk/>
            <pc:sldMk cId="2948473411" sldId="2147378680"/>
            <ac:picMk id="23" creationId="{19B86BB0-C810-ACDA-84A7-1423ACE08B6D}"/>
          </ac:picMkLst>
        </pc:picChg>
        <pc:picChg chg="mod">
          <ac:chgData name="丁野 光理" userId="53361c9a-10d0-4268-b39c-a1f4044b33f4" providerId="ADAL" clId="{5FE0A016-0A93-4063-8F08-CD48630E8DBB}" dt="2025-02-06T08:03:14.646" v="1117"/>
          <ac:picMkLst>
            <pc:docMk/>
            <pc:sldMk cId="2948473411" sldId="2147378680"/>
            <ac:picMk id="25" creationId="{D8086974-7749-B75F-2E25-1848E7CE38E3}"/>
          </ac:picMkLst>
        </pc:picChg>
        <pc:picChg chg="mod">
          <ac:chgData name="丁野 光理" userId="53361c9a-10d0-4268-b39c-a1f4044b33f4" providerId="ADAL" clId="{5FE0A016-0A93-4063-8F08-CD48630E8DBB}" dt="2025-02-06T08:03:14.646" v="1117"/>
          <ac:picMkLst>
            <pc:docMk/>
            <pc:sldMk cId="2948473411" sldId="2147378680"/>
            <ac:picMk id="27" creationId="{4516B0E5-388C-2FD1-63EE-8B810E73ED71}"/>
          </ac:picMkLst>
        </pc:picChg>
        <pc:picChg chg="mod">
          <ac:chgData name="丁野 光理" userId="53361c9a-10d0-4268-b39c-a1f4044b33f4" providerId="ADAL" clId="{5FE0A016-0A93-4063-8F08-CD48630E8DBB}" dt="2025-02-06T08:03:14.646" v="1117"/>
          <ac:picMkLst>
            <pc:docMk/>
            <pc:sldMk cId="2948473411" sldId="2147378680"/>
            <ac:picMk id="29" creationId="{D68CA6EF-1347-4371-2BFE-550A2DB9F963}"/>
          </ac:picMkLst>
        </pc:picChg>
        <pc:picChg chg="mod">
          <ac:chgData name="丁野 光理" userId="53361c9a-10d0-4268-b39c-a1f4044b33f4" providerId="ADAL" clId="{5FE0A016-0A93-4063-8F08-CD48630E8DBB}" dt="2025-02-06T08:03:14.646" v="1117"/>
          <ac:picMkLst>
            <pc:docMk/>
            <pc:sldMk cId="2948473411" sldId="2147378680"/>
            <ac:picMk id="30" creationId="{06579AA3-3295-8DA0-A1C0-E5329AFEE840}"/>
          </ac:picMkLst>
        </pc:picChg>
        <pc:picChg chg="mod">
          <ac:chgData name="丁野 光理" userId="53361c9a-10d0-4268-b39c-a1f4044b33f4" providerId="ADAL" clId="{5FE0A016-0A93-4063-8F08-CD48630E8DBB}" dt="2025-02-06T08:03:14.646" v="1117"/>
          <ac:picMkLst>
            <pc:docMk/>
            <pc:sldMk cId="2948473411" sldId="2147378680"/>
            <ac:picMk id="31" creationId="{A5B5361E-8DE7-3E8A-2152-B1E6FD80039C}"/>
          </ac:picMkLst>
        </pc:picChg>
        <pc:picChg chg="mod">
          <ac:chgData name="丁野 光理" userId="53361c9a-10d0-4268-b39c-a1f4044b33f4" providerId="ADAL" clId="{5FE0A016-0A93-4063-8F08-CD48630E8DBB}" dt="2025-02-06T08:03:14.646" v="1117"/>
          <ac:picMkLst>
            <pc:docMk/>
            <pc:sldMk cId="2948473411" sldId="2147378680"/>
            <ac:picMk id="32" creationId="{7ED8AE22-77A3-3C5B-BD73-65CB68E83860}"/>
          </ac:picMkLst>
        </pc:picChg>
        <pc:picChg chg="mod">
          <ac:chgData name="丁野 光理" userId="53361c9a-10d0-4268-b39c-a1f4044b33f4" providerId="ADAL" clId="{5FE0A016-0A93-4063-8F08-CD48630E8DBB}" dt="2025-02-06T08:03:14.646" v="1117"/>
          <ac:picMkLst>
            <pc:docMk/>
            <pc:sldMk cId="2948473411" sldId="2147378680"/>
            <ac:picMk id="34" creationId="{B6947A11-F9FA-1202-D780-EE6B51BFB0B5}"/>
          </ac:picMkLst>
        </pc:picChg>
        <pc:picChg chg="mod">
          <ac:chgData name="丁野 光理" userId="53361c9a-10d0-4268-b39c-a1f4044b33f4" providerId="ADAL" clId="{5FE0A016-0A93-4063-8F08-CD48630E8DBB}" dt="2025-02-06T08:03:14.646" v="1117"/>
          <ac:picMkLst>
            <pc:docMk/>
            <pc:sldMk cId="2948473411" sldId="2147378680"/>
            <ac:picMk id="35" creationId="{67D9B4DD-F543-A820-5BF9-14D81B1E14C2}"/>
          </ac:picMkLst>
        </pc:picChg>
        <pc:picChg chg="mod">
          <ac:chgData name="丁野 光理" userId="53361c9a-10d0-4268-b39c-a1f4044b33f4" providerId="ADAL" clId="{5FE0A016-0A93-4063-8F08-CD48630E8DBB}" dt="2025-02-06T08:03:14.646" v="1117"/>
          <ac:picMkLst>
            <pc:docMk/>
            <pc:sldMk cId="2948473411" sldId="2147378680"/>
            <ac:picMk id="36" creationId="{1223F50B-5FA4-75CA-51DB-2FB21EA45BEA}"/>
          </ac:picMkLst>
        </pc:picChg>
        <pc:picChg chg="mod">
          <ac:chgData name="丁野 光理" userId="53361c9a-10d0-4268-b39c-a1f4044b33f4" providerId="ADAL" clId="{5FE0A016-0A93-4063-8F08-CD48630E8DBB}" dt="2025-02-06T08:03:14.646" v="1117"/>
          <ac:picMkLst>
            <pc:docMk/>
            <pc:sldMk cId="2948473411" sldId="2147378680"/>
            <ac:picMk id="37" creationId="{622BE5ED-FF9F-E45B-EF8F-1F647BEB23A7}"/>
          </ac:picMkLst>
        </pc:picChg>
        <pc:picChg chg="mod">
          <ac:chgData name="丁野 光理" userId="53361c9a-10d0-4268-b39c-a1f4044b33f4" providerId="ADAL" clId="{5FE0A016-0A93-4063-8F08-CD48630E8DBB}" dt="2025-02-06T08:03:14.646" v="1117"/>
          <ac:picMkLst>
            <pc:docMk/>
            <pc:sldMk cId="2948473411" sldId="2147378680"/>
            <ac:picMk id="42" creationId="{1E6BB4EE-0223-A1E5-0B99-06C784E2C30F}"/>
          </ac:picMkLst>
        </pc:picChg>
        <pc:picChg chg="mod">
          <ac:chgData name="丁野 光理" userId="53361c9a-10d0-4268-b39c-a1f4044b33f4" providerId="ADAL" clId="{5FE0A016-0A93-4063-8F08-CD48630E8DBB}" dt="2025-02-06T08:03:14.646" v="1117"/>
          <ac:picMkLst>
            <pc:docMk/>
            <pc:sldMk cId="2948473411" sldId="2147378680"/>
            <ac:picMk id="43" creationId="{B0A04C2B-BAC4-C4F0-1B58-287294764C8E}"/>
          </ac:picMkLst>
        </pc:picChg>
        <pc:picChg chg="mod">
          <ac:chgData name="丁野 光理" userId="53361c9a-10d0-4268-b39c-a1f4044b33f4" providerId="ADAL" clId="{5FE0A016-0A93-4063-8F08-CD48630E8DBB}" dt="2025-02-06T08:03:14.646" v="1117"/>
          <ac:picMkLst>
            <pc:docMk/>
            <pc:sldMk cId="2948473411" sldId="2147378680"/>
            <ac:picMk id="44" creationId="{B41605BD-42F8-A5F8-3AF8-BD2BCD7599EB}"/>
          </ac:picMkLst>
        </pc:picChg>
        <pc:picChg chg="mod">
          <ac:chgData name="丁野 光理" userId="53361c9a-10d0-4268-b39c-a1f4044b33f4" providerId="ADAL" clId="{5FE0A016-0A93-4063-8F08-CD48630E8DBB}" dt="2025-02-06T08:03:14.646" v="1117"/>
          <ac:picMkLst>
            <pc:docMk/>
            <pc:sldMk cId="2948473411" sldId="2147378680"/>
            <ac:picMk id="45" creationId="{FBB6C2F5-C74F-45B0-174F-DBB2780927C0}"/>
          </ac:picMkLst>
        </pc:pic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7T10:22:23.504" v="22917"/>
              <pc2:cmMkLst xmlns:pc2="http://schemas.microsoft.com/office/powerpoint/2019/9/main/command">
                <pc:docMk/>
                <pc:sldMk cId="2948473411" sldId="2147378680"/>
                <pc2:cmMk id="{B50DDB64-542F-43B5-84BC-4C71F5DCB063}"/>
              </pc2:cmMkLst>
            </pc226:cmChg>
          </p:ext>
        </pc:extLst>
      </pc:sldChg>
      <pc:sldChg chg="addSp delSp modSp mod ord delCm">
        <pc:chgData name="丁野 光理" userId="53361c9a-10d0-4268-b39c-a1f4044b33f4" providerId="ADAL" clId="{5FE0A016-0A93-4063-8F08-CD48630E8DBB}" dt="2025-02-07T10:22:33.836" v="22920"/>
        <pc:sldMkLst>
          <pc:docMk/>
          <pc:sldMk cId="2708077593" sldId="2147378681"/>
        </pc:sldMkLst>
        <pc:spChg chg="mod">
          <ac:chgData name="丁野 光理" userId="53361c9a-10d0-4268-b39c-a1f4044b33f4" providerId="ADAL" clId="{5FE0A016-0A93-4063-8F08-CD48630E8DBB}" dt="2025-02-05T11:25:38.606" v="797"/>
          <ac:spMkLst>
            <pc:docMk/>
            <pc:sldMk cId="2708077593" sldId="2147378681"/>
            <ac:spMk id="2" creationId="{BDE63369-EA7E-4802-A4A3-D4010A333C66}"/>
          </ac:spMkLst>
        </pc:spChg>
        <pc:spChg chg="add mod">
          <ac:chgData name="丁野 光理" userId="53361c9a-10d0-4268-b39c-a1f4044b33f4" providerId="ADAL" clId="{5FE0A016-0A93-4063-8F08-CD48630E8DBB}" dt="2025-02-06T17:00:46.308" v="15369"/>
          <ac:spMkLst>
            <pc:docMk/>
            <pc:sldMk cId="2708077593" sldId="2147378681"/>
            <ac:spMk id="6" creationId="{95B7D5A6-3733-419F-5F47-1323A3D8D852}"/>
          </ac:spMkLst>
        </pc:spChg>
        <pc:spChg chg="del">
          <ac:chgData name="丁野 光理" userId="53361c9a-10d0-4268-b39c-a1f4044b33f4" providerId="ADAL" clId="{5FE0A016-0A93-4063-8F08-CD48630E8DBB}" dt="2025-01-31T01:51:47.869" v="344" actId="478"/>
          <ac:spMkLst>
            <pc:docMk/>
            <pc:sldMk cId="2708077593" sldId="2147378681"/>
            <ac:spMk id="6" creationId="{A9577F56-3CCF-E475-2E51-B70DEBE9BC60}"/>
          </ac:spMkLst>
        </pc:spChg>
        <pc:spChg chg="add del mod">
          <ac:chgData name="丁野 光理" userId="53361c9a-10d0-4268-b39c-a1f4044b33f4" providerId="ADAL" clId="{5FE0A016-0A93-4063-8F08-CD48630E8DBB}" dt="2025-02-05T11:44:04.155" v="826"/>
          <ac:spMkLst>
            <pc:docMk/>
            <pc:sldMk cId="2708077593" sldId="2147378681"/>
            <ac:spMk id="6" creationId="{B4BA33FC-61A8-E924-32AA-CC585DB26208}"/>
          </ac:spMkLst>
        </pc:spChg>
        <pc:spChg chg="mod">
          <ac:chgData name="丁野 光理" userId="53361c9a-10d0-4268-b39c-a1f4044b33f4" providerId="ADAL" clId="{5FE0A016-0A93-4063-8F08-CD48630E8DBB}" dt="2025-02-05T11:44:12.878" v="836" actId="1036"/>
          <ac:spMkLst>
            <pc:docMk/>
            <pc:sldMk cId="2708077593" sldId="2147378681"/>
            <ac:spMk id="8" creationId="{95ACE118-4131-DE79-F02F-66722864A02D}"/>
          </ac:spMkLst>
        </pc:spChg>
        <pc:spChg chg="mod">
          <ac:chgData name="丁野 光理" userId="53361c9a-10d0-4268-b39c-a1f4044b33f4" providerId="ADAL" clId="{5FE0A016-0A93-4063-8F08-CD48630E8DBB}" dt="2025-02-05T11:45:15.435" v="854" actId="1076"/>
          <ac:spMkLst>
            <pc:docMk/>
            <pc:sldMk cId="2708077593" sldId="2147378681"/>
            <ac:spMk id="11" creationId="{5B8ABDA1-3D2A-BE6F-2D47-4B44E4CE9142}"/>
          </ac:spMkLst>
        </pc:spChg>
        <pc:spChg chg="mod">
          <ac:chgData name="丁野 光理" userId="53361c9a-10d0-4268-b39c-a1f4044b33f4" providerId="ADAL" clId="{5FE0A016-0A93-4063-8F08-CD48630E8DBB}" dt="2025-02-05T11:44:12.878" v="836" actId="1036"/>
          <ac:spMkLst>
            <pc:docMk/>
            <pc:sldMk cId="2708077593" sldId="2147378681"/>
            <ac:spMk id="12" creationId="{0885EF34-1A86-AA39-1A1A-5F99ABF6B7EF}"/>
          </ac:spMkLst>
        </pc:spChg>
        <pc:spChg chg="add del mod">
          <ac:chgData name="丁野 光理" userId="53361c9a-10d0-4268-b39c-a1f4044b33f4" providerId="ADAL" clId="{5FE0A016-0A93-4063-8F08-CD48630E8DBB}" dt="2025-02-06T13:12:32.266" v="2512" actId="478"/>
          <ac:spMkLst>
            <pc:docMk/>
            <pc:sldMk cId="2708077593" sldId="2147378681"/>
            <ac:spMk id="14" creationId="{A0DB4FFB-AA27-D443-6D2D-4943569F8746}"/>
          </ac:spMkLst>
        </pc:spChg>
        <pc:spChg chg="add del">
          <ac:chgData name="丁野 光理" userId="53361c9a-10d0-4268-b39c-a1f4044b33f4" providerId="ADAL" clId="{5FE0A016-0A93-4063-8F08-CD48630E8DBB}" dt="2025-01-29T13:08:16.216" v="148" actId="478"/>
          <ac:spMkLst>
            <pc:docMk/>
            <pc:sldMk cId="2708077593" sldId="2147378681"/>
            <ac:spMk id="14" creationId="{BA7FA382-9723-883E-C088-B51E896148CC}"/>
          </ac:spMkLst>
        </pc:spChg>
        <pc:spChg chg="del mod">
          <ac:chgData name="丁野 光理" userId="53361c9a-10d0-4268-b39c-a1f4044b33f4" providerId="ADAL" clId="{5FE0A016-0A93-4063-8F08-CD48630E8DBB}" dt="2025-02-06T13:12:23.848" v="2508" actId="478"/>
          <ac:spMkLst>
            <pc:docMk/>
            <pc:sldMk cId="2708077593" sldId="2147378681"/>
            <ac:spMk id="15" creationId="{0C0D5913-6E2D-E5DB-60D1-B3AF669AED14}"/>
          </ac:spMkLst>
        </pc:spChg>
        <pc:spChg chg="add mod">
          <ac:chgData name="丁野 光理" userId="53361c9a-10d0-4268-b39c-a1f4044b33f4" providerId="ADAL" clId="{5FE0A016-0A93-4063-8F08-CD48630E8DBB}" dt="2025-02-05T11:49:20.370" v="1038"/>
          <ac:spMkLst>
            <pc:docMk/>
            <pc:sldMk cId="2708077593" sldId="2147378681"/>
            <ac:spMk id="16" creationId="{069C4285-627D-16A3-8657-A4D2BEF4BA93}"/>
          </ac:spMkLst>
        </pc:spChg>
        <pc:spChg chg="add del mod">
          <ac:chgData name="丁野 光理" userId="53361c9a-10d0-4268-b39c-a1f4044b33f4" providerId="ADAL" clId="{5FE0A016-0A93-4063-8F08-CD48630E8DBB}" dt="2025-01-30T11:11:38.162" v="213" actId="478"/>
          <ac:spMkLst>
            <pc:docMk/>
            <pc:sldMk cId="2708077593" sldId="2147378681"/>
            <ac:spMk id="16" creationId="{E2145D0B-66EB-0BA6-624D-9BC1846E3715}"/>
          </ac:spMkLst>
        </pc:spChg>
        <pc:spChg chg="add del mod">
          <ac:chgData name="丁野 光理" userId="53361c9a-10d0-4268-b39c-a1f4044b33f4" providerId="ADAL" clId="{5FE0A016-0A93-4063-8F08-CD48630E8DBB}" dt="2025-02-06T14:29:48.055" v="5589" actId="478"/>
          <ac:spMkLst>
            <pc:docMk/>
            <pc:sldMk cId="2708077593" sldId="2147378681"/>
            <ac:spMk id="18" creationId="{F4E3D50C-C884-7F82-4117-1B6B83EF64AE}"/>
          </ac:spMkLst>
        </pc:spChg>
        <pc:spChg chg="mod">
          <ac:chgData name="丁野 光理" userId="53361c9a-10d0-4268-b39c-a1f4044b33f4" providerId="ADAL" clId="{5FE0A016-0A93-4063-8F08-CD48630E8DBB}" dt="2025-02-06T13:12:39.239" v="2513"/>
          <ac:spMkLst>
            <pc:docMk/>
            <pc:sldMk cId="2708077593" sldId="2147378681"/>
            <ac:spMk id="21" creationId="{88D0AC83-92C0-CE09-FDCC-3797E81FBCA0}"/>
          </ac:spMkLst>
        </pc:spChg>
        <pc:spChg chg="mod">
          <ac:chgData name="丁野 光理" userId="53361c9a-10d0-4268-b39c-a1f4044b33f4" providerId="ADAL" clId="{5FE0A016-0A93-4063-8F08-CD48630E8DBB}" dt="2025-02-06T13:12:39.239" v="2513"/>
          <ac:spMkLst>
            <pc:docMk/>
            <pc:sldMk cId="2708077593" sldId="2147378681"/>
            <ac:spMk id="24" creationId="{82584373-6886-245B-CAAF-F0A72E2EB028}"/>
          </ac:spMkLst>
        </pc:spChg>
        <pc:spChg chg="mod">
          <ac:chgData name="丁野 光理" userId="53361c9a-10d0-4268-b39c-a1f4044b33f4" providerId="ADAL" clId="{5FE0A016-0A93-4063-8F08-CD48630E8DBB}" dt="2025-02-06T13:12:39.239" v="2513"/>
          <ac:spMkLst>
            <pc:docMk/>
            <pc:sldMk cId="2708077593" sldId="2147378681"/>
            <ac:spMk id="27" creationId="{FECD882D-B70E-A698-EA6E-0B9F20A4F64A}"/>
          </ac:spMkLst>
        </pc:spChg>
        <pc:spChg chg="add del mod">
          <ac:chgData name="丁野 光理" userId="53361c9a-10d0-4268-b39c-a1f4044b33f4" providerId="ADAL" clId="{5FE0A016-0A93-4063-8F08-CD48630E8DBB}" dt="2025-02-06T14:29:51.980" v="5590" actId="478"/>
          <ac:spMkLst>
            <pc:docMk/>
            <pc:sldMk cId="2708077593" sldId="2147378681"/>
            <ac:spMk id="28" creationId="{4A2BDEA6-1FA7-588C-D289-A16C40D90521}"/>
          </ac:spMkLst>
        </pc:spChg>
        <pc:spChg chg="mod">
          <ac:chgData name="丁野 光理" userId="53361c9a-10d0-4268-b39c-a1f4044b33f4" providerId="ADAL" clId="{5FE0A016-0A93-4063-8F08-CD48630E8DBB}" dt="2025-02-06T13:12:39.239" v="2513"/>
          <ac:spMkLst>
            <pc:docMk/>
            <pc:sldMk cId="2708077593" sldId="2147378681"/>
            <ac:spMk id="31" creationId="{AF15BA74-94FE-C606-D4C9-2433BD945E1E}"/>
          </ac:spMkLst>
        </pc:spChg>
        <pc:spChg chg="mod">
          <ac:chgData name="丁野 光理" userId="53361c9a-10d0-4268-b39c-a1f4044b33f4" providerId="ADAL" clId="{5FE0A016-0A93-4063-8F08-CD48630E8DBB}" dt="2025-02-06T13:12:39.239" v="2513"/>
          <ac:spMkLst>
            <pc:docMk/>
            <pc:sldMk cId="2708077593" sldId="2147378681"/>
            <ac:spMk id="32" creationId="{3037221B-B008-3005-A8D5-10882C51251F}"/>
          </ac:spMkLst>
        </pc:spChg>
        <pc:spChg chg="mod">
          <ac:chgData name="丁野 光理" userId="53361c9a-10d0-4268-b39c-a1f4044b33f4" providerId="ADAL" clId="{5FE0A016-0A93-4063-8F08-CD48630E8DBB}" dt="2025-02-06T13:12:39.239" v="2513"/>
          <ac:spMkLst>
            <pc:docMk/>
            <pc:sldMk cId="2708077593" sldId="2147378681"/>
            <ac:spMk id="36" creationId="{BCF32962-BD6F-6DC8-9050-793593706759}"/>
          </ac:spMkLst>
        </pc:spChg>
        <pc:spChg chg="mod">
          <ac:chgData name="丁野 光理" userId="53361c9a-10d0-4268-b39c-a1f4044b33f4" providerId="ADAL" clId="{5FE0A016-0A93-4063-8F08-CD48630E8DBB}" dt="2025-02-06T13:12:39.239" v="2513"/>
          <ac:spMkLst>
            <pc:docMk/>
            <pc:sldMk cId="2708077593" sldId="2147378681"/>
            <ac:spMk id="39" creationId="{6BE16140-957D-1E8A-8362-4BF81F6441D0}"/>
          </ac:spMkLst>
        </pc:spChg>
        <pc:spChg chg="mod">
          <ac:chgData name="丁野 光理" userId="53361c9a-10d0-4268-b39c-a1f4044b33f4" providerId="ADAL" clId="{5FE0A016-0A93-4063-8F08-CD48630E8DBB}" dt="2025-02-06T13:12:39.239" v="2513"/>
          <ac:spMkLst>
            <pc:docMk/>
            <pc:sldMk cId="2708077593" sldId="2147378681"/>
            <ac:spMk id="42" creationId="{D6A243AB-2CAB-926D-EB9C-12585D2E01FB}"/>
          </ac:spMkLst>
        </pc:spChg>
        <pc:spChg chg="mod">
          <ac:chgData name="丁野 光理" userId="53361c9a-10d0-4268-b39c-a1f4044b33f4" providerId="ADAL" clId="{5FE0A016-0A93-4063-8F08-CD48630E8DBB}" dt="2025-02-06T13:12:39.239" v="2513"/>
          <ac:spMkLst>
            <pc:docMk/>
            <pc:sldMk cId="2708077593" sldId="2147378681"/>
            <ac:spMk id="44" creationId="{96BBE0C7-0E71-976D-2F56-B9E759A75A1A}"/>
          </ac:spMkLst>
        </pc:spChg>
        <pc:spChg chg="mod">
          <ac:chgData name="丁野 光理" userId="53361c9a-10d0-4268-b39c-a1f4044b33f4" providerId="ADAL" clId="{5FE0A016-0A93-4063-8F08-CD48630E8DBB}" dt="2025-02-06T13:12:39.239" v="2513"/>
          <ac:spMkLst>
            <pc:docMk/>
            <pc:sldMk cId="2708077593" sldId="2147378681"/>
            <ac:spMk id="45" creationId="{61D5AC50-0F80-8306-2BDF-EE968EE995FB}"/>
          </ac:spMkLst>
        </pc:spChg>
        <pc:spChg chg="mod">
          <ac:chgData name="丁野 光理" userId="53361c9a-10d0-4268-b39c-a1f4044b33f4" providerId="ADAL" clId="{5FE0A016-0A93-4063-8F08-CD48630E8DBB}" dt="2025-02-06T13:12:39.239" v="2513"/>
          <ac:spMkLst>
            <pc:docMk/>
            <pc:sldMk cId="2708077593" sldId="2147378681"/>
            <ac:spMk id="48" creationId="{F408411F-051E-AC3A-71A4-5396867FB258}"/>
          </ac:spMkLst>
        </pc:spChg>
        <pc:spChg chg="mod">
          <ac:chgData name="丁野 光理" userId="53361c9a-10d0-4268-b39c-a1f4044b33f4" providerId="ADAL" clId="{5FE0A016-0A93-4063-8F08-CD48630E8DBB}" dt="2025-02-06T13:12:39.239" v="2513"/>
          <ac:spMkLst>
            <pc:docMk/>
            <pc:sldMk cId="2708077593" sldId="2147378681"/>
            <ac:spMk id="49" creationId="{6B324177-14A0-26DE-45D2-8ACF82172798}"/>
          </ac:spMkLst>
        </pc:spChg>
        <pc:spChg chg="add mod">
          <ac:chgData name="丁野 光理" userId="53361c9a-10d0-4268-b39c-a1f4044b33f4" providerId="ADAL" clId="{5FE0A016-0A93-4063-8F08-CD48630E8DBB}" dt="2025-02-06T14:29:56.270" v="5592" actId="1076"/>
          <ac:spMkLst>
            <pc:docMk/>
            <pc:sldMk cId="2708077593" sldId="2147378681"/>
            <ac:spMk id="50" creationId="{5B635FEA-2811-3A33-A6E6-95440B42D811}"/>
          </ac:spMkLst>
        </pc:spChg>
        <pc:spChg chg="add del mod">
          <ac:chgData name="丁野 光理" userId="53361c9a-10d0-4268-b39c-a1f4044b33f4" providerId="ADAL" clId="{5FE0A016-0A93-4063-8F08-CD48630E8DBB}" dt="2025-02-06T13:12:58.592" v="2529" actId="478"/>
          <ac:spMkLst>
            <pc:docMk/>
            <pc:sldMk cId="2708077593" sldId="2147378681"/>
            <ac:spMk id="51" creationId="{B8562241-5770-C054-A25D-824A38299601}"/>
          </ac:spMkLst>
        </pc:spChg>
        <pc:spChg chg="add del mod">
          <ac:chgData name="丁野 光理" userId="53361c9a-10d0-4268-b39c-a1f4044b33f4" providerId="ADAL" clId="{5FE0A016-0A93-4063-8F08-CD48630E8DBB}" dt="2025-02-06T14:30:07.988" v="5626" actId="478"/>
          <ac:spMkLst>
            <pc:docMk/>
            <pc:sldMk cId="2708077593" sldId="2147378681"/>
            <ac:spMk id="52" creationId="{463F856E-24B7-70A1-C61B-54A9CAB857D9}"/>
          </ac:spMkLst>
        </pc:spChg>
        <pc:spChg chg="add mod">
          <ac:chgData name="丁野 光理" userId="53361c9a-10d0-4268-b39c-a1f4044b33f4" providerId="ADAL" clId="{5FE0A016-0A93-4063-8F08-CD48630E8DBB}" dt="2025-02-06T14:51:22.001" v="7484" actId="1076"/>
          <ac:spMkLst>
            <pc:docMk/>
            <pc:sldMk cId="2708077593" sldId="2147378681"/>
            <ac:spMk id="53" creationId="{600AE28E-2F7C-E1F6-5796-97DD1A8A0830}"/>
          </ac:spMkLst>
        </pc:spChg>
        <pc:grpChg chg="mod">
          <ac:chgData name="丁野 光理" userId="53361c9a-10d0-4268-b39c-a1f4044b33f4" providerId="ADAL" clId="{5FE0A016-0A93-4063-8F08-CD48630E8DBB}" dt="2025-02-05T11:44:12.878" v="836" actId="1036"/>
          <ac:grpSpMkLst>
            <pc:docMk/>
            <pc:sldMk cId="2708077593" sldId="2147378681"/>
            <ac:grpSpMk id="3" creationId="{EBC23DA4-F36B-555D-CA5C-39F94E08823F}"/>
          </ac:grpSpMkLst>
        </pc:grpChg>
        <pc:grpChg chg="mod">
          <ac:chgData name="丁野 光理" userId="53361c9a-10d0-4268-b39c-a1f4044b33f4" providerId="ADAL" clId="{5FE0A016-0A93-4063-8F08-CD48630E8DBB}" dt="2025-02-05T11:44:12.878" v="836" actId="1036"/>
          <ac:grpSpMkLst>
            <pc:docMk/>
            <pc:sldMk cId="2708077593" sldId="2147378681"/>
            <ac:grpSpMk id="4" creationId="{182836E8-0A6C-6508-BE54-D9FA5966D104}"/>
          </ac:grpSpMkLst>
        </pc:grpChg>
        <pc:grpChg chg="mod">
          <ac:chgData name="丁野 光理" userId="53361c9a-10d0-4268-b39c-a1f4044b33f4" providerId="ADAL" clId="{5FE0A016-0A93-4063-8F08-CD48630E8DBB}" dt="2025-02-05T11:44:12.878" v="836" actId="1036"/>
          <ac:grpSpMkLst>
            <pc:docMk/>
            <pc:sldMk cId="2708077593" sldId="2147378681"/>
            <ac:grpSpMk id="7" creationId="{2FB98B28-3911-4D54-DF63-480395E4E9E6}"/>
          </ac:grpSpMkLst>
        </pc:grpChg>
        <pc:grpChg chg="add del mod">
          <ac:chgData name="丁野 光理" userId="53361c9a-10d0-4268-b39c-a1f4044b33f4" providerId="ADAL" clId="{5FE0A016-0A93-4063-8F08-CD48630E8DBB}" dt="2025-02-06T14:29:51.980" v="5590" actId="478"/>
          <ac:grpSpMkLst>
            <pc:docMk/>
            <pc:sldMk cId="2708077593" sldId="2147378681"/>
            <ac:grpSpMk id="19" creationId="{D437F0AB-0AFB-9FA1-A5A3-EE2E611045F5}"/>
          </ac:grpSpMkLst>
        </pc:grpChg>
        <pc:grpChg chg="add del mod">
          <ac:chgData name="丁野 光理" userId="53361c9a-10d0-4268-b39c-a1f4044b33f4" providerId="ADAL" clId="{5FE0A016-0A93-4063-8F08-CD48630E8DBB}" dt="2025-02-06T14:29:51.980" v="5590" actId="478"/>
          <ac:grpSpMkLst>
            <pc:docMk/>
            <pc:sldMk cId="2708077593" sldId="2147378681"/>
            <ac:grpSpMk id="22" creationId="{8E77B8B4-96B5-F9B0-F6CD-465C5BADB3BF}"/>
          </ac:grpSpMkLst>
        </pc:grpChg>
        <pc:grpChg chg="add del mod">
          <ac:chgData name="丁野 光理" userId="53361c9a-10d0-4268-b39c-a1f4044b33f4" providerId="ADAL" clId="{5FE0A016-0A93-4063-8F08-CD48630E8DBB}" dt="2025-02-06T14:29:51.980" v="5590" actId="478"/>
          <ac:grpSpMkLst>
            <pc:docMk/>
            <pc:sldMk cId="2708077593" sldId="2147378681"/>
            <ac:grpSpMk id="25" creationId="{A3C3AE2F-542A-456C-E7FB-55141E6A0699}"/>
          </ac:grpSpMkLst>
        </pc:grpChg>
        <pc:grpChg chg="add del mod">
          <ac:chgData name="丁野 光理" userId="53361c9a-10d0-4268-b39c-a1f4044b33f4" providerId="ADAL" clId="{5FE0A016-0A93-4063-8F08-CD48630E8DBB}" dt="2025-02-06T14:29:51.980" v="5590" actId="478"/>
          <ac:grpSpMkLst>
            <pc:docMk/>
            <pc:sldMk cId="2708077593" sldId="2147378681"/>
            <ac:grpSpMk id="30" creationId="{3FCCB2D2-3D75-9EE1-28B0-B5760F75379A}"/>
          </ac:grpSpMkLst>
        </pc:grpChg>
        <pc:grpChg chg="mod">
          <ac:chgData name="丁野 光理" userId="53361c9a-10d0-4268-b39c-a1f4044b33f4" providerId="ADAL" clId="{5FE0A016-0A93-4063-8F08-CD48630E8DBB}" dt="2025-02-06T13:12:39.239" v="2513"/>
          <ac:grpSpMkLst>
            <pc:docMk/>
            <pc:sldMk cId="2708077593" sldId="2147378681"/>
            <ac:grpSpMk id="33" creationId="{324CDC5D-36EF-CB84-34E1-26EFA98C06D7}"/>
          </ac:grpSpMkLst>
        </pc:grpChg>
        <pc:grpChg chg="mod">
          <ac:chgData name="丁野 光理" userId="53361c9a-10d0-4268-b39c-a1f4044b33f4" providerId="ADAL" clId="{5FE0A016-0A93-4063-8F08-CD48630E8DBB}" dt="2025-02-06T13:12:39.239" v="2513"/>
          <ac:grpSpMkLst>
            <pc:docMk/>
            <pc:sldMk cId="2708077593" sldId="2147378681"/>
            <ac:grpSpMk id="34" creationId="{2AEF974B-78F4-2C34-5F79-14D2BDF2FBA2}"/>
          </ac:grpSpMkLst>
        </pc:grpChg>
        <pc:grpChg chg="add del mod">
          <ac:chgData name="丁野 光理" userId="53361c9a-10d0-4268-b39c-a1f4044b33f4" providerId="ADAL" clId="{5FE0A016-0A93-4063-8F08-CD48630E8DBB}" dt="2025-02-06T14:29:51.980" v="5590" actId="478"/>
          <ac:grpSpMkLst>
            <pc:docMk/>
            <pc:sldMk cId="2708077593" sldId="2147378681"/>
            <ac:grpSpMk id="41" creationId="{39241745-B095-C555-F2B7-B4E7FE3F31C3}"/>
          </ac:grpSpMkLst>
        </pc:grpChg>
        <pc:grpChg chg="mod">
          <ac:chgData name="丁野 光理" userId="53361c9a-10d0-4268-b39c-a1f4044b33f4" providerId="ADAL" clId="{5FE0A016-0A93-4063-8F08-CD48630E8DBB}" dt="2025-02-06T13:12:39.239" v="2513"/>
          <ac:grpSpMkLst>
            <pc:docMk/>
            <pc:sldMk cId="2708077593" sldId="2147378681"/>
            <ac:grpSpMk id="43" creationId="{164C1D1A-AD74-0420-FAEF-73ECFE033AAB}"/>
          </ac:grpSpMkLst>
        </pc:grpChg>
        <pc:picChg chg="mod">
          <ac:chgData name="丁野 光理" userId="53361c9a-10d0-4268-b39c-a1f4044b33f4" providerId="ADAL" clId="{5FE0A016-0A93-4063-8F08-CD48630E8DBB}" dt="2025-02-06T13:12:39.239" v="2513"/>
          <ac:picMkLst>
            <pc:docMk/>
            <pc:sldMk cId="2708077593" sldId="2147378681"/>
            <ac:picMk id="20" creationId="{7B239E08-893C-E606-6D22-D205D394B54B}"/>
          </ac:picMkLst>
        </pc:picChg>
        <pc:picChg chg="mod">
          <ac:chgData name="丁野 光理" userId="53361c9a-10d0-4268-b39c-a1f4044b33f4" providerId="ADAL" clId="{5FE0A016-0A93-4063-8F08-CD48630E8DBB}" dt="2025-02-06T13:12:39.239" v="2513"/>
          <ac:picMkLst>
            <pc:docMk/>
            <pc:sldMk cId="2708077593" sldId="2147378681"/>
            <ac:picMk id="23" creationId="{0D2AA527-0139-EEEA-B454-F169FAF9B28D}"/>
          </ac:picMkLst>
        </pc:picChg>
        <pc:picChg chg="mod">
          <ac:chgData name="丁野 光理" userId="53361c9a-10d0-4268-b39c-a1f4044b33f4" providerId="ADAL" clId="{5FE0A016-0A93-4063-8F08-CD48630E8DBB}" dt="2025-02-06T13:12:39.239" v="2513"/>
          <ac:picMkLst>
            <pc:docMk/>
            <pc:sldMk cId="2708077593" sldId="2147378681"/>
            <ac:picMk id="26" creationId="{3CB83327-E003-3609-2213-2CE6525C5676}"/>
          </ac:picMkLst>
        </pc:picChg>
        <pc:picChg chg="add del mod">
          <ac:chgData name="丁野 光理" userId="53361c9a-10d0-4268-b39c-a1f4044b33f4" providerId="ADAL" clId="{5FE0A016-0A93-4063-8F08-CD48630E8DBB}" dt="2025-02-06T14:29:51.980" v="5590" actId="478"/>
          <ac:picMkLst>
            <pc:docMk/>
            <pc:sldMk cId="2708077593" sldId="2147378681"/>
            <ac:picMk id="29" creationId="{239C546C-F207-34E9-7D0D-74305736EF8E}"/>
          </ac:picMkLst>
        </pc:picChg>
        <pc:picChg chg="mod">
          <ac:chgData name="丁野 光理" userId="53361c9a-10d0-4268-b39c-a1f4044b33f4" providerId="ADAL" clId="{5FE0A016-0A93-4063-8F08-CD48630E8DBB}" dt="2025-02-06T13:12:39.239" v="2513"/>
          <ac:picMkLst>
            <pc:docMk/>
            <pc:sldMk cId="2708077593" sldId="2147378681"/>
            <ac:picMk id="35" creationId="{E76FDEBF-8C3B-49A6-BA6C-AD6A45DA9D5D}"/>
          </ac:picMkLst>
        </pc:picChg>
        <pc:picChg chg="mod">
          <ac:chgData name="丁野 光理" userId="53361c9a-10d0-4268-b39c-a1f4044b33f4" providerId="ADAL" clId="{5FE0A016-0A93-4063-8F08-CD48630E8DBB}" dt="2025-02-06T13:12:39.239" v="2513"/>
          <ac:picMkLst>
            <pc:docMk/>
            <pc:sldMk cId="2708077593" sldId="2147378681"/>
            <ac:picMk id="37" creationId="{58189361-9FC8-8588-97FF-C5547D13E63B}"/>
          </ac:picMkLst>
        </pc:picChg>
        <pc:picChg chg="mod">
          <ac:chgData name="丁野 光理" userId="53361c9a-10d0-4268-b39c-a1f4044b33f4" providerId="ADAL" clId="{5FE0A016-0A93-4063-8F08-CD48630E8DBB}" dt="2025-02-06T13:12:39.239" v="2513"/>
          <ac:picMkLst>
            <pc:docMk/>
            <pc:sldMk cId="2708077593" sldId="2147378681"/>
            <ac:picMk id="38" creationId="{32EA973F-6591-0188-B77F-2E7F7CACC6D6}"/>
          </ac:picMkLst>
        </pc:picChg>
        <pc:picChg chg="mod">
          <ac:chgData name="丁野 光理" userId="53361c9a-10d0-4268-b39c-a1f4044b33f4" providerId="ADAL" clId="{5FE0A016-0A93-4063-8F08-CD48630E8DBB}" dt="2025-02-06T13:12:39.239" v="2513"/>
          <ac:picMkLst>
            <pc:docMk/>
            <pc:sldMk cId="2708077593" sldId="2147378681"/>
            <ac:picMk id="40" creationId="{77D2D732-B072-4CA4-F78D-551D08D4C0E4}"/>
          </ac:picMkLst>
        </pc:picChg>
        <pc:picChg chg="mod">
          <ac:chgData name="丁野 光理" userId="53361c9a-10d0-4268-b39c-a1f4044b33f4" providerId="ADAL" clId="{5FE0A016-0A93-4063-8F08-CD48630E8DBB}" dt="2025-02-06T13:12:39.239" v="2513"/>
          <ac:picMkLst>
            <pc:docMk/>
            <pc:sldMk cId="2708077593" sldId="2147378681"/>
            <ac:picMk id="46" creationId="{EE6DE7AF-A71B-90A6-4997-789AE5C6D486}"/>
          </ac:picMkLst>
        </pc:picChg>
        <pc:picChg chg="mod">
          <ac:chgData name="丁野 光理" userId="53361c9a-10d0-4268-b39c-a1f4044b33f4" providerId="ADAL" clId="{5FE0A016-0A93-4063-8F08-CD48630E8DBB}" dt="2025-02-06T13:12:39.239" v="2513"/>
          <ac:picMkLst>
            <pc:docMk/>
            <pc:sldMk cId="2708077593" sldId="2147378681"/>
            <ac:picMk id="47" creationId="{4D836FC9-F8F8-33A7-BE25-BBC1CDD816F2}"/>
          </ac:picMkLst>
        </pc:picChg>
        <pc:cxnChg chg="mod">
          <ac:chgData name="丁野 光理" userId="53361c9a-10d0-4268-b39c-a1f4044b33f4" providerId="ADAL" clId="{5FE0A016-0A93-4063-8F08-CD48630E8DBB}" dt="2025-02-05T11:44:12.878" v="836" actId="1036"/>
          <ac:cxnSpMkLst>
            <pc:docMk/>
            <pc:sldMk cId="2708077593" sldId="2147378681"/>
            <ac:cxnSpMk id="10" creationId="{EEF86A98-39B5-3E9C-8313-F6410191C7AD}"/>
          </ac:cxnSpMkLst>
        </pc:cxnChg>
        <pc:cxnChg chg="mod">
          <ac:chgData name="丁野 光理" userId="53361c9a-10d0-4268-b39c-a1f4044b33f4" providerId="ADAL" clId="{5FE0A016-0A93-4063-8F08-CD48630E8DBB}" dt="2025-02-05T11:44:12.878" v="836" actId="1036"/>
          <ac:cxnSpMkLst>
            <pc:docMk/>
            <pc:sldMk cId="2708077593" sldId="2147378681"/>
            <ac:cxnSpMk id="13" creationId="{819B2E49-17B8-3727-8812-69FD5702E69C}"/>
          </ac:cxnSpMkLst>
        </pc:cxn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7T10:22:31.898" v="22919"/>
              <pc2:cmMkLst xmlns:pc2="http://schemas.microsoft.com/office/powerpoint/2019/9/main/command">
                <pc:docMk/>
                <pc:sldMk cId="2708077593" sldId="2147378681"/>
                <pc2:cmMk id="{C2665106-7865-451A-A501-491E7113F2D0}"/>
              </pc2:cmMkLst>
            </pc226:cmChg>
            <pc226:cmChg xmlns:pc226="http://schemas.microsoft.com/office/powerpoint/2022/06/main/command" chg="del">
              <pc226:chgData name="丁野 光理" userId="53361c9a-10d0-4268-b39c-a1f4044b33f4" providerId="ADAL" clId="{5FE0A016-0A93-4063-8F08-CD48630E8DBB}" dt="2025-02-07T10:22:33.836" v="22920"/>
              <pc2:cmMkLst xmlns:pc2="http://schemas.microsoft.com/office/powerpoint/2019/9/main/command">
                <pc:docMk/>
                <pc:sldMk cId="2708077593" sldId="2147378681"/>
                <pc2:cmMk id="{40A72152-731D-47FF-92E4-5B8D098E98AB}"/>
              </pc2:cmMkLst>
            </pc226:cmChg>
          </p:ext>
        </pc:extLst>
      </pc:sldChg>
      <pc:sldChg chg="addSp delSp modSp mod delCm">
        <pc:chgData name="丁野 光理" userId="53361c9a-10d0-4268-b39c-a1f4044b33f4" providerId="ADAL" clId="{5FE0A016-0A93-4063-8F08-CD48630E8DBB}" dt="2025-02-07T10:22:27.274" v="22918"/>
        <pc:sldMkLst>
          <pc:docMk/>
          <pc:sldMk cId="2629355078" sldId="2147378682"/>
        </pc:sldMkLst>
        <pc:spChg chg="del">
          <ac:chgData name="丁野 光理" userId="53361c9a-10d0-4268-b39c-a1f4044b33f4" providerId="ADAL" clId="{5FE0A016-0A93-4063-8F08-CD48630E8DBB}" dt="2025-01-31T01:53:12.415" v="345" actId="478"/>
          <ac:spMkLst>
            <pc:docMk/>
            <pc:sldMk cId="2629355078" sldId="2147378682"/>
            <ac:spMk id="7" creationId="{45EA7D70-5CA6-D453-2EFC-52642E09B3DC}"/>
          </ac:spMkLst>
        </pc:spChg>
        <pc:spChg chg="mod">
          <ac:chgData name="丁野 光理" userId="53361c9a-10d0-4268-b39c-a1f4044b33f4" providerId="ADAL" clId="{5FE0A016-0A93-4063-8F08-CD48630E8DBB}" dt="2025-02-05T11:23:55.037" v="751"/>
          <ac:spMkLst>
            <pc:docMk/>
            <pc:sldMk cId="2629355078" sldId="2147378682"/>
            <ac:spMk id="9" creationId="{D22A0A06-D5A8-4A1A-B66F-2A8EDBD644F1}"/>
          </ac:spMkLst>
        </pc:spChg>
        <pc:spChg chg="add mod">
          <ac:chgData name="丁野 光理" userId="53361c9a-10d0-4268-b39c-a1f4044b33f4" providerId="ADAL" clId="{5FE0A016-0A93-4063-8F08-CD48630E8DBB}" dt="2025-01-30T11:12:14.047" v="343"/>
          <ac:spMkLst>
            <pc:docMk/>
            <pc:sldMk cId="2629355078" sldId="2147378682"/>
            <ac:spMk id="15" creationId="{B4B33CBB-85A1-D661-8244-BA4AC3199F2D}"/>
          </ac:spMkLst>
        </pc:spChg>
        <pc:spChg chg="del">
          <ac:chgData name="丁野 光理" userId="53361c9a-10d0-4268-b39c-a1f4044b33f4" providerId="ADAL" clId="{5FE0A016-0A93-4063-8F08-CD48630E8DBB}" dt="2025-01-29T13:07:40.226" v="140" actId="478"/>
          <ac:spMkLst>
            <pc:docMk/>
            <pc:sldMk cId="2629355078" sldId="2147378682"/>
            <ac:spMk id="15" creationId="{FDA5823E-4462-D120-D102-5D7BCDCD50D7}"/>
          </ac:spMkLst>
        </pc:spChg>
        <pc:spChg chg="del mod">
          <ac:chgData name="丁野 光理" userId="53361c9a-10d0-4268-b39c-a1f4044b33f4" providerId="ADAL" clId="{5FE0A016-0A93-4063-8F08-CD48630E8DBB}" dt="2025-01-30T11:12:08.286" v="310" actId="478"/>
          <ac:spMkLst>
            <pc:docMk/>
            <pc:sldMk cId="2629355078" sldId="2147378682"/>
            <ac:spMk id="16" creationId="{8F702987-7030-AB85-CCC8-911F98E01691}"/>
          </ac:spMkLst>
        </pc:sp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7T10:22:27.274" v="22918"/>
              <pc2:cmMkLst xmlns:pc2="http://schemas.microsoft.com/office/powerpoint/2019/9/main/command">
                <pc:docMk/>
                <pc:sldMk cId="2629355078" sldId="2147378682"/>
                <pc2:cmMk id="{F218F1F8-0A58-492D-B276-F3BA5AAA42F3}"/>
              </pc2:cmMkLst>
            </pc226:cmChg>
          </p:ext>
        </pc:extLst>
      </pc:sldChg>
      <pc:sldChg chg="addSp delSp modSp mod delCm">
        <pc:chgData name="丁野 光理" userId="53361c9a-10d0-4268-b39c-a1f4044b33f4" providerId="ADAL" clId="{5FE0A016-0A93-4063-8F08-CD48630E8DBB}" dt="2025-02-07T11:36:40.366" v="24795" actId="20577"/>
        <pc:sldMkLst>
          <pc:docMk/>
          <pc:sldMk cId="228645798" sldId="2147378683"/>
        </pc:sldMkLst>
        <pc:spChg chg="mod">
          <ac:chgData name="丁野 光理" userId="53361c9a-10d0-4268-b39c-a1f4044b33f4" providerId="ADAL" clId="{5FE0A016-0A93-4063-8F08-CD48630E8DBB}" dt="2025-02-07T11:36:40.366" v="24795" actId="20577"/>
          <ac:spMkLst>
            <pc:docMk/>
            <pc:sldMk cId="228645798" sldId="2147378683"/>
            <ac:spMk id="4" creationId="{29DB748F-EFF5-4509-B381-6B8D73B31303}"/>
          </ac:spMkLst>
        </pc:spChg>
        <pc:spChg chg="add mod">
          <ac:chgData name="丁野 光理" userId="53361c9a-10d0-4268-b39c-a1f4044b33f4" providerId="ADAL" clId="{5FE0A016-0A93-4063-8F08-CD48630E8DBB}" dt="2025-02-06T14:20:28.228" v="4235"/>
          <ac:spMkLst>
            <pc:docMk/>
            <pc:sldMk cId="228645798" sldId="2147378683"/>
            <ac:spMk id="6" creationId="{1D74506D-0E22-A09B-E5D1-B726350DCF3A}"/>
          </ac:spMkLst>
        </pc:spChg>
        <pc:spChg chg="del">
          <ac:chgData name="丁野 光理" userId="53361c9a-10d0-4268-b39c-a1f4044b33f4" providerId="ADAL" clId="{5FE0A016-0A93-4063-8F08-CD48630E8DBB}" dt="2025-02-04T13:53:15.287" v="712" actId="478"/>
          <ac:spMkLst>
            <pc:docMk/>
            <pc:sldMk cId="228645798" sldId="2147378683"/>
            <ac:spMk id="6" creationId="{9E4631E7-964D-E009-B2BB-C8E7CB208D67}"/>
          </ac:spMkLst>
        </pc:spChg>
        <pc:spChg chg="del">
          <ac:chgData name="丁野 光理" userId="53361c9a-10d0-4268-b39c-a1f4044b33f4" providerId="ADAL" clId="{5FE0A016-0A93-4063-8F08-CD48630E8DBB}" dt="2025-01-29T13:07:37.317" v="139" actId="478"/>
          <ac:spMkLst>
            <pc:docMk/>
            <pc:sldMk cId="228645798" sldId="2147378683"/>
            <ac:spMk id="7" creationId="{44C5D2AE-5A67-8B16-4D64-05BEA1BC14F5}"/>
          </ac:spMkLst>
        </pc:spChg>
        <pc:spChg chg="mod">
          <ac:chgData name="丁野 光理" userId="53361c9a-10d0-4268-b39c-a1f4044b33f4" providerId="ADAL" clId="{5FE0A016-0A93-4063-8F08-CD48630E8DBB}" dt="2025-02-06T14:28:18.368" v="5215" actId="113"/>
          <ac:spMkLst>
            <pc:docMk/>
            <pc:sldMk cId="228645798" sldId="2147378683"/>
            <ac:spMk id="8" creationId="{9D610DBF-17F7-608B-8680-1CFA54E54E02}"/>
          </ac:spMkLst>
        </pc:spChg>
        <pc:graphicFrameChg chg="mod modGraphic">
          <ac:chgData name="丁野 光理" userId="53361c9a-10d0-4268-b39c-a1f4044b33f4" providerId="ADAL" clId="{5FE0A016-0A93-4063-8F08-CD48630E8DBB}" dt="2025-02-06T14:27:56.055" v="5213" actId="207"/>
          <ac:graphicFrameMkLst>
            <pc:docMk/>
            <pc:sldMk cId="228645798" sldId="2147378683"/>
            <ac:graphicFrameMk id="2" creationId="{11947C01-3F25-5707-DF65-95146B28736C}"/>
          </ac:graphicFrameMkLst>
        </pc:graphicFrame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7T10:22:39.162" v="22921"/>
              <pc2:cmMkLst xmlns:pc2="http://schemas.microsoft.com/office/powerpoint/2019/9/main/command">
                <pc:docMk/>
                <pc:sldMk cId="228645798" sldId="2147378683"/>
                <pc2:cmMk id="{CC32BF52-AF5B-404A-9D8B-3922AFEDB808}"/>
              </pc2:cmMkLst>
            </pc226:cmChg>
          </p:ext>
        </pc:extLst>
      </pc:sldChg>
      <pc:sldChg chg="addSp delSp modSp add del mod ord addCm delCm">
        <pc:chgData name="丁野 光理" userId="53361c9a-10d0-4268-b39c-a1f4044b33f4" providerId="ADAL" clId="{5FE0A016-0A93-4063-8F08-CD48630E8DBB}" dt="2025-02-07T11:16:30.168" v="24196" actId="47"/>
        <pc:sldMkLst>
          <pc:docMk/>
          <pc:sldMk cId="239223960" sldId="2147378686"/>
        </pc:sldMkLst>
        <pc:spChg chg="mod">
          <ac:chgData name="丁野 光理" userId="53361c9a-10d0-4268-b39c-a1f4044b33f4" providerId="ADAL" clId="{5FE0A016-0A93-4063-8F08-CD48630E8DBB}" dt="2025-02-06T15:10:33.656" v="7896"/>
          <ac:spMkLst>
            <pc:docMk/>
            <pc:sldMk cId="239223960" sldId="2147378686"/>
            <ac:spMk id="2" creationId="{A45FDDD5-9A42-423D-9ED3-F19DD3567786}"/>
          </ac:spMkLst>
        </pc:spChg>
        <pc:spChg chg="del">
          <ac:chgData name="丁野 光理" userId="53361c9a-10d0-4268-b39c-a1f4044b33f4" providerId="ADAL" clId="{5FE0A016-0A93-4063-8F08-CD48630E8DBB}" dt="2025-01-29T13:07:24.337" v="134" actId="478"/>
          <ac:spMkLst>
            <pc:docMk/>
            <pc:sldMk cId="239223960" sldId="2147378686"/>
            <ac:spMk id="4" creationId="{2D9DF4BF-A6B4-F174-8EB6-98CC10E01A36}"/>
          </ac:spMkLst>
        </pc:spChg>
        <pc:spChg chg="mod">
          <ac:chgData name="丁野 光理" userId="53361c9a-10d0-4268-b39c-a1f4044b33f4" providerId="ADAL" clId="{5FE0A016-0A93-4063-8F08-CD48630E8DBB}" dt="2025-01-31T01:54:00.894" v="361"/>
          <ac:spMkLst>
            <pc:docMk/>
            <pc:sldMk cId="239223960" sldId="2147378686"/>
            <ac:spMk id="8" creationId="{E5452BB1-3ED0-4261-B76D-A910259B86CD}"/>
          </ac:spMkLst>
        </pc:spChg>
        <pc:spChg chg="mod">
          <ac:chgData name="丁野 光理" userId="53361c9a-10d0-4268-b39c-a1f4044b33f4" providerId="ADAL" clId="{5FE0A016-0A93-4063-8F08-CD48630E8DBB}" dt="2025-02-07T11:11:48.391" v="24025"/>
          <ac:spMkLst>
            <pc:docMk/>
            <pc:sldMk cId="239223960" sldId="2147378686"/>
            <ac:spMk id="9" creationId="{D22A0A06-D5A8-4A1A-B66F-2A8EDBD644F1}"/>
          </ac:spMkLst>
        </pc:spChg>
        <pc:spChg chg="mod">
          <ac:chgData name="丁野 光理" userId="53361c9a-10d0-4268-b39c-a1f4044b33f4" providerId="ADAL" clId="{5FE0A016-0A93-4063-8F08-CD48630E8DBB}" dt="2025-02-07T11:16:07.574" v="24192" actId="1076"/>
          <ac:spMkLst>
            <pc:docMk/>
            <pc:sldMk cId="239223960" sldId="2147378686"/>
            <ac:spMk id="10" creationId="{543B1571-BEDE-37BA-F555-DB23CA2FA0C5}"/>
          </ac:spMkLst>
        </pc:spChg>
        <pc:graphicFrameChg chg="del mod modGraphic">
          <ac:chgData name="丁野 光理" userId="53361c9a-10d0-4268-b39c-a1f4044b33f4" providerId="ADAL" clId="{5FE0A016-0A93-4063-8F08-CD48630E8DBB}" dt="2025-02-06T16:20:05.583" v="11691" actId="478"/>
          <ac:graphicFrameMkLst>
            <pc:docMk/>
            <pc:sldMk cId="239223960" sldId="2147378686"/>
            <ac:graphicFrameMk id="3" creationId="{789DCD94-CACD-CC79-48EF-F13A5ACFBD8A}"/>
          </ac:graphicFrameMkLst>
        </pc:graphicFrameChg>
        <pc:graphicFrameChg chg="add del mod">
          <ac:chgData name="丁野 光理" userId="53361c9a-10d0-4268-b39c-a1f4044b33f4" providerId="ADAL" clId="{5FE0A016-0A93-4063-8F08-CD48630E8DBB}" dt="2025-02-06T16:16:14.468" v="11400" actId="478"/>
          <ac:graphicFrameMkLst>
            <pc:docMk/>
            <pc:sldMk cId="239223960" sldId="2147378686"/>
            <ac:graphicFrameMk id="4" creationId="{0AC9AF1A-4093-8482-B4CC-792FFBA09FD4}"/>
          </ac:graphicFrameMkLst>
        </pc:graphicFrameChg>
        <pc:graphicFrameChg chg="add del mod">
          <ac:chgData name="丁野 光理" userId="53361c9a-10d0-4268-b39c-a1f4044b33f4" providerId="ADAL" clId="{5FE0A016-0A93-4063-8F08-CD48630E8DBB}" dt="2025-02-06T16:17:39.949" v="11452" actId="478"/>
          <ac:graphicFrameMkLst>
            <pc:docMk/>
            <pc:sldMk cId="239223960" sldId="2147378686"/>
            <ac:graphicFrameMk id="6" creationId="{DD49B633-28F5-BF47-D77E-67D7531FD4B5}"/>
          </ac:graphicFrameMkLst>
        </pc:graphicFrameChg>
        <pc:graphicFrameChg chg="add mod modGraphic">
          <ac:chgData name="丁野 光理" userId="53361c9a-10d0-4268-b39c-a1f4044b33f4" providerId="ADAL" clId="{5FE0A016-0A93-4063-8F08-CD48630E8DBB}" dt="2025-02-07T11:16:02.691" v="24191"/>
          <ac:graphicFrameMkLst>
            <pc:docMk/>
            <pc:sldMk cId="239223960" sldId="2147378686"/>
            <ac:graphicFrameMk id="7" creationId="{3F760687-B3BB-6A40-A2EE-9CEB046E963D}"/>
          </ac:graphicFrameMkLst>
        </pc:graphicFrameChg>
        <pc:extLst>
          <p:ext xmlns:p="http://schemas.openxmlformats.org/presentationml/2006/main" uri="{D6D511B9-2390-475A-947B-AFAB55BFBCF1}">
            <pc226:cmChg xmlns:pc226="http://schemas.microsoft.com/office/powerpoint/2022/06/main/command" chg="add del">
              <pc226:chgData name="丁野 光理" userId="53361c9a-10d0-4268-b39c-a1f4044b33f4" providerId="ADAL" clId="{5FE0A016-0A93-4063-8F08-CD48630E8DBB}" dt="2025-02-07T10:23:17.065" v="22931"/>
              <pc2:cmMkLst xmlns:pc2="http://schemas.microsoft.com/office/powerpoint/2019/9/main/command">
                <pc:docMk/>
                <pc:sldMk cId="239223960" sldId="2147378686"/>
                <pc2:cmMk id="{950CF28A-EDFF-4104-9965-0590BFE17898}"/>
              </pc2:cmMkLst>
            </pc226:cmChg>
          </p:ext>
        </pc:extLst>
      </pc:sldChg>
      <pc:sldChg chg="delSp modSp del mod ord">
        <pc:chgData name="丁野 光理" userId="53361c9a-10d0-4268-b39c-a1f4044b33f4" providerId="ADAL" clId="{5FE0A016-0A93-4063-8F08-CD48630E8DBB}" dt="2025-02-06T15:09:53.719" v="7862" actId="47"/>
        <pc:sldMkLst>
          <pc:docMk/>
          <pc:sldMk cId="1260276570" sldId="2147378687"/>
        </pc:sldMkLst>
        <pc:spChg chg="del">
          <ac:chgData name="丁野 光理" userId="53361c9a-10d0-4268-b39c-a1f4044b33f4" providerId="ADAL" clId="{5FE0A016-0A93-4063-8F08-CD48630E8DBB}" dt="2025-01-29T13:07:17.641" v="132" actId="478"/>
          <ac:spMkLst>
            <pc:docMk/>
            <pc:sldMk cId="1260276570" sldId="2147378687"/>
            <ac:spMk id="4" creationId="{D6454845-5FE2-027E-0CD4-E44F5E629B84}"/>
          </ac:spMkLst>
        </pc:spChg>
        <pc:spChg chg="mod">
          <ac:chgData name="丁野 光理" userId="53361c9a-10d0-4268-b39c-a1f4044b33f4" providerId="ADAL" clId="{5FE0A016-0A93-4063-8F08-CD48630E8DBB}" dt="2025-01-31T01:54:29.677" v="365" actId="20577"/>
          <ac:spMkLst>
            <pc:docMk/>
            <pc:sldMk cId="1260276570" sldId="2147378687"/>
            <ac:spMk id="8" creationId="{0D0372B5-05E1-A5A4-45D0-F2DE109FAB59}"/>
          </ac:spMkLst>
        </pc:spChg>
        <pc:spChg chg="mod">
          <ac:chgData name="丁野 光理" userId="53361c9a-10d0-4268-b39c-a1f4044b33f4" providerId="ADAL" clId="{5FE0A016-0A93-4063-8F08-CD48630E8DBB}" dt="2025-02-05T11:47:38.590" v="958"/>
          <ac:spMkLst>
            <pc:docMk/>
            <pc:sldMk cId="1260276570" sldId="2147378687"/>
            <ac:spMk id="9" creationId="{D22A0A06-D5A8-4A1A-B66F-2A8EDBD644F1}"/>
          </ac:spMkLst>
        </pc:spChg>
      </pc:sldChg>
      <pc:sldChg chg="addSp delSp modSp add del mod ord">
        <pc:chgData name="丁野 光理" userId="53361c9a-10d0-4268-b39c-a1f4044b33f4" providerId="ADAL" clId="{5FE0A016-0A93-4063-8F08-CD48630E8DBB}" dt="2025-02-07T11:24:35.457" v="24504" actId="20577"/>
        <pc:sldMkLst>
          <pc:docMk/>
          <pc:sldMk cId="2452595465" sldId="2147378688"/>
        </pc:sldMkLst>
        <pc:spChg chg="mod">
          <ac:chgData name="丁野 光理" userId="53361c9a-10d0-4268-b39c-a1f4044b33f4" providerId="ADAL" clId="{5FE0A016-0A93-4063-8F08-CD48630E8DBB}" dt="2025-02-06T15:18:28.488" v="8027"/>
          <ac:spMkLst>
            <pc:docMk/>
            <pc:sldMk cId="2452595465" sldId="2147378688"/>
            <ac:spMk id="2" creationId="{A45FDDD5-9A42-423D-9ED3-F19DD3567786}"/>
          </ac:spMkLst>
        </pc:spChg>
        <pc:spChg chg="add mod">
          <ac:chgData name="丁野 光理" userId="53361c9a-10d0-4268-b39c-a1f4044b33f4" providerId="ADAL" clId="{5FE0A016-0A93-4063-8F08-CD48630E8DBB}" dt="2025-01-31T02:00:56.806" v="497" actId="20577"/>
          <ac:spMkLst>
            <pc:docMk/>
            <pc:sldMk cId="2452595465" sldId="2147378688"/>
            <ac:spMk id="6" creationId="{ACC8D349-1EFF-0794-6A68-D89EF8F84DCB}"/>
          </ac:spMkLst>
        </pc:spChg>
        <pc:spChg chg="del">
          <ac:chgData name="丁野 光理" userId="53361c9a-10d0-4268-b39c-a1f4044b33f4" providerId="ADAL" clId="{5FE0A016-0A93-4063-8F08-CD48630E8DBB}" dt="2025-01-29T13:07:02.420" v="130" actId="478"/>
          <ac:spMkLst>
            <pc:docMk/>
            <pc:sldMk cId="2452595465" sldId="2147378688"/>
            <ac:spMk id="7" creationId="{24582205-39DE-FABD-CB90-9C30FEE43071}"/>
          </ac:spMkLst>
        </pc:spChg>
        <pc:spChg chg="mod">
          <ac:chgData name="丁野 光理" userId="53361c9a-10d0-4268-b39c-a1f4044b33f4" providerId="ADAL" clId="{5FE0A016-0A93-4063-8F08-CD48630E8DBB}" dt="2025-02-07T11:24:35.457" v="24504" actId="20577"/>
          <ac:spMkLst>
            <pc:docMk/>
            <pc:sldMk cId="2452595465" sldId="2147378688"/>
            <ac:spMk id="9" creationId="{D22A0A06-D5A8-4A1A-B66F-2A8EDBD644F1}"/>
          </ac:spMkLst>
        </pc:spChg>
        <pc:spChg chg="del">
          <ac:chgData name="丁野 光理" userId="53361c9a-10d0-4268-b39c-a1f4044b33f4" providerId="ADAL" clId="{5FE0A016-0A93-4063-8F08-CD48630E8DBB}" dt="2025-02-06T16:11:57.295" v="10833" actId="478"/>
          <ac:spMkLst>
            <pc:docMk/>
            <pc:sldMk cId="2452595465" sldId="2147378688"/>
            <ac:spMk id="10" creationId="{09B8CBA2-03F1-FCA3-5EF4-E163C51AD89A}"/>
          </ac:spMkLst>
        </pc:spChg>
        <pc:spChg chg="add mod">
          <ac:chgData name="丁野 光理" userId="53361c9a-10d0-4268-b39c-a1f4044b33f4" providerId="ADAL" clId="{5FE0A016-0A93-4063-8F08-CD48630E8DBB}" dt="2025-02-06T16:11:57.295" v="10833" actId="478"/>
          <ac:spMkLst>
            <pc:docMk/>
            <pc:sldMk cId="2452595465" sldId="2147378688"/>
            <ac:spMk id="20" creationId="{C0739B5E-974C-B8C0-C502-00B3AE8E25D2}"/>
          </ac:spMkLst>
        </pc:spChg>
        <pc:picChg chg="del mod">
          <ac:chgData name="丁野 光理" userId="53361c9a-10d0-4268-b39c-a1f4044b33f4" providerId="ADAL" clId="{5FE0A016-0A93-4063-8F08-CD48630E8DBB}" dt="2025-01-31T01:54:42.866" v="366" actId="478"/>
          <ac:picMkLst>
            <pc:docMk/>
            <pc:sldMk cId="2452595465" sldId="2147378688"/>
            <ac:picMk id="4" creationId="{CB67C656-701C-590D-31B0-33A764E6E23A}"/>
          </ac:picMkLst>
        </pc:picChg>
      </pc:sldChg>
      <pc:sldChg chg="delSp modSp mod ord addCm delCm">
        <pc:chgData name="丁野 光理" userId="53361c9a-10d0-4268-b39c-a1f4044b33f4" providerId="ADAL" clId="{5FE0A016-0A93-4063-8F08-CD48630E8DBB}" dt="2025-02-07T11:25:19.343" v="24523" actId="20577"/>
        <pc:sldMkLst>
          <pc:docMk/>
          <pc:sldMk cId="64176771" sldId="2147378692"/>
        </pc:sldMkLst>
        <pc:spChg chg="mod">
          <ac:chgData name="丁野 光理" userId="53361c9a-10d0-4268-b39c-a1f4044b33f4" providerId="ADAL" clId="{5FE0A016-0A93-4063-8F08-CD48630E8DBB}" dt="2025-02-06T15:18:31.507" v="8028"/>
          <ac:spMkLst>
            <pc:docMk/>
            <pc:sldMk cId="64176771" sldId="2147378692"/>
            <ac:spMk id="3" creationId="{6247E137-868B-539C-2D6E-DC37708CAC30}"/>
          </ac:spMkLst>
        </pc:spChg>
        <pc:spChg chg="mod">
          <ac:chgData name="丁野 光理" userId="53361c9a-10d0-4268-b39c-a1f4044b33f4" providerId="ADAL" clId="{5FE0A016-0A93-4063-8F08-CD48630E8DBB}" dt="2025-02-07T11:25:19.343" v="24523" actId="20577"/>
          <ac:spMkLst>
            <pc:docMk/>
            <pc:sldMk cId="64176771" sldId="2147378692"/>
            <ac:spMk id="4" creationId="{2C3BBDD6-C18E-A8D5-D35C-ABB97297C5DD}"/>
          </ac:spMkLst>
        </pc:spChg>
        <pc:spChg chg="del">
          <ac:chgData name="丁野 光理" userId="53361c9a-10d0-4268-b39c-a1f4044b33f4" providerId="ADAL" clId="{5FE0A016-0A93-4063-8F08-CD48630E8DBB}" dt="2025-01-29T13:06:57.222" v="127" actId="478"/>
          <ac:spMkLst>
            <pc:docMk/>
            <pc:sldMk cId="64176771" sldId="2147378692"/>
            <ac:spMk id="6" creationId="{8F5B53A2-0EF1-F8B6-B41F-2E779B30F578}"/>
          </ac:spMkLst>
        </pc:spChg>
        <pc:graphicFrameChg chg="mod modGraphic">
          <ac:chgData name="丁野 光理" userId="53361c9a-10d0-4268-b39c-a1f4044b33f4" providerId="ADAL" clId="{5FE0A016-0A93-4063-8F08-CD48630E8DBB}" dt="2025-02-06T16:13:04.342" v="11026" actId="207"/>
          <ac:graphicFrameMkLst>
            <pc:docMk/>
            <pc:sldMk cId="64176771" sldId="2147378692"/>
            <ac:graphicFrameMk id="2" creationId="{12ACD507-CDCD-7967-B093-33A8EA8B50AD}"/>
          </ac:graphicFrameMkLst>
        </pc:graphicFrameChg>
        <pc:extLst>
          <p:ext xmlns:p="http://schemas.openxmlformats.org/presentationml/2006/main" uri="{D6D511B9-2390-475A-947B-AFAB55BFBCF1}">
            <pc226:cmChg xmlns:pc226="http://schemas.microsoft.com/office/powerpoint/2022/06/main/command" chg="add del">
              <pc226:chgData name="丁野 光理" userId="53361c9a-10d0-4268-b39c-a1f4044b33f4" providerId="ADAL" clId="{5FE0A016-0A93-4063-8F08-CD48630E8DBB}" dt="2025-02-07T10:23:44.662" v="22932"/>
              <pc2:cmMkLst xmlns:pc2="http://schemas.microsoft.com/office/powerpoint/2019/9/main/command">
                <pc:docMk/>
                <pc:sldMk cId="64176771" sldId="2147378692"/>
                <pc2:cmMk id="{22EDEFDE-7D42-4798-B990-11A4BCB9EBD9}"/>
              </pc2:cmMkLst>
            </pc226:cmChg>
          </p:ext>
        </pc:extLst>
      </pc:sldChg>
      <pc:sldChg chg="delSp modSp mod ord modShow addCm delCm modCm">
        <pc:chgData name="丁野 光理" userId="53361c9a-10d0-4268-b39c-a1f4044b33f4" providerId="ADAL" clId="{5FE0A016-0A93-4063-8F08-CD48630E8DBB}" dt="2025-02-07T12:37:10.127" v="26258" actId="1076"/>
        <pc:sldMkLst>
          <pc:docMk/>
          <pc:sldMk cId="2807815468" sldId="2147378693"/>
        </pc:sldMkLst>
        <pc:spChg chg="mod">
          <ac:chgData name="丁野 光理" userId="53361c9a-10d0-4268-b39c-a1f4044b33f4" providerId="ADAL" clId="{5FE0A016-0A93-4063-8F08-CD48630E8DBB}" dt="2025-02-07T10:53:10.427" v="22944" actId="207"/>
          <ac:spMkLst>
            <pc:docMk/>
            <pc:sldMk cId="2807815468" sldId="2147378693"/>
            <ac:spMk id="4" creationId="{6F71EB31-C9B7-4098-9EFB-8216961CCBDC}"/>
          </ac:spMkLst>
        </pc:spChg>
        <pc:spChg chg="del">
          <ac:chgData name="丁野 光理" userId="53361c9a-10d0-4268-b39c-a1f4044b33f4" providerId="ADAL" clId="{5FE0A016-0A93-4063-8F08-CD48630E8DBB}" dt="2025-01-29T13:06:53.590" v="126" actId="478"/>
          <ac:spMkLst>
            <pc:docMk/>
            <pc:sldMk cId="2807815468" sldId="2147378693"/>
            <ac:spMk id="6" creationId="{AB16B992-8FEA-2524-9080-25C00B9EB250}"/>
          </ac:spMkLst>
        </pc:spChg>
        <pc:spChg chg="mod">
          <ac:chgData name="丁野 光理" userId="53361c9a-10d0-4268-b39c-a1f4044b33f4" providerId="ADAL" clId="{5FE0A016-0A93-4063-8F08-CD48630E8DBB}" dt="2025-02-07T10:53:10.427" v="22944" actId="207"/>
          <ac:spMkLst>
            <pc:docMk/>
            <pc:sldMk cId="2807815468" sldId="2147378693"/>
            <ac:spMk id="8" creationId="{9B252D3D-6288-96C4-6851-3CB5CABE93B0}"/>
          </ac:spMkLst>
        </pc:spChg>
        <pc:spChg chg="mod">
          <ac:chgData name="丁野 光理" userId="53361c9a-10d0-4268-b39c-a1f4044b33f4" providerId="ADAL" clId="{5FE0A016-0A93-4063-8F08-CD48630E8DBB}" dt="2025-02-07T11:29:55.768" v="24622" actId="20577"/>
          <ac:spMkLst>
            <pc:docMk/>
            <pc:sldMk cId="2807815468" sldId="2147378693"/>
            <ac:spMk id="9" creationId="{D22A0A06-D5A8-4A1A-B66F-2A8EDBD644F1}"/>
          </ac:spMkLst>
        </pc:spChg>
        <pc:spChg chg="mod">
          <ac:chgData name="丁野 光理" userId="53361c9a-10d0-4268-b39c-a1f4044b33f4" providerId="ADAL" clId="{5FE0A016-0A93-4063-8F08-CD48630E8DBB}" dt="2025-02-07T10:53:14.605" v="22945" actId="207"/>
          <ac:spMkLst>
            <pc:docMk/>
            <pc:sldMk cId="2807815468" sldId="2147378693"/>
            <ac:spMk id="11" creationId="{27E0FB5C-67EE-F750-E74B-80FE4B6806FF}"/>
          </ac:spMkLst>
        </pc:spChg>
        <pc:spChg chg="mod">
          <ac:chgData name="丁野 光理" userId="53361c9a-10d0-4268-b39c-a1f4044b33f4" providerId="ADAL" clId="{5FE0A016-0A93-4063-8F08-CD48630E8DBB}" dt="2025-02-07T10:53:14.605" v="22945" actId="207"/>
          <ac:spMkLst>
            <pc:docMk/>
            <pc:sldMk cId="2807815468" sldId="2147378693"/>
            <ac:spMk id="13" creationId="{3132866A-947F-A81C-0025-F0AF7AFAF788}"/>
          </ac:spMkLst>
        </pc:spChg>
        <pc:spChg chg="mod">
          <ac:chgData name="丁野 光理" userId="53361c9a-10d0-4268-b39c-a1f4044b33f4" providerId="ADAL" clId="{5FE0A016-0A93-4063-8F08-CD48630E8DBB}" dt="2025-02-07T10:53:10.427" v="22944" actId="207"/>
          <ac:spMkLst>
            <pc:docMk/>
            <pc:sldMk cId="2807815468" sldId="2147378693"/>
            <ac:spMk id="14" creationId="{5BC8482B-CF2B-219A-8F08-419E3A5FC47F}"/>
          </ac:spMkLst>
        </pc:spChg>
        <pc:spChg chg="mod">
          <ac:chgData name="丁野 光理" userId="53361c9a-10d0-4268-b39c-a1f4044b33f4" providerId="ADAL" clId="{5FE0A016-0A93-4063-8F08-CD48630E8DBB}" dt="2025-02-07T10:53:14.605" v="22945" actId="207"/>
          <ac:spMkLst>
            <pc:docMk/>
            <pc:sldMk cId="2807815468" sldId="2147378693"/>
            <ac:spMk id="15" creationId="{FB604A90-B7E0-C24B-4479-27FB7F6C9AF9}"/>
          </ac:spMkLst>
        </pc:spChg>
        <pc:spChg chg="mod">
          <ac:chgData name="丁野 光理" userId="53361c9a-10d0-4268-b39c-a1f4044b33f4" providerId="ADAL" clId="{5FE0A016-0A93-4063-8F08-CD48630E8DBB}" dt="2025-02-07T10:53:10.427" v="22944" actId="207"/>
          <ac:spMkLst>
            <pc:docMk/>
            <pc:sldMk cId="2807815468" sldId="2147378693"/>
            <ac:spMk id="17" creationId="{C9C43BC8-810D-E426-4335-300BCA945BC0}"/>
          </ac:spMkLst>
        </pc:spChg>
        <pc:spChg chg="mod">
          <ac:chgData name="丁野 光理" userId="53361c9a-10d0-4268-b39c-a1f4044b33f4" providerId="ADAL" clId="{5FE0A016-0A93-4063-8F08-CD48630E8DBB}" dt="2025-02-07T10:53:14.605" v="22945" actId="207"/>
          <ac:spMkLst>
            <pc:docMk/>
            <pc:sldMk cId="2807815468" sldId="2147378693"/>
            <ac:spMk id="18" creationId="{0947CAEC-1669-C017-095F-FAE30144149E}"/>
          </ac:spMkLst>
        </pc:spChg>
        <pc:spChg chg="mod">
          <ac:chgData name="丁野 光理" userId="53361c9a-10d0-4268-b39c-a1f4044b33f4" providerId="ADAL" clId="{5FE0A016-0A93-4063-8F08-CD48630E8DBB}" dt="2025-02-07T10:53:10.427" v="22944" actId="207"/>
          <ac:spMkLst>
            <pc:docMk/>
            <pc:sldMk cId="2807815468" sldId="2147378693"/>
            <ac:spMk id="20" creationId="{B5AB1C34-EB45-F138-564F-B61D792CEA4E}"/>
          </ac:spMkLst>
        </pc:spChg>
        <pc:spChg chg="mod">
          <ac:chgData name="丁野 光理" userId="53361c9a-10d0-4268-b39c-a1f4044b33f4" providerId="ADAL" clId="{5FE0A016-0A93-4063-8F08-CD48630E8DBB}" dt="2025-02-07T10:53:14.605" v="22945" actId="207"/>
          <ac:spMkLst>
            <pc:docMk/>
            <pc:sldMk cId="2807815468" sldId="2147378693"/>
            <ac:spMk id="22" creationId="{9E9C4C6D-62EF-6870-EF03-ACBF62431744}"/>
          </ac:spMkLst>
        </pc:spChg>
        <pc:spChg chg="mod">
          <ac:chgData name="丁野 光理" userId="53361c9a-10d0-4268-b39c-a1f4044b33f4" providerId="ADAL" clId="{5FE0A016-0A93-4063-8F08-CD48630E8DBB}" dt="2025-02-07T10:53:23.654" v="22949" actId="207"/>
          <ac:spMkLst>
            <pc:docMk/>
            <pc:sldMk cId="2807815468" sldId="2147378693"/>
            <ac:spMk id="63" creationId="{A2DD071A-0195-2A3C-E9A9-9816FA37D9AC}"/>
          </ac:spMkLst>
        </pc:spChg>
        <pc:spChg chg="mod">
          <ac:chgData name="丁野 光理" userId="53361c9a-10d0-4268-b39c-a1f4044b33f4" providerId="ADAL" clId="{5FE0A016-0A93-4063-8F08-CD48630E8DBB}" dt="2025-02-07T10:53:23.654" v="22949" actId="207"/>
          <ac:spMkLst>
            <pc:docMk/>
            <pc:sldMk cId="2807815468" sldId="2147378693"/>
            <ac:spMk id="64" creationId="{28FBAFC8-996E-0183-6007-B849C0563E70}"/>
          </ac:spMkLst>
        </pc:spChg>
        <pc:spChg chg="mod">
          <ac:chgData name="丁野 光理" userId="53361c9a-10d0-4268-b39c-a1f4044b33f4" providerId="ADAL" clId="{5FE0A016-0A93-4063-8F08-CD48630E8DBB}" dt="2025-02-07T10:53:23.654" v="22949" actId="207"/>
          <ac:spMkLst>
            <pc:docMk/>
            <pc:sldMk cId="2807815468" sldId="2147378693"/>
            <ac:spMk id="65" creationId="{57E669E2-341F-5DE9-FC08-5F8B104ABB91}"/>
          </ac:spMkLst>
        </pc:spChg>
        <pc:spChg chg="mod">
          <ac:chgData name="丁野 光理" userId="53361c9a-10d0-4268-b39c-a1f4044b33f4" providerId="ADAL" clId="{5FE0A016-0A93-4063-8F08-CD48630E8DBB}" dt="2025-02-07T10:53:23.654" v="22949" actId="207"/>
          <ac:spMkLst>
            <pc:docMk/>
            <pc:sldMk cId="2807815468" sldId="2147378693"/>
            <ac:spMk id="66" creationId="{54572A44-0063-17F4-A674-86C0FB7C73F2}"/>
          </ac:spMkLst>
        </pc:spChg>
        <pc:spChg chg="mod">
          <ac:chgData name="丁野 光理" userId="53361c9a-10d0-4268-b39c-a1f4044b33f4" providerId="ADAL" clId="{5FE0A016-0A93-4063-8F08-CD48630E8DBB}" dt="2025-02-07T10:53:23.654" v="22949" actId="207"/>
          <ac:spMkLst>
            <pc:docMk/>
            <pc:sldMk cId="2807815468" sldId="2147378693"/>
            <ac:spMk id="67" creationId="{6AC2A3AA-E327-22E1-E253-51EC5732E01C}"/>
          </ac:spMkLst>
        </pc:spChg>
        <pc:spChg chg="mod">
          <ac:chgData name="丁野 光理" userId="53361c9a-10d0-4268-b39c-a1f4044b33f4" providerId="ADAL" clId="{5FE0A016-0A93-4063-8F08-CD48630E8DBB}" dt="2025-02-07T10:53:17.094" v="22946" actId="207"/>
          <ac:spMkLst>
            <pc:docMk/>
            <pc:sldMk cId="2807815468" sldId="2147378693"/>
            <ac:spMk id="69" creationId="{7358E1F9-D900-FAEE-E5D4-01EE75FB2849}"/>
          </ac:spMkLst>
        </pc:spChg>
        <pc:spChg chg="mod">
          <ac:chgData name="丁野 光理" userId="53361c9a-10d0-4268-b39c-a1f4044b33f4" providerId="ADAL" clId="{5FE0A016-0A93-4063-8F08-CD48630E8DBB}" dt="2025-02-07T10:53:17.094" v="22946" actId="207"/>
          <ac:spMkLst>
            <pc:docMk/>
            <pc:sldMk cId="2807815468" sldId="2147378693"/>
            <ac:spMk id="70" creationId="{7A915EC5-6A47-E264-150F-DEF03C43B909}"/>
          </ac:spMkLst>
        </pc:spChg>
        <pc:spChg chg="mod">
          <ac:chgData name="丁野 光理" userId="53361c9a-10d0-4268-b39c-a1f4044b33f4" providerId="ADAL" clId="{5FE0A016-0A93-4063-8F08-CD48630E8DBB}" dt="2025-02-07T10:53:17.094" v="22946" actId="207"/>
          <ac:spMkLst>
            <pc:docMk/>
            <pc:sldMk cId="2807815468" sldId="2147378693"/>
            <ac:spMk id="71" creationId="{165F6F7B-4849-9CE4-9B86-5DADDC407858}"/>
          </ac:spMkLst>
        </pc:spChg>
        <pc:spChg chg="mod">
          <ac:chgData name="丁野 光理" userId="53361c9a-10d0-4268-b39c-a1f4044b33f4" providerId="ADAL" clId="{5FE0A016-0A93-4063-8F08-CD48630E8DBB}" dt="2025-02-07T10:53:17.094" v="22946" actId="207"/>
          <ac:spMkLst>
            <pc:docMk/>
            <pc:sldMk cId="2807815468" sldId="2147378693"/>
            <ac:spMk id="73" creationId="{A1182C33-73BA-46AF-E45C-70818F73D3ED}"/>
          </ac:spMkLst>
        </pc:spChg>
        <pc:spChg chg="mod">
          <ac:chgData name="丁野 光理" userId="53361c9a-10d0-4268-b39c-a1f4044b33f4" providerId="ADAL" clId="{5FE0A016-0A93-4063-8F08-CD48630E8DBB}" dt="2025-02-07T10:53:17.094" v="22946" actId="207"/>
          <ac:spMkLst>
            <pc:docMk/>
            <pc:sldMk cId="2807815468" sldId="2147378693"/>
            <ac:spMk id="76" creationId="{5CDBB21D-8256-9E2D-F47A-638BA24F5F38}"/>
          </ac:spMkLst>
        </pc:spChg>
        <pc:spChg chg="mod">
          <ac:chgData name="丁野 光理" userId="53361c9a-10d0-4268-b39c-a1f4044b33f4" providerId="ADAL" clId="{5FE0A016-0A93-4063-8F08-CD48630E8DBB}" dt="2025-02-07T10:53:21.581" v="22948" actId="207"/>
          <ac:spMkLst>
            <pc:docMk/>
            <pc:sldMk cId="2807815468" sldId="2147378693"/>
            <ac:spMk id="81" creationId="{8AFA2A95-0A68-5666-F467-EF21BDC88A70}"/>
          </ac:spMkLst>
        </pc:spChg>
        <pc:spChg chg="mod">
          <ac:chgData name="丁野 光理" userId="53361c9a-10d0-4268-b39c-a1f4044b33f4" providerId="ADAL" clId="{5FE0A016-0A93-4063-8F08-CD48630E8DBB}" dt="2025-02-07T10:53:21.581" v="22948" actId="207"/>
          <ac:spMkLst>
            <pc:docMk/>
            <pc:sldMk cId="2807815468" sldId="2147378693"/>
            <ac:spMk id="83" creationId="{69F23CBD-6543-7D9D-3CFC-2AACB5B6B755}"/>
          </ac:spMkLst>
        </pc:spChg>
        <pc:spChg chg="mod">
          <ac:chgData name="丁野 光理" userId="53361c9a-10d0-4268-b39c-a1f4044b33f4" providerId="ADAL" clId="{5FE0A016-0A93-4063-8F08-CD48630E8DBB}" dt="2025-02-07T10:53:21.581" v="22948" actId="207"/>
          <ac:spMkLst>
            <pc:docMk/>
            <pc:sldMk cId="2807815468" sldId="2147378693"/>
            <ac:spMk id="84" creationId="{9197490C-72EA-94C9-06C1-E9F805BB8059}"/>
          </ac:spMkLst>
        </pc:spChg>
        <pc:spChg chg="mod">
          <ac:chgData name="丁野 光理" userId="53361c9a-10d0-4268-b39c-a1f4044b33f4" providerId="ADAL" clId="{5FE0A016-0A93-4063-8F08-CD48630E8DBB}" dt="2025-02-07T10:53:21.581" v="22948" actId="207"/>
          <ac:spMkLst>
            <pc:docMk/>
            <pc:sldMk cId="2807815468" sldId="2147378693"/>
            <ac:spMk id="85" creationId="{6A3CA049-1026-4F94-4A3D-446552F57538}"/>
          </ac:spMkLst>
        </pc:spChg>
        <pc:spChg chg="mod">
          <ac:chgData name="丁野 光理" userId="53361c9a-10d0-4268-b39c-a1f4044b33f4" providerId="ADAL" clId="{5FE0A016-0A93-4063-8F08-CD48630E8DBB}" dt="2025-02-07T10:53:19.139" v="22947" actId="207"/>
          <ac:spMkLst>
            <pc:docMk/>
            <pc:sldMk cId="2807815468" sldId="2147378693"/>
            <ac:spMk id="87" creationId="{1E702FFE-EC5B-59C1-0867-10C3A49EC422}"/>
          </ac:spMkLst>
        </pc:spChg>
        <pc:spChg chg="mod">
          <ac:chgData name="丁野 光理" userId="53361c9a-10d0-4268-b39c-a1f4044b33f4" providerId="ADAL" clId="{5FE0A016-0A93-4063-8F08-CD48630E8DBB}" dt="2025-02-07T10:53:19.139" v="22947" actId="207"/>
          <ac:spMkLst>
            <pc:docMk/>
            <pc:sldMk cId="2807815468" sldId="2147378693"/>
            <ac:spMk id="89" creationId="{0E60EBF1-9844-4160-B79F-D64343B948C5}"/>
          </ac:spMkLst>
        </pc:spChg>
        <pc:spChg chg="mod">
          <ac:chgData name="丁野 光理" userId="53361c9a-10d0-4268-b39c-a1f4044b33f4" providerId="ADAL" clId="{5FE0A016-0A93-4063-8F08-CD48630E8DBB}" dt="2025-02-07T10:53:19.139" v="22947" actId="207"/>
          <ac:spMkLst>
            <pc:docMk/>
            <pc:sldMk cId="2807815468" sldId="2147378693"/>
            <ac:spMk id="91" creationId="{4188C613-274B-CF4D-1B81-721EC623362D}"/>
          </ac:spMkLst>
        </pc:spChg>
        <pc:spChg chg="mod">
          <ac:chgData name="丁野 光理" userId="53361c9a-10d0-4268-b39c-a1f4044b33f4" providerId="ADAL" clId="{5FE0A016-0A93-4063-8F08-CD48630E8DBB}" dt="2025-02-07T10:53:19.139" v="22947" actId="207"/>
          <ac:spMkLst>
            <pc:docMk/>
            <pc:sldMk cId="2807815468" sldId="2147378693"/>
            <ac:spMk id="94" creationId="{4AA2B181-3ED9-1C50-DDE8-63B29F94C261}"/>
          </ac:spMkLst>
        </pc:spChg>
        <pc:spChg chg="mod">
          <ac:chgData name="丁野 光理" userId="53361c9a-10d0-4268-b39c-a1f4044b33f4" providerId="ADAL" clId="{5FE0A016-0A93-4063-8F08-CD48630E8DBB}" dt="2025-02-07T12:37:10.127" v="26258" actId="1076"/>
          <ac:spMkLst>
            <pc:docMk/>
            <pc:sldMk cId="2807815468" sldId="2147378693"/>
            <ac:spMk id="101" creationId="{E1C966D4-D0DE-6EFA-035B-F40658EB06CF}"/>
          </ac:spMkLst>
        </pc:spChg>
        <pc:grpChg chg="mod">
          <ac:chgData name="丁野 光理" userId="53361c9a-10d0-4268-b39c-a1f4044b33f4" providerId="ADAL" clId="{5FE0A016-0A93-4063-8F08-CD48630E8DBB}" dt="2025-02-07T12:36:44.934" v="26252" actId="1076"/>
          <ac:grpSpMkLst>
            <pc:docMk/>
            <pc:sldMk cId="2807815468" sldId="2147378693"/>
            <ac:grpSpMk id="68" creationId="{EC9AA473-ED0E-44FE-78A7-001C26A58BF8}"/>
          </ac:grpSpMkLst>
        </pc:grpChg>
        <pc:cxnChg chg="mod">
          <ac:chgData name="丁野 光理" userId="53361c9a-10d0-4268-b39c-a1f4044b33f4" providerId="ADAL" clId="{5FE0A016-0A93-4063-8F08-CD48630E8DBB}" dt="2025-02-07T12:36:20.612" v="26245" actId="1076"/>
          <ac:cxnSpMkLst>
            <pc:docMk/>
            <pc:sldMk cId="2807815468" sldId="2147378693"/>
            <ac:cxnSpMk id="23" creationId="{90614D4C-6FFB-7009-BDCA-A3CC64705602}"/>
          </ac:cxnSpMkLst>
        </pc:cxnChg>
        <pc:cxnChg chg="mod">
          <ac:chgData name="丁野 光理" userId="53361c9a-10d0-4268-b39c-a1f4044b33f4" providerId="ADAL" clId="{5FE0A016-0A93-4063-8F08-CD48630E8DBB}" dt="2025-02-07T12:36:25.323" v="26246" actId="1076"/>
          <ac:cxnSpMkLst>
            <pc:docMk/>
            <pc:sldMk cId="2807815468" sldId="2147378693"/>
            <ac:cxnSpMk id="24" creationId="{1E32557E-13C3-FCE9-37B7-ED182EA3FD19}"/>
          </ac:cxnSpMkLst>
        </pc:cxnChg>
        <pc:cxnChg chg="mod">
          <ac:chgData name="丁野 光理" userId="53361c9a-10d0-4268-b39c-a1f4044b33f4" providerId="ADAL" clId="{5FE0A016-0A93-4063-8F08-CD48630E8DBB}" dt="2025-02-07T12:36:28.178" v="26247" actId="1076"/>
          <ac:cxnSpMkLst>
            <pc:docMk/>
            <pc:sldMk cId="2807815468" sldId="2147378693"/>
            <ac:cxnSpMk id="25" creationId="{33D365C3-7B6C-C540-3B17-4657D3E45C3A}"/>
          </ac:cxnSpMkLst>
        </pc:cxnChg>
        <pc:cxnChg chg="mod">
          <ac:chgData name="丁野 光理" userId="53361c9a-10d0-4268-b39c-a1f4044b33f4" providerId="ADAL" clId="{5FE0A016-0A93-4063-8F08-CD48630E8DBB}" dt="2025-02-07T12:36:37.363" v="26249" actId="1076"/>
          <ac:cxnSpMkLst>
            <pc:docMk/>
            <pc:sldMk cId="2807815468" sldId="2147378693"/>
            <ac:cxnSpMk id="77" creationId="{AA056350-8AC9-2713-7475-13ABC01B4F40}"/>
          </ac:cxnSpMkLst>
        </pc:cxnChg>
        <pc:cxnChg chg="mod">
          <ac:chgData name="丁野 光理" userId="53361c9a-10d0-4268-b39c-a1f4044b33f4" providerId="ADAL" clId="{5FE0A016-0A93-4063-8F08-CD48630E8DBB}" dt="2025-02-07T12:36:41.323" v="26250" actId="1076"/>
          <ac:cxnSpMkLst>
            <pc:docMk/>
            <pc:sldMk cId="2807815468" sldId="2147378693"/>
            <ac:cxnSpMk id="78" creationId="{A7255239-15B9-7B60-9EC2-7D4BB58554F7}"/>
          </ac:cxnSpMkLst>
        </pc:cxnChg>
        <pc:cxnChg chg="mod">
          <ac:chgData name="丁野 光理" userId="53361c9a-10d0-4268-b39c-a1f4044b33f4" providerId="ADAL" clId="{5FE0A016-0A93-4063-8F08-CD48630E8DBB}" dt="2025-02-07T12:36:51.262" v="26253" actId="1076"/>
          <ac:cxnSpMkLst>
            <pc:docMk/>
            <pc:sldMk cId="2807815468" sldId="2147378693"/>
            <ac:cxnSpMk id="79" creationId="{EE91379F-71AC-4602-1EC0-EF8B33894B55}"/>
          </ac:cxnSpMkLst>
        </pc:cxnChg>
        <pc:cxnChg chg="mod">
          <ac:chgData name="丁野 光理" userId="53361c9a-10d0-4268-b39c-a1f4044b33f4" providerId="ADAL" clId="{5FE0A016-0A93-4063-8F08-CD48630E8DBB}" dt="2025-02-07T12:36:55.985" v="26254" actId="1076"/>
          <ac:cxnSpMkLst>
            <pc:docMk/>
            <pc:sldMk cId="2807815468" sldId="2147378693"/>
            <ac:cxnSpMk id="95" creationId="{37BBD476-5CFC-0C07-085C-79CB28D8A685}"/>
          </ac:cxnSpMkLst>
        </pc:cxnChg>
        <pc:cxnChg chg="mod">
          <ac:chgData name="丁野 光理" userId="53361c9a-10d0-4268-b39c-a1f4044b33f4" providerId="ADAL" clId="{5FE0A016-0A93-4063-8F08-CD48630E8DBB}" dt="2025-02-07T12:37:00.899" v="26255" actId="1076"/>
          <ac:cxnSpMkLst>
            <pc:docMk/>
            <pc:sldMk cId="2807815468" sldId="2147378693"/>
            <ac:cxnSpMk id="96" creationId="{5B8E2E58-6B75-5B68-38A9-844858570D7C}"/>
          </ac:cxnSpMkLst>
        </pc:cxnChg>
        <pc:extLst>
          <p:ext xmlns:p="http://schemas.openxmlformats.org/presentationml/2006/main" uri="{D6D511B9-2390-475A-947B-AFAB55BFBCF1}">
            <pc226:cmChg xmlns:pc226="http://schemas.microsoft.com/office/powerpoint/2022/06/main/command" chg="add del mod">
              <pc226:chgData name="丁野 光理" userId="53361c9a-10d0-4268-b39c-a1f4044b33f4" providerId="ADAL" clId="{5FE0A016-0A93-4063-8F08-CD48630E8DBB}" dt="2025-02-07T10:53:28.299" v="22951"/>
              <pc2:cmMkLst xmlns:pc2="http://schemas.microsoft.com/office/powerpoint/2019/9/main/command">
                <pc:docMk/>
                <pc:sldMk cId="2807815468" sldId="2147378693"/>
                <pc2:cmMk id="{6F6C854D-1C12-4AC2-8462-D639E852602F}"/>
              </pc2:cmMkLst>
            </pc226:cmChg>
          </p:ext>
        </pc:extLst>
      </pc:sldChg>
      <pc:sldChg chg="addSp delSp modSp mod ord">
        <pc:chgData name="丁野 光理" userId="53361c9a-10d0-4268-b39c-a1f4044b33f4" providerId="ADAL" clId="{5FE0A016-0A93-4063-8F08-CD48630E8DBB}" dt="2025-02-07T11:29:38.623" v="24617" actId="20577"/>
        <pc:sldMkLst>
          <pc:docMk/>
          <pc:sldMk cId="1631142101" sldId="2147378694"/>
        </pc:sldMkLst>
        <pc:spChg chg="mod">
          <ac:chgData name="丁野 光理" userId="53361c9a-10d0-4268-b39c-a1f4044b33f4" providerId="ADAL" clId="{5FE0A016-0A93-4063-8F08-CD48630E8DBB}" dt="2025-02-06T15:12:35.805" v="7937"/>
          <ac:spMkLst>
            <pc:docMk/>
            <pc:sldMk cId="1631142101" sldId="2147378694"/>
            <ac:spMk id="3" creationId="{70780FBB-7DBC-40F0-B7E0-775409B1875A}"/>
          </ac:spMkLst>
        </pc:spChg>
        <pc:spChg chg="add mod">
          <ac:chgData name="丁野 光理" userId="53361c9a-10d0-4268-b39c-a1f4044b33f4" providerId="ADAL" clId="{5FE0A016-0A93-4063-8F08-CD48630E8DBB}" dt="2025-02-06T15:11:50.970" v="7902"/>
          <ac:spMkLst>
            <pc:docMk/>
            <pc:sldMk cId="1631142101" sldId="2147378694"/>
            <ac:spMk id="4" creationId="{09E2DAED-892F-EDC5-EDA1-39E5F22DCA70}"/>
          </ac:spMkLst>
        </pc:spChg>
        <pc:spChg chg="del">
          <ac:chgData name="丁野 光理" userId="53361c9a-10d0-4268-b39c-a1f4044b33f4" providerId="ADAL" clId="{5FE0A016-0A93-4063-8F08-CD48630E8DBB}" dt="2025-01-29T13:06:22.797" v="123" actId="478"/>
          <ac:spMkLst>
            <pc:docMk/>
            <pc:sldMk cId="1631142101" sldId="2147378694"/>
            <ac:spMk id="6" creationId="{7CABF31E-164B-05A5-D57B-0E33F4E31404}"/>
          </ac:spMkLst>
        </pc:spChg>
        <pc:spChg chg="mod">
          <ac:chgData name="丁野 光理" userId="53361c9a-10d0-4268-b39c-a1f4044b33f4" providerId="ADAL" clId="{5FE0A016-0A93-4063-8F08-CD48630E8DBB}" dt="2025-02-07T11:29:38.623" v="24617" actId="20577"/>
          <ac:spMkLst>
            <pc:docMk/>
            <pc:sldMk cId="1631142101" sldId="2147378694"/>
            <ac:spMk id="9" creationId="{D22A0A06-D5A8-4A1A-B66F-2A8EDBD644F1}"/>
          </ac:spMkLst>
        </pc:spChg>
        <pc:picChg chg="add mod">
          <ac:chgData name="丁野 光理" userId="53361c9a-10d0-4268-b39c-a1f4044b33f4" providerId="ADAL" clId="{5FE0A016-0A93-4063-8F08-CD48630E8DBB}" dt="2025-01-29T13:06:48.168" v="125"/>
          <ac:picMkLst>
            <pc:docMk/>
            <pc:sldMk cId="1631142101" sldId="2147378694"/>
            <ac:picMk id="2" creationId="{C73CE7FB-87DE-3BC3-10E0-D337B38D128B}"/>
          </ac:picMkLst>
        </pc:picChg>
        <pc:picChg chg="del">
          <ac:chgData name="丁野 光理" userId="53361c9a-10d0-4268-b39c-a1f4044b33f4" providerId="ADAL" clId="{5FE0A016-0A93-4063-8F08-CD48630E8DBB}" dt="2025-01-29T13:06:47.943" v="124" actId="478"/>
          <ac:picMkLst>
            <pc:docMk/>
            <pc:sldMk cId="1631142101" sldId="2147378694"/>
            <ac:picMk id="4" creationId="{FC4B38B3-AC09-CD90-16CB-03477FA3C09E}"/>
          </ac:picMkLst>
        </pc:picChg>
      </pc:sldChg>
      <pc:sldChg chg="addSp delSp modSp del mod ord">
        <pc:chgData name="丁野 光理" userId="53361c9a-10d0-4268-b39c-a1f4044b33f4" providerId="ADAL" clId="{5FE0A016-0A93-4063-8F08-CD48630E8DBB}" dt="2025-02-06T15:23:20.739" v="8066" actId="47"/>
        <pc:sldMkLst>
          <pc:docMk/>
          <pc:sldMk cId="3347821416" sldId="2147378698"/>
        </pc:sldMkLst>
        <pc:spChg chg="add mod">
          <ac:chgData name="丁野 光理" userId="53361c9a-10d0-4268-b39c-a1f4044b33f4" providerId="ADAL" clId="{5FE0A016-0A93-4063-8F08-CD48630E8DBB}" dt="2025-01-31T12:40:34.376" v="531"/>
          <ac:spMkLst>
            <pc:docMk/>
            <pc:sldMk cId="3347821416" sldId="2147378698"/>
            <ac:spMk id="3" creationId="{23107F22-3699-2626-6271-5D1E8D182DFD}"/>
          </ac:spMkLst>
        </pc:spChg>
        <pc:spChg chg="del">
          <ac:chgData name="丁野 光理" userId="53361c9a-10d0-4268-b39c-a1f4044b33f4" providerId="ADAL" clId="{5FE0A016-0A93-4063-8F08-CD48630E8DBB}" dt="2025-01-29T13:06:16.973" v="122" actId="478"/>
          <ac:spMkLst>
            <pc:docMk/>
            <pc:sldMk cId="3347821416" sldId="2147378698"/>
            <ac:spMk id="4" creationId="{9986CF63-9F4F-EEC8-16B1-03EAAE162369}"/>
          </ac:spMkLst>
        </pc:spChg>
      </pc:sldChg>
      <pc:sldChg chg="delSp modSp del mod">
        <pc:chgData name="丁野 光理" userId="53361c9a-10d0-4268-b39c-a1f4044b33f4" providerId="ADAL" clId="{5FE0A016-0A93-4063-8F08-CD48630E8DBB}" dt="2025-02-06T15:25:21.012" v="8078" actId="47"/>
        <pc:sldMkLst>
          <pc:docMk/>
          <pc:sldMk cId="190838501" sldId="2147378699"/>
        </pc:sldMkLst>
        <pc:spChg chg="del">
          <ac:chgData name="丁野 光理" userId="53361c9a-10d0-4268-b39c-a1f4044b33f4" providerId="ADAL" clId="{5FE0A016-0A93-4063-8F08-CD48630E8DBB}" dt="2025-01-29T13:05:48.768" v="30" actId="478"/>
          <ac:spMkLst>
            <pc:docMk/>
            <pc:sldMk cId="190838501" sldId="2147378699"/>
            <ac:spMk id="3" creationId="{C3720E54-FD1F-DDED-C885-DFDBDFBC33BD}"/>
          </ac:spMkLst>
        </pc:spChg>
        <pc:graphicFrameChg chg="mod modGraphic">
          <ac:chgData name="丁野 光理" userId="53361c9a-10d0-4268-b39c-a1f4044b33f4" providerId="ADAL" clId="{5FE0A016-0A93-4063-8F08-CD48630E8DBB}" dt="2025-01-29T13:06:06.763" v="118"/>
          <ac:graphicFrameMkLst>
            <pc:docMk/>
            <pc:sldMk cId="190838501" sldId="2147378699"/>
            <ac:graphicFrameMk id="2" creationId="{5E62C5DD-8E38-39C6-A171-A79017DD18C4}"/>
          </ac:graphicFrameMkLst>
        </pc:graphicFrameChg>
      </pc:sldChg>
      <pc:sldChg chg="delSp modSp del mod">
        <pc:chgData name="丁野 光理" userId="53361c9a-10d0-4268-b39c-a1f4044b33f4" providerId="ADAL" clId="{5FE0A016-0A93-4063-8F08-CD48630E8DBB}" dt="2025-02-06T15:25:23.162" v="8079" actId="47"/>
        <pc:sldMkLst>
          <pc:docMk/>
          <pc:sldMk cId="959679513" sldId="2147378701"/>
        </pc:sldMkLst>
        <pc:spChg chg="del">
          <ac:chgData name="丁野 光理" userId="53361c9a-10d0-4268-b39c-a1f4044b33f4" providerId="ADAL" clId="{5FE0A016-0A93-4063-8F08-CD48630E8DBB}" dt="2025-01-29T13:05:44.123" v="29" actId="478"/>
          <ac:spMkLst>
            <pc:docMk/>
            <pc:sldMk cId="959679513" sldId="2147378701"/>
            <ac:spMk id="4" creationId="{C0D0AFEB-3FED-E797-776D-18785F5B85FD}"/>
          </ac:spMkLst>
        </pc:spChg>
        <pc:graphicFrameChg chg="modGraphic">
          <ac:chgData name="丁野 光理" userId="53361c9a-10d0-4268-b39c-a1f4044b33f4" providerId="ADAL" clId="{5FE0A016-0A93-4063-8F08-CD48630E8DBB}" dt="2025-01-31T12:51:11.746" v="648" actId="6549"/>
          <ac:graphicFrameMkLst>
            <pc:docMk/>
            <pc:sldMk cId="959679513" sldId="2147378701"/>
            <ac:graphicFrameMk id="3" creationId="{1E352AD7-4D05-33EE-61E0-3F07FA0F915F}"/>
          </ac:graphicFrameMkLst>
        </pc:graphicFrameChg>
      </pc:sldChg>
      <pc:sldChg chg="delSp del mod addCm">
        <pc:chgData name="丁野 光理" userId="53361c9a-10d0-4268-b39c-a1f4044b33f4" providerId="ADAL" clId="{5FE0A016-0A93-4063-8F08-CD48630E8DBB}" dt="2025-02-06T15:25:24.024" v="8080" actId="47"/>
        <pc:sldMkLst>
          <pc:docMk/>
          <pc:sldMk cId="444370572" sldId="2147378702"/>
        </pc:sldMkLst>
        <pc:spChg chg="del">
          <ac:chgData name="丁野 光理" userId="53361c9a-10d0-4268-b39c-a1f4044b33f4" providerId="ADAL" clId="{5FE0A016-0A93-4063-8F08-CD48630E8DBB}" dt="2025-01-29T13:05:41.363" v="28" actId="478"/>
          <ac:spMkLst>
            <pc:docMk/>
            <pc:sldMk cId="444370572" sldId="2147378702"/>
            <ac:spMk id="3" creationId="{85ECF3D7-D949-2422-CEE1-82F658C4178F}"/>
          </ac:spMkLst>
        </pc:spChg>
        <pc:extLst>
          <p:ext xmlns:p="http://schemas.openxmlformats.org/presentationml/2006/main" uri="{D6D511B9-2390-475A-947B-AFAB55BFBCF1}">
            <pc226:cmChg xmlns:pc226="http://schemas.microsoft.com/office/powerpoint/2022/06/main/command" chg="add">
              <pc226:chgData name="丁野 光理" userId="53361c9a-10d0-4268-b39c-a1f4044b33f4" providerId="ADAL" clId="{5FE0A016-0A93-4063-8F08-CD48630E8DBB}" dt="2025-02-06T06:27:28.485" v="1110"/>
              <pc2:cmMkLst xmlns:pc2="http://schemas.microsoft.com/office/powerpoint/2019/9/main/command">
                <pc:docMk/>
                <pc:sldMk cId="444370572" sldId="2147378702"/>
                <pc2:cmMk id="{865B2BDF-1A2C-418D-B0BF-378B4327AF7B}"/>
              </pc2:cmMkLst>
            </pc226:cmChg>
          </p:ext>
        </pc:extLst>
      </pc:sldChg>
      <pc:sldChg chg="addSp delSp modSp mod ord">
        <pc:chgData name="丁野 光理" userId="53361c9a-10d0-4268-b39c-a1f4044b33f4" providerId="ADAL" clId="{5FE0A016-0A93-4063-8F08-CD48630E8DBB}" dt="2025-02-07T11:27:18.648" v="24592" actId="20577"/>
        <pc:sldMkLst>
          <pc:docMk/>
          <pc:sldMk cId="112285639" sldId="2147378703"/>
        </pc:sldMkLst>
        <pc:spChg chg="mod">
          <ac:chgData name="丁野 光理" userId="53361c9a-10d0-4268-b39c-a1f4044b33f4" providerId="ADAL" clId="{5FE0A016-0A93-4063-8F08-CD48630E8DBB}" dt="2025-02-06T16:02:54.325" v="10754"/>
          <ac:spMkLst>
            <pc:docMk/>
            <pc:sldMk cId="112285639" sldId="2147378703"/>
            <ac:spMk id="3" creationId="{417A18CA-0059-03EF-FE57-D2DBA870D210}"/>
          </ac:spMkLst>
        </pc:spChg>
        <pc:spChg chg="mod">
          <ac:chgData name="丁野 光理" userId="53361c9a-10d0-4268-b39c-a1f4044b33f4" providerId="ADAL" clId="{5FE0A016-0A93-4063-8F08-CD48630E8DBB}" dt="2025-02-07T11:27:18.648" v="24592" actId="20577"/>
          <ac:spMkLst>
            <pc:docMk/>
            <pc:sldMk cId="112285639" sldId="2147378703"/>
            <ac:spMk id="4" creationId="{4F1B8C31-A2AA-E8B5-6842-B8CA68666E37}"/>
          </ac:spMkLst>
        </pc:spChg>
        <pc:spChg chg="add mod">
          <ac:chgData name="丁野 光理" userId="53361c9a-10d0-4268-b39c-a1f4044b33f4" providerId="ADAL" clId="{5FE0A016-0A93-4063-8F08-CD48630E8DBB}" dt="2025-01-31T12:40:22.838" v="528"/>
          <ac:spMkLst>
            <pc:docMk/>
            <pc:sldMk cId="112285639" sldId="2147378703"/>
            <ac:spMk id="5" creationId="{07FDD3E2-893C-7C7D-69AA-ED74F7AC6940}"/>
          </ac:spMkLst>
        </pc:spChg>
        <pc:spChg chg="del">
          <ac:chgData name="丁野 光理" userId="53361c9a-10d0-4268-b39c-a1f4044b33f4" providerId="ADAL" clId="{5FE0A016-0A93-4063-8F08-CD48630E8DBB}" dt="2025-01-29T13:05:35.329" v="26" actId="478"/>
          <ac:spMkLst>
            <pc:docMk/>
            <pc:sldMk cId="112285639" sldId="2147378703"/>
            <ac:spMk id="13" creationId="{ED88E5C2-1CEC-3507-1A41-A32A9F740D09}"/>
          </ac:spMkLst>
        </pc:spChg>
        <pc:picChg chg="mod">
          <ac:chgData name="丁野 光理" userId="53361c9a-10d0-4268-b39c-a1f4044b33f4" providerId="ADAL" clId="{5FE0A016-0A93-4063-8F08-CD48630E8DBB}" dt="2025-01-31T12:40:15.467" v="511" actId="1076"/>
          <ac:picMkLst>
            <pc:docMk/>
            <pc:sldMk cId="112285639" sldId="2147378703"/>
            <ac:picMk id="12" creationId="{920D49B5-780A-0B0E-081E-8188B35BACC6}"/>
          </ac:picMkLst>
        </pc:picChg>
      </pc:sldChg>
      <pc:sldChg chg="delSp modSp mod">
        <pc:chgData name="丁野 光理" userId="53361c9a-10d0-4268-b39c-a1f4044b33f4" providerId="ADAL" clId="{5FE0A016-0A93-4063-8F08-CD48630E8DBB}" dt="2025-02-06T13:17:34.949" v="2559"/>
        <pc:sldMkLst>
          <pc:docMk/>
          <pc:sldMk cId="936371591" sldId="2147378704"/>
        </pc:sldMkLst>
        <pc:spChg chg="mod">
          <ac:chgData name="丁野 光理" userId="53361c9a-10d0-4268-b39c-a1f4044b33f4" providerId="ADAL" clId="{5FE0A016-0A93-4063-8F08-CD48630E8DBB}" dt="2025-02-06T13:17:34.949" v="2559"/>
          <ac:spMkLst>
            <pc:docMk/>
            <pc:sldMk cId="936371591" sldId="2147378704"/>
            <ac:spMk id="3" creationId="{3889FB1B-DE63-B6FC-8D02-5D400D923577}"/>
          </ac:spMkLst>
        </pc:spChg>
        <pc:spChg chg="del">
          <ac:chgData name="丁野 光理" userId="53361c9a-10d0-4268-b39c-a1f4044b33f4" providerId="ADAL" clId="{5FE0A016-0A93-4063-8F08-CD48630E8DBB}" dt="2025-01-29T13:05:27.251" v="24" actId="478"/>
          <ac:spMkLst>
            <pc:docMk/>
            <pc:sldMk cId="936371591" sldId="2147378704"/>
            <ac:spMk id="7" creationId="{91D9460F-1390-32F5-1B0E-70693C6D1EFA}"/>
          </ac:spMkLst>
        </pc:spChg>
      </pc:sldChg>
      <pc:sldChg chg="addSp delSp modSp mod">
        <pc:chgData name="丁野 光理" userId="53361c9a-10d0-4268-b39c-a1f4044b33f4" providerId="ADAL" clId="{5FE0A016-0A93-4063-8F08-CD48630E8DBB}" dt="2025-02-07T11:31:18.775" v="24680" actId="20577"/>
        <pc:sldMkLst>
          <pc:docMk/>
          <pc:sldMk cId="439687747" sldId="2147378705"/>
        </pc:sldMkLst>
        <pc:spChg chg="mod">
          <ac:chgData name="丁野 光理" userId="53361c9a-10d0-4268-b39c-a1f4044b33f4" providerId="ADAL" clId="{5FE0A016-0A93-4063-8F08-CD48630E8DBB}" dt="2025-02-06T13:17:42.440" v="2561"/>
          <ac:spMkLst>
            <pc:docMk/>
            <pc:sldMk cId="439687747" sldId="2147378705"/>
            <ac:spMk id="3" creationId="{3889FB1B-DE63-B6FC-8D02-5D400D923577}"/>
          </ac:spMkLst>
        </pc:spChg>
        <pc:spChg chg="mod">
          <ac:chgData name="丁野 光理" userId="53361c9a-10d0-4268-b39c-a1f4044b33f4" providerId="ADAL" clId="{5FE0A016-0A93-4063-8F08-CD48630E8DBB}" dt="2025-02-07T11:31:18.775" v="24680" actId="20577"/>
          <ac:spMkLst>
            <pc:docMk/>
            <pc:sldMk cId="439687747" sldId="2147378705"/>
            <ac:spMk id="4" creationId="{12C53150-040F-52DA-C62A-71223FB5EBC3}"/>
          </ac:spMkLst>
        </pc:spChg>
        <pc:spChg chg="add mod">
          <ac:chgData name="丁野 光理" userId="53361c9a-10d0-4268-b39c-a1f4044b33f4" providerId="ADAL" clId="{5FE0A016-0A93-4063-8F08-CD48630E8DBB}" dt="2025-02-06T08:12:33.902" v="1154"/>
          <ac:spMkLst>
            <pc:docMk/>
            <pc:sldMk cId="439687747" sldId="2147378705"/>
            <ac:spMk id="6" creationId="{05C1BC80-6DE9-57F3-13C1-E4ECE8B12C3B}"/>
          </ac:spMkLst>
        </pc:spChg>
        <pc:spChg chg="del">
          <ac:chgData name="丁野 光理" userId="53361c9a-10d0-4268-b39c-a1f4044b33f4" providerId="ADAL" clId="{5FE0A016-0A93-4063-8F08-CD48630E8DBB}" dt="2025-02-06T08:12:45.880" v="1155" actId="478"/>
          <ac:spMkLst>
            <pc:docMk/>
            <pc:sldMk cId="439687747" sldId="2147378705"/>
            <ac:spMk id="8" creationId="{38333055-868E-3B45-D1A3-9ED0F6B26E6C}"/>
          </ac:spMkLst>
        </pc:spChg>
        <pc:spChg chg="del">
          <ac:chgData name="丁野 光理" userId="53361c9a-10d0-4268-b39c-a1f4044b33f4" providerId="ADAL" clId="{5FE0A016-0A93-4063-8F08-CD48630E8DBB}" dt="2025-02-06T08:12:46.997" v="1156" actId="478"/>
          <ac:spMkLst>
            <pc:docMk/>
            <pc:sldMk cId="439687747" sldId="2147378705"/>
            <ac:spMk id="9" creationId="{0490EF25-1B88-3765-9B91-BDB4277BA6DF}"/>
          </ac:spMkLst>
        </pc:spChg>
        <pc:spChg chg="del">
          <ac:chgData name="丁野 光理" userId="53361c9a-10d0-4268-b39c-a1f4044b33f4" providerId="ADAL" clId="{5FE0A016-0A93-4063-8F08-CD48630E8DBB}" dt="2025-01-29T13:05:21.300" v="22" actId="478"/>
          <ac:spMkLst>
            <pc:docMk/>
            <pc:sldMk cId="439687747" sldId="2147378705"/>
            <ac:spMk id="11" creationId="{1A8F0DD0-8F45-CA15-6129-E1D2CD076C53}"/>
          </ac:spMkLst>
        </pc:spChg>
        <pc:grpChg chg="del mod">
          <ac:chgData name="丁野 光理" userId="53361c9a-10d0-4268-b39c-a1f4044b33f4" providerId="ADAL" clId="{5FE0A016-0A93-4063-8F08-CD48630E8DBB}" dt="2025-02-06T08:12:45.880" v="1155" actId="478"/>
          <ac:grpSpMkLst>
            <pc:docMk/>
            <pc:sldMk cId="439687747" sldId="2147378705"/>
            <ac:grpSpMk id="7" creationId="{C704F631-0929-C676-BDD4-CB82AEA6081F}"/>
          </ac:grpSpMkLst>
        </pc:grpChg>
        <pc:graphicFrameChg chg="mod">
          <ac:chgData name="丁野 光理" userId="53361c9a-10d0-4268-b39c-a1f4044b33f4" providerId="ADAL" clId="{5FE0A016-0A93-4063-8F08-CD48630E8DBB}" dt="2025-02-06T08:13:17.832" v="1195"/>
          <ac:graphicFrameMkLst>
            <pc:docMk/>
            <pc:sldMk cId="439687747" sldId="2147378705"/>
            <ac:graphicFrameMk id="2" creationId="{D78F7A95-31FB-06D3-5B63-5BEDF8ABCBC0}"/>
          </ac:graphicFrameMkLst>
        </pc:graphicFrameChg>
        <pc:cxnChg chg="mod">
          <ac:chgData name="丁野 光理" userId="53361c9a-10d0-4268-b39c-a1f4044b33f4" providerId="ADAL" clId="{5FE0A016-0A93-4063-8F08-CD48630E8DBB}" dt="2025-02-06T08:12:57.173" v="1192" actId="1035"/>
          <ac:cxnSpMkLst>
            <pc:docMk/>
            <pc:sldMk cId="439687747" sldId="2147378705"/>
            <ac:cxnSpMk id="10" creationId="{6735B9E2-CEAA-B979-67C8-2554417B1CDE}"/>
          </ac:cxnSpMkLst>
        </pc:cxnChg>
      </pc:sldChg>
      <pc:sldChg chg="delSp modSp mod">
        <pc:chgData name="丁野 光理" userId="53361c9a-10d0-4268-b39c-a1f4044b33f4" providerId="ADAL" clId="{5FE0A016-0A93-4063-8F08-CD48630E8DBB}" dt="2025-02-06T13:17:45.045" v="2562"/>
        <pc:sldMkLst>
          <pc:docMk/>
          <pc:sldMk cId="1075793544" sldId="2147378706"/>
        </pc:sldMkLst>
        <pc:spChg chg="mod">
          <ac:chgData name="丁野 光理" userId="53361c9a-10d0-4268-b39c-a1f4044b33f4" providerId="ADAL" clId="{5FE0A016-0A93-4063-8F08-CD48630E8DBB}" dt="2025-02-06T13:17:45.045" v="2562"/>
          <ac:spMkLst>
            <pc:docMk/>
            <pc:sldMk cId="1075793544" sldId="2147378706"/>
            <ac:spMk id="3" creationId="{3889FB1B-DE63-B6FC-8D02-5D400D923577}"/>
          </ac:spMkLst>
        </pc:spChg>
        <pc:spChg chg="mod">
          <ac:chgData name="丁野 光理" userId="53361c9a-10d0-4268-b39c-a1f4044b33f4" providerId="ADAL" clId="{5FE0A016-0A93-4063-8F08-CD48630E8DBB}" dt="2025-02-06T08:13:35.273" v="1209" actId="1035"/>
          <ac:spMkLst>
            <pc:docMk/>
            <pc:sldMk cId="1075793544" sldId="2147378706"/>
            <ac:spMk id="6" creationId="{9FFD2353-EF62-BFA0-5B44-F7ABF536D584}"/>
          </ac:spMkLst>
        </pc:spChg>
        <pc:spChg chg="mod">
          <ac:chgData name="丁野 光理" userId="53361c9a-10d0-4268-b39c-a1f4044b33f4" providerId="ADAL" clId="{5FE0A016-0A93-4063-8F08-CD48630E8DBB}" dt="2025-02-06T08:13:35.273" v="1209" actId="1035"/>
          <ac:spMkLst>
            <pc:docMk/>
            <pc:sldMk cId="1075793544" sldId="2147378706"/>
            <ac:spMk id="8" creationId="{01D4BCA7-C89A-20E2-6428-C51A003E8B36}"/>
          </ac:spMkLst>
        </pc:spChg>
        <pc:spChg chg="del">
          <ac:chgData name="丁野 光理" userId="53361c9a-10d0-4268-b39c-a1f4044b33f4" providerId="ADAL" clId="{5FE0A016-0A93-4063-8F08-CD48630E8DBB}" dt="2025-02-06T08:13:30.130" v="1196" actId="478"/>
          <ac:spMkLst>
            <pc:docMk/>
            <pc:sldMk cId="1075793544" sldId="2147378706"/>
            <ac:spMk id="9" creationId="{0490EF25-1B88-3765-9B91-BDB4277BA6DF}"/>
          </ac:spMkLst>
        </pc:spChg>
        <pc:spChg chg="mod">
          <ac:chgData name="丁野 光理" userId="53361c9a-10d0-4268-b39c-a1f4044b33f4" providerId="ADAL" clId="{5FE0A016-0A93-4063-8F08-CD48630E8DBB}" dt="2025-02-06T08:13:35.273" v="1209" actId="1035"/>
          <ac:spMkLst>
            <pc:docMk/>
            <pc:sldMk cId="1075793544" sldId="2147378706"/>
            <ac:spMk id="10" creationId="{C6836692-CDAE-C475-A8B0-1602682A1D72}"/>
          </ac:spMkLst>
        </pc:spChg>
        <pc:spChg chg="mod">
          <ac:chgData name="丁野 光理" userId="53361c9a-10d0-4268-b39c-a1f4044b33f4" providerId="ADAL" clId="{5FE0A016-0A93-4063-8F08-CD48630E8DBB}" dt="2025-02-06T08:13:35.273" v="1209" actId="1035"/>
          <ac:spMkLst>
            <pc:docMk/>
            <pc:sldMk cId="1075793544" sldId="2147378706"/>
            <ac:spMk id="11" creationId="{F671E48A-0AEB-34DC-C9B0-947ACB9BE53F}"/>
          </ac:spMkLst>
        </pc:spChg>
        <pc:spChg chg="mod">
          <ac:chgData name="丁野 光理" userId="53361c9a-10d0-4268-b39c-a1f4044b33f4" providerId="ADAL" clId="{5FE0A016-0A93-4063-8F08-CD48630E8DBB}" dt="2025-02-06T08:13:35.273" v="1209" actId="1035"/>
          <ac:spMkLst>
            <pc:docMk/>
            <pc:sldMk cId="1075793544" sldId="2147378706"/>
            <ac:spMk id="12" creationId="{F1215F89-A0A0-AB28-F8E7-84581D64B7EE}"/>
          </ac:spMkLst>
        </pc:spChg>
        <pc:spChg chg="mod">
          <ac:chgData name="丁野 光理" userId="53361c9a-10d0-4268-b39c-a1f4044b33f4" providerId="ADAL" clId="{5FE0A016-0A93-4063-8F08-CD48630E8DBB}" dt="2025-02-06T08:13:35.273" v="1209" actId="1035"/>
          <ac:spMkLst>
            <pc:docMk/>
            <pc:sldMk cId="1075793544" sldId="2147378706"/>
            <ac:spMk id="13" creationId="{DD2FC9B4-133C-45AC-F63A-4DA5444194C1}"/>
          </ac:spMkLst>
        </pc:spChg>
        <pc:spChg chg="mod">
          <ac:chgData name="丁野 光理" userId="53361c9a-10d0-4268-b39c-a1f4044b33f4" providerId="ADAL" clId="{5FE0A016-0A93-4063-8F08-CD48630E8DBB}" dt="2025-02-06T08:13:35.273" v="1209" actId="1035"/>
          <ac:spMkLst>
            <pc:docMk/>
            <pc:sldMk cId="1075793544" sldId="2147378706"/>
            <ac:spMk id="14" creationId="{85688145-F176-E15B-9ADA-FF1D4E4EAD73}"/>
          </ac:spMkLst>
        </pc:spChg>
        <pc:spChg chg="mod">
          <ac:chgData name="丁野 光理" userId="53361c9a-10d0-4268-b39c-a1f4044b33f4" providerId="ADAL" clId="{5FE0A016-0A93-4063-8F08-CD48630E8DBB}" dt="2025-02-06T08:13:35.273" v="1209" actId="1035"/>
          <ac:spMkLst>
            <pc:docMk/>
            <pc:sldMk cId="1075793544" sldId="2147378706"/>
            <ac:spMk id="15" creationId="{9CA01B65-AA7F-E153-53A0-22F4C72906C9}"/>
          </ac:spMkLst>
        </pc:spChg>
        <pc:spChg chg="mod">
          <ac:chgData name="丁野 光理" userId="53361c9a-10d0-4268-b39c-a1f4044b33f4" providerId="ADAL" clId="{5FE0A016-0A93-4063-8F08-CD48630E8DBB}" dt="2025-02-06T08:13:35.273" v="1209" actId="1035"/>
          <ac:spMkLst>
            <pc:docMk/>
            <pc:sldMk cId="1075793544" sldId="2147378706"/>
            <ac:spMk id="16" creationId="{4ED0277C-A056-D022-829C-561BA5F238E4}"/>
          </ac:spMkLst>
        </pc:spChg>
        <pc:spChg chg="mod">
          <ac:chgData name="丁野 光理" userId="53361c9a-10d0-4268-b39c-a1f4044b33f4" providerId="ADAL" clId="{5FE0A016-0A93-4063-8F08-CD48630E8DBB}" dt="2025-02-06T08:13:35.273" v="1209" actId="1035"/>
          <ac:spMkLst>
            <pc:docMk/>
            <pc:sldMk cId="1075793544" sldId="2147378706"/>
            <ac:spMk id="20" creationId="{E8836C59-B8B6-C85D-E010-EBC8663348AC}"/>
          </ac:spMkLst>
        </pc:spChg>
        <pc:spChg chg="mod">
          <ac:chgData name="丁野 光理" userId="53361c9a-10d0-4268-b39c-a1f4044b33f4" providerId="ADAL" clId="{5FE0A016-0A93-4063-8F08-CD48630E8DBB}" dt="2025-02-06T08:13:35.273" v="1209" actId="1035"/>
          <ac:spMkLst>
            <pc:docMk/>
            <pc:sldMk cId="1075793544" sldId="2147378706"/>
            <ac:spMk id="21" creationId="{8B2388F4-8880-EE2F-03BB-997FC1E6C222}"/>
          </ac:spMkLst>
        </pc:spChg>
        <pc:spChg chg="mod">
          <ac:chgData name="丁野 光理" userId="53361c9a-10d0-4268-b39c-a1f4044b33f4" providerId="ADAL" clId="{5FE0A016-0A93-4063-8F08-CD48630E8DBB}" dt="2025-02-06T08:13:35.273" v="1209" actId="1035"/>
          <ac:spMkLst>
            <pc:docMk/>
            <pc:sldMk cId="1075793544" sldId="2147378706"/>
            <ac:spMk id="22" creationId="{9D9B6B73-E941-4FB2-6F67-6D2282E2F654}"/>
          </ac:spMkLst>
        </pc:spChg>
        <pc:spChg chg="mod">
          <ac:chgData name="丁野 光理" userId="53361c9a-10d0-4268-b39c-a1f4044b33f4" providerId="ADAL" clId="{5FE0A016-0A93-4063-8F08-CD48630E8DBB}" dt="2025-02-06T08:13:35.273" v="1209" actId="1035"/>
          <ac:spMkLst>
            <pc:docMk/>
            <pc:sldMk cId="1075793544" sldId="2147378706"/>
            <ac:spMk id="23" creationId="{40803D02-B102-890E-D54A-16FBEA6E318B}"/>
          </ac:spMkLst>
        </pc:spChg>
        <pc:spChg chg="mod">
          <ac:chgData name="丁野 光理" userId="53361c9a-10d0-4268-b39c-a1f4044b33f4" providerId="ADAL" clId="{5FE0A016-0A93-4063-8F08-CD48630E8DBB}" dt="2025-02-06T08:13:35.273" v="1209" actId="1035"/>
          <ac:spMkLst>
            <pc:docMk/>
            <pc:sldMk cId="1075793544" sldId="2147378706"/>
            <ac:spMk id="24" creationId="{282F57DD-EF41-A330-6783-2B46B29B454B}"/>
          </ac:spMkLst>
        </pc:spChg>
        <pc:spChg chg="mod">
          <ac:chgData name="丁野 光理" userId="53361c9a-10d0-4268-b39c-a1f4044b33f4" providerId="ADAL" clId="{5FE0A016-0A93-4063-8F08-CD48630E8DBB}" dt="2025-02-06T08:13:35.273" v="1209" actId="1035"/>
          <ac:spMkLst>
            <pc:docMk/>
            <pc:sldMk cId="1075793544" sldId="2147378706"/>
            <ac:spMk id="25" creationId="{E4B5370A-7499-03A1-CF77-0E693D5DDE7E}"/>
          </ac:spMkLst>
        </pc:spChg>
        <pc:spChg chg="mod">
          <ac:chgData name="丁野 光理" userId="53361c9a-10d0-4268-b39c-a1f4044b33f4" providerId="ADAL" clId="{5FE0A016-0A93-4063-8F08-CD48630E8DBB}" dt="2025-02-06T08:13:35.273" v="1209" actId="1035"/>
          <ac:spMkLst>
            <pc:docMk/>
            <pc:sldMk cId="1075793544" sldId="2147378706"/>
            <ac:spMk id="26" creationId="{5E459C84-978B-D044-BE65-FCB09332A3B0}"/>
          </ac:spMkLst>
        </pc:spChg>
        <pc:spChg chg="mod">
          <ac:chgData name="丁野 光理" userId="53361c9a-10d0-4268-b39c-a1f4044b33f4" providerId="ADAL" clId="{5FE0A016-0A93-4063-8F08-CD48630E8DBB}" dt="2025-02-06T08:13:35.273" v="1209" actId="1035"/>
          <ac:spMkLst>
            <pc:docMk/>
            <pc:sldMk cId="1075793544" sldId="2147378706"/>
            <ac:spMk id="27" creationId="{C5731C2D-659C-4328-D18C-83B7B6BBC6DF}"/>
          </ac:spMkLst>
        </pc:spChg>
        <pc:spChg chg="mod">
          <ac:chgData name="丁野 光理" userId="53361c9a-10d0-4268-b39c-a1f4044b33f4" providerId="ADAL" clId="{5FE0A016-0A93-4063-8F08-CD48630E8DBB}" dt="2025-02-06T08:13:35.273" v="1209" actId="1035"/>
          <ac:spMkLst>
            <pc:docMk/>
            <pc:sldMk cId="1075793544" sldId="2147378706"/>
            <ac:spMk id="28" creationId="{55864B40-97CF-F0B3-B2B5-B6FFCF2C3E5B}"/>
          </ac:spMkLst>
        </pc:spChg>
        <pc:spChg chg="mod">
          <ac:chgData name="丁野 光理" userId="53361c9a-10d0-4268-b39c-a1f4044b33f4" providerId="ADAL" clId="{5FE0A016-0A93-4063-8F08-CD48630E8DBB}" dt="2025-02-06T08:13:35.273" v="1209" actId="1035"/>
          <ac:spMkLst>
            <pc:docMk/>
            <pc:sldMk cId="1075793544" sldId="2147378706"/>
            <ac:spMk id="29" creationId="{6066413C-AE1D-EB1F-F755-AA17280E6D6B}"/>
          </ac:spMkLst>
        </pc:spChg>
        <pc:spChg chg="mod">
          <ac:chgData name="丁野 光理" userId="53361c9a-10d0-4268-b39c-a1f4044b33f4" providerId="ADAL" clId="{5FE0A016-0A93-4063-8F08-CD48630E8DBB}" dt="2025-02-06T08:13:35.273" v="1209" actId="1035"/>
          <ac:spMkLst>
            <pc:docMk/>
            <pc:sldMk cId="1075793544" sldId="2147378706"/>
            <ac:spMk id="30" creationId="{73C2D3B9-B7E8-F47D-F1E3-D52A1C96AB7D}"/>
          </ac:spMkLst>
        </pc:spChg>
        <pc:spChg chg="mod">
          <ac:chgData name="丁野 光理" userId="53361c9a-10d0-4268-b39c-a1f4044b33f4" providerId="ADAL" clId="{5FE0A016-0A93-4063-8F08-CD48630E8DBB}" dt="2025-02-06T08:13:35.273" v="1209" actId="1035"/>
          <ac:spMkLst>
            <pc:docMk/>
            <pc:sldMk cId="1075793544" sldId="2147378706"/>
            <ac:spMk id="31" creationId="{26A09F49-1E75-5FA2-7FCE-7166D389CEA9}"/>
          </ac:spMkLst>
        </pc:spChg>
        <pc:spChg chg="mod">
          <ac:chgData name="丁野 光理" userId="53361c9a-10d0-4268-b39c-a1f4044b33f4" providerId="ADAL" clId="{5FE0A016-0A93-4063-8F08-CD48630E8DBB}" dt="2025-02-06T08:13:35.273" v="1209" actId="1035"/>
          <ac:spMkLst>
            <pc:docMk/>
            <pc:sldMk cId="1075793544" sldId="2147378706"/>
            <ac:spMk id="33" creationId="{0B64D96B-A150-F2DE-7473-4CD8D8C60016}"/>
          </ac:spMkLst>
        </pc:spChg>
        <pc:spChg chg="mod">
          <ac:chgData name="丁野 光理" userId="53361c9a-10d0-4268-b39c-a1f4044b33f4" providerId="ADAL" clId="{5FE0A016-0A93-4063-8F08-CD48630E8DBB}" dt="2025-02-06T08:13:35.273" v="1209" actId="1035"/>
          <ac:spMkLst>
            <pc:docMk/>
            <pc:sldMk cId="1075793544" sldId="2147378706"/>
            <ac:spMk id="34" creationId="{A7CA29C7-B260-867A-6467-CB38E6F69C54}"/>
          </ac:spMkLst>
        </pc:spChg>
        <pc:spChg chg="mod">
          <ac:chgData name="丁野 光理" userId="53361c9a-10d0-4268-b39c-a1f4044b33f4" providerId="ADAL" clId="{5FE0A016-0A93-4063-8F08-CD48630E8DBB}" dt="2025-02-06T08:13:35.273" v="1209" actId="1035"/>
          <ac:spMkLst>
            <pc:docMk/>
            <pc:sldMk cId="1075793544" sldId="2147378706"/>
            <ac:spMk id="36" creationId="{80884C5C-1F6D-E162-A074-F65661FD98B3}"/>
          </ac:spMkLst>
        </pc:spChg>
        <pc:spChg chg="mod">
          <ac:chgData name="丁野 光理" userId="53361c9a-10d0-4268-b39c-a1f4044b33f4" providerId="ADAL" clId="{5FE0A016-0A93-4063-8F08-CD48630E8DBB}" dt="2025-02-06T08:13:35.273" v="1209" actId="1035"/>
          <ac:spMkLst>
            <pc:docMk/>
            <pc:sldMk cId="1075793544" sldId="2147378706"/>
            <ac:spMk id="37" creationId="{1DE1309E-B0E0-21F8-EF43-640ECB6D56F5}"/>
          </ac:spMkLst>
        </pc:spChg>
        <pc:spChg chg="mod">
          <ac:chgData name="丁野 光理" userId="53361c9a-10d0-4268-b39c-a1f4044b33f4" providerId="ADAL" clId="{5FE0A016-0A93-4063-8F08-CD48630E8DBB}" dt="2025-02-06T08:13:35.273" v="1209" actId="1035"/>
          <ac:spMkLst>
            <pc:docMk/>
            <pc:sldMk cId="1075793544" sldId="2147378706"/>
            <ac:spMk id="38" creationId="{F1D12892-50BC-B332-CA0D-537FABFF159B}"/>
          </ac:spMkLst>
        </pc:spChg>
        <pc:spChg chg="mod">
          <ac:chgData name="丁野 光理" userId="53361c9a-10d0-4268-b39c-a1f4044b33f4" providerId="ADAL" clId="{5FE0A016-0A93-4063-8F08-CD48630E8DBB}" dt="2025-02-06T08:13:35.273" v="1209" actId="1035"/>
          <ac:spMkLst>
            <pc:docMk/>
            <pc:sldMk cId="1075793544" sldId="2147378706"/>
            <ac:spMk id="39" creationId="{16E41540-A219-2419-B67C-A2AE13CFB814}"/>
          </ac:spMkLst>
        </pc:spChg>
        <pc:spChg chg="mod">
          <ac:chgData name="丁野 光理" userId="53361c9a-10d0-4268-b39c-a1f4044b33f4" providerId="ADAL" clId="{5FE0A016-0A93-4063-8F08-CD48630E8DBB}" dt="2025-02-06T08:13:35.273" v="1209" actId="1035"/>
          <ac:spMkLst>
            <pc:docMk/>
            <pc:sldMk cId="1075793544" sldId="2147378706"/>
            <ac:spMk id="40" creationId="{C2888749-FFD2-DC62-AABB-61DFA8B597C7}"/>
          </ac:spMkLst>
        </pc:spChg>
        <pc:spChg chg="mod">
          <ac:chgData name="丁野 光理" userId="53361c9a-10d0-4268-b39c-a1f4044b33f4" providerId="ADAL" clId="{5FE0A016-0A93-4063-8F08-CD48630E8DBB}" dt="2025-02-06T08:13:35.273" v="1209" actId="1035"/>
          <ac:spMkLst>
            <pc:docMk/>
            <pc:sldMk cId="1075793544" sldId="2147378706"/>
            <ac:spMk id="41" creationId="{2249E747-F546-ABD1-FC84-71B243C4B29B}"/>
          </ac:spMkLst>
        </pc:spChg>
        <pc:spChg chg="mod">
          <ac:chgData name="丁野 光理" userId="53361c9a-10d0-4268-b39c-a1f4044b33f4" providerId="ADAL" clId="{5FE0A016-0A93-4063-8F08-CD48630E8DBB}" dt="2025-02-06T08:13:35.273" v="1209" actId="1035"/>
          <ac:spMkLst>
            <pc:docMk/>
            <pc:sldMk cId="1075793544" sldId="2147378706"/>
            <ac:spMk id="44" creationId="{11FC1E08-94B3-8FE9-9E3E-BC734176F0F1}"/>
          </ac:spMkLst>
        </pc:spChg>
        <pc:spChg chg="mod">
          <ac:chgData name="丁野 光理" userId="53361c9a-10d0-4268-b39c-a1f4044b33f4" providerId="ADAL" clId="{5FE0A016-0A93-4063-8F08-CD48630E8DBB}" dt="2025-02-06T08:13:35.273" v="1209" actId="1035"/>
          <ac:spMkLst>
            <pc:docMk/>
            <pc:sldMk cId="1075793544" sldId="2147378706"/>
            <ac:spMk id="45" creationId="{A34458C2-FB11-5CAF-BCC4-3B2308FFD976}"/>
          </ac:spMkLst>
        </pc:spChg>
        <pc:spChg chg="mod">
          <ac:chgData name="丁野 光理" userId="53361c9a-10d0-4268-b39c-a1f4044b33f4" providerId="ADAL" clId="{5FE0A016-0A93-4063-8F08-CD48630E8DBB}" dt="2025-02-06T08:13:35.273" v="1209" actId="1035"/>
          <ac:spMkLst>
            <pc:docMk/>
            <pc:sldMk cId="1075793544" sldId="2147378706"/>
            <ac:spMk id="46" creationId="{EAE7E9A2-9C75-5C55-3083-CF8CFC02DB28}"/>
          </ac:spMkLst>
        </pc:spChg>
        <pc:spChg chg="mod">
          <ac:chgData name="丁野 光理" userId="53361c9a-10d0-4268-b39c-a1f4044b33f4" providerId="ADAL" clId="{5FE0A016-0A93-4063-8F08-CD48630E8DBB}" dt="2025-02-06T08:13:35.273" v="1209" actId="1035"/>
          <ac:spMkLst>
            <pc:docMk/>
            <pc:sldMk cId="1075793544" sldId="2147378706"/>
            <ac:spMk id="47" creationId="{A43E12AD-B2EB-E739-14BE-B941DFF7D18A}"/>
          </ac:spMkLst>
        </pc:spChg>
        <pc:spChg chg="mod">
          <ac:chgData name="丁野 光理" userId="53361c9a-10d0-4268-b39c-a1f4044b33f4" providerId="ADAL" clId="{5FE0A016-0A93-4063-8F08-CD48630E8DBB}" dt="2025-02-06T08:13:35.273" v="1209" actId="1035"/>
          <ac:spMkLst>
            <pc:docMk/>
            <pc:sldMk cId="1075793544" sldId="2147378706"/>
            <ac:spMk id="48" creationId="{C80863E0-C0EC-A8A5-0450-8E2D5C9CF665}"/>
          </ac:spMkLst>
        </pc:spChg>
        <pc:spChg chg="mod">
          <ac:chgData name="丁野 光理" userId="53361c9a-10d0-4268-b39c-a1f4044b33f4" providerId="ADAL" clId="{5FE0A016-0A93-4063-8F08-CD48630E8DBB}" dt="2025-02-06T08:13:35.273" v="1209" actId="1035"/>
          <ac:spMkLst>
            <pc:docMk/>
            <pc:sldMk cId="1075793544" sldId="2147378706"/>
            <ac:spMk id="49" creationId="{A0D0579C-20A3-6CB7-7884-53E4873AFC1C}"/>
          </ac:spMkLst>
        </pc:spChg>
        <pc:spChg chg="mod">
          <ac:chgData name="丁野 光理" userId="53361c9a-10d0-4268-b39c-a1f4044b33f4" providerId="ADAL" clId="{5FE0A016-0A93-4063-8F08-CD48630E8DBB}" dt="2025-02-06T08:13:35.273" v="1209" actId="1035"/>
          <ac:spMkLst>
            <pc:docMk/>
            <pc:sldMk cId="1075793544" sldId="2147378706"/>
            <ac:spMk id="54" creationId="{257CE3ED-27EF-8BB9-8AC6-A65A773D1B5F}"/>
          </ac:spMkLst>
        </pc:spChg>
        <pc:spChg chg="mod">
          <ac:chgData name="丁野 光理" userId="53361c9a-10d0-4268-b39c-a1f4044b33f4" providerId="ADAL" clId="{5FE0A016-0A93-4063-8F08-CD48630E8DBB}" dt="2025-02-06T08:13:35.273" v="1209" actId="1035"/>
          <ac:spMkLst>
            <pc:docMk/>
            <pc:sldMk cId="1075793544" sldId="2147378706"/>
            <ac:spMk id="55" creationId="{3A150D87-5B38-9F6A-05D1-4FD2C26D10CF}"/>
          </ac:spMkLst>
        </pc:spChg>
        <pc:spChg chg="mod">
          <ac:chgData name="丁野 光理" userId="53361c9a-10d0-4268-b39c-a1f4044b33f4" providerId="ADAL" clId="{5FE0A016-0A93-4063-8F08-CD48630E8DBB}" dt="2025-02-06T08:13:35.273" v="1209" actId="1035"/>
          <ac:spMkLst>
            <pc:docMk/>
            <pc:sldMk cId="1075793544" sldId="2147378706"/>
            <ac:spMk id="56" creationId="{E7A256B4-413F-307C-5439-6870A4ACBCED}"/>
          </ac:spMkLst>
        </pc:spChg>
        <pc:spChg chg="mod">
          <ac:chgData name="丁野 光理" userId="53361c9a-10d0-4268-b39c-a1f4044b33f4" providerId="ADAL" clId="{5FE0A016-0A93-4063-8F08-CD48630E8DBB}" dt="2025-02-06T08:13:35.273" v="1209" actId="1035"/>
          <ac:spMkLst>
            <pc:docMk/>
            <pc:sldMk cId="1075793544" sldId="2147378706"/>
            <ac:spMk id="57" creationId="{7FADCBDB-26FF-BE72-8F14-BA953AD29C27}"/>
          </ac:spMkLst>
        </pc:spChg>
        <pc:spChg chg="mod">
          <ac:chgData name="丁野 光理" userId="53361c9a-10d0-4268-b39c-a1f4044b33f4" providerId="ADAL" clId="{5FE0A016-0A93-4063-8F08-CD48630E8DBB}" dt="2025-02-06T08:13:35.273" v="1209" actId="1035"/>
          <ac:spMkLst>
            <pc:docMk/>
            <pc:sldMk cId="1075793544" sldId="2147378706"/>
            <ac:spMk id="58" creationId="{C9BFE387-081A-F493-758E-0F6BD91A7288}"/>
          </ac:spMkLst>
        </pc:spChg>
        <pc:spChg chg="mod">
          <ac:chgData name="丁野 光理" userId="53361c9a-10d0-4268-b39c-a1f4044b33f4" providerId="ADAL" clId="{5FE0A016-0A93-4063-8F08-CD48630E8DBB}" dt="2025-02-06T08:13:35.273" v="1209" actId="1035"/>
          <ac:spMkLst>
            <pc:docMk/>
            <pc:sldMk cId="1075793544" sldId="2147378706"/>
            <ac:spMk id="59" creationId="{814DB610-F1B5-FED4-96F6-356A96984752}"/>
          </ac:spMkLst>
        </pc:spChg>
        <pc:spChg chg="mod">
          <ac:chgData name="丁野 光理" userId="53361c9a-10d0-4268-b39c-a1f4044b33f4" providerId="ADAL" clId="{5FE0A016-0A93-4063-8F08-CD48630E8DBB}" dt="2025-02-06T08:13:35.273" v="1209" actId="1035"/>
          <ac:spMkLst>
            <pc:docMk/>
            <pc:sldMk cId="1075793544" sldId="2147378706"/>
            <ac:spMk id="60" creationId="{3FBE18F8-DF94-8BCA-4933-9DC0688EE117}"/>
          </ac:spMkLst>
        </pc:spChg>
        <pc:spChg chg="del mod">
          <ac:chgData name="丁野 光理" userId="53361c9a-10d0-4268-b39c-a1f4044b33f4" providerId="ADAL" clId="{5FE0A016-0A93-4063-8F08-CD48630E8DBB}" dt="2025-01-29T13:05:00.384" v="18" actId="478"/>
          <ac:spMkLst>
            <pc:docMk/>
            <pc:sldMk cId="1075793544" sldId="2147378706"/>
            <ac:spMk id="76" creationId="{B279D241-48ED-92D0-EE51-7E1DABF5D8E2}"/>
          </ac:spMkLst>
        </pc:spChg>
        <pc:grpChg chg="mod">
          <ac:chgData name="丁野 光理" userId="53361c9a-10d0-4268-b39c-a1f4044b33f4" providerId="ADAL" clId="{5FE0A016-0A93-4063-8F08-CD48630E8DBB}" dt="2025-02-06T08:13:35.273" v="1209" actId="1035"/>
          <ac:grpSpMkLst>
            <pc:docMk/>
            <pc:sldMk cId="1075793544" sldId="2147378706"/>
            <ac:grpSpMk id="2" creationId="{372A3CF7-5B7A-0B5D-9138-971927D27558}"/>
          </ac:grpSpMkLst>
        </pc:grpChg>
        <pc:cxnChg chg="mod">
          <ac:chgData name="丁野 光理" userId="53361c9a-10d0-4268-b39c-a1f4044b33f4" providerId="ADAL" clId="{5FE0A016-0A93-4063-8F08-CD48630E8DBB}" dt="2025-02-06T08:13:35.273" v="1209" actId="1035"/>
          <ac:cxnSpMkLst>
            <pc:docMk/>
            <pc:sldMk cId="1075793544" sldId="2147378706"/>
            <ac:cxnSpMk id="7" creationId="{21A3E467-6F88-7859-37D3-00A944DAABE1}"/>
          </ac:cxnSpMkLst>
        </pc:cxnChg>
        <pc:cxnChg chg="mod">
          <ac:chgData name="丁野 光理" userId="53361c9a-10d0-4268-b39c-a1f4044b33f4" providerId="ADAL" clId="{5FE0A016-0A93-4063-8F08-CD48630E8DBB}" dt="2025-02-06T08:13:35.273" v="1209" actId="1035"/>
          <ac:cxnSpMkLst>
            <pc:docMk/>
            <pc:sldMk cId="1075793544" sldId="2147378706"/>
            <ac:cxnSpMk id="17" creationId="{B33F1110-77B4-AF22-55D7-F4851EF459EE}"/>
          </ac:cxnSpMkLst>
        </pc:cxnChg>
        <pc:cxnChg chg="mod">
          <ac:chgData name="丁野 光理" userId="53361c9a-10d0-4268-b39c-a1f4044b33f4" providerId="ADAL" clId="{5FE0A016-0A93-4063-8F08-CD48630E8DBB}" dt="2025-02-06T08:13:35.273" v="1209" actId="1035"/>
          <ac:cxnSpMkLst>
            <pc:docMk/>
            <pc:sldMk cId="1075793544" sldId="2147378706"/>
            <ac:cxnSpMk id="18" creationId="{891B5930-A38E-A0C5-BE51-42817003E8A5}"/>
          </ac:cxnSpMkLst>
        </pc:cxnChg>
        <pc:cxnChg chg="mod">
          <ac:chgData name="丁野 光理" userId="53361c9a-10d0-4268-b39c-a1f4044b33f4" providerId="ADAL" clId="{5FE0A016-0A93-4063-8F08-CD48630E8DBB}" dt="2025-02-06T08:13:35.273" v="1209" actId="1035"/>
          <ac:cxnSpMkLst>
            <pc:docMk/>
            <pc:sldMk cId="1075793544" sldId="2147378706"/>
            <ac:cxnSpMk id="19" creationId="{A844BD0C-0A40-51E8-A09A-D30427306A66}"/>
          </ac:cxnSpMkLst>
        </pc:cxnChg>
        <pc:cxnChg chg="mod">
          <ac:chgData name="丁野 光理" userId="53361c9a-10d0-4268-b39c-a1f4044b33f4" providerId="ADAL" clId="{5FE0A016-0A93-4063-8F08-CD48630E8DBB}" dt="2025-02-06T08:13:35.273" v="1209" actId="1035"/>
          <ac:cxnSpMkLst>
            <pc:docMk/>
            <pc:sldMk cId="1075793544" sldId="2147378706"/>
            <ac:cxnSpMk id="32" creationId="{E759765E-E000-B6F8-7FD9-0B57C3A2ABBD}"/>
          </ac:cxnSpMkLst>
        </pc:cxnChg>
        <pc:cxnChg chg="mod">
          <ac:chgData name="丁野 光理" userId="53361c9a-10d0-4268-b39c-a1f4044b33f4" providerId="ADAL" clId="{5FE0A016-0A93-4063-8F08-CD48630E8DBB}" dt="2025-02-06T08:13:35.273" v="1209" actId="1035"/>
          <ac:cxnSpMkLst>
            <pc:docMk/>
            <pc:sldMk cId="1075793544" sldId="2147378706"/>
            <ac:cxnSpMk id="35" creationId="{40F97130-3434-E197-FDD8-0A50B799631A}"/>
          </ac:cxnSpMkLst>
        </pc:cxnChg>
        <pc:cxnChg chg="mod">
          <ac:chgData name="丁野 光理" userId="53361c9a-10d0-4268-b39c-a1f4044b33f4" providerId="ADAL" clId="{5FE0A016-0A93-4063-8F08-CD48630E8DBB}" dt="2025-02-06T08:13:35.273" v="1209" actId="1035"/>
          <ac:cxnSpMkLst>
            <pc:docMk/>
            <pc:sldMk cId="1075793544" sldId="2147378706"/>
            <ac:cxnSpMk id="42" creationId="{9B4560C3-E523-8803-F24F-44C0F6BB8B8F}"/>
          </ac:cxnSpMkLst>
        </pc:cxnChg>
        <pc:cxnChg chg="mod">
          <ac:chgData name="丁野 光理" userId="53361c9a-10d0-4268-b39c-a1f4044b33f4" providerId="ADAL" clId="{5FE0A016-0A93-4063-8F08-CD48630E8DBB}" dt="2025-02-06T08:13:35.273" v="1209" actId="1035"/>
          <ac:cxnSpMkLst>
            <pc:docMk/>
            <pc:sldMk cId="1075793544" sldId="2147378706"/>
            <ac:cxnSpMk id="43" creationId="{C09F7C0D-715C-1DE6-CA70-0114A80EE9E6}"/>
          </ac:cxnSpMkLst>
        </pc:cxnChg>
        <pc:cxnChg chg="mod">
          <ac:chgData name="丁野 光理" userId="53361c9a-10d0-4268-b39c-a1f4044b33f4" providerId="ADAL" clId="{5FE0A016-0A93-4063-8F08-CD48630E8DBB}" dt="2025-02-06T08:13:35.273" v="1209" actId="1035"/>
          <ac:cxnSpMkLst>
            <pc:docMk/>
            <pc:sldMk cId="1075793544" sldId="2147378706"/>
            <ac:cxnSpMk id="50" creationId="{70D243EA-17DF-865D-55F4-DDB86E3FC409}"/>
          </ac:cxnSpMkLst>
        </pc:cxnChg>
        <pc:cxnChg chg="mod">
          <ac:chgData name="丁野 光理" userId="53361c9a-10d0-4268-b39c-a1f4044b33f4" providerId="ADAL" clId="{5FE0A016-0A93-4063-8F08-CD48630E8DBB}" dt="2025-02-06T08:13:35.273" v="1209" actId="1035"/>
          <ac:cxnSpMkLst>
            <pc:docMk/>
            <pc:sldMk cId="1075793544" sldId="2147378706"/>
            <ac:cxnSpMk id="51" creationId="{89F55B38-D3AD-5356-0792-1365F2725CD9}"/>
          </ac:cxnSpMkLst>
        </pc:cxnChg>
        <pc:cxnChg chg="mod">
          <ac:chgData name="丁野 光理" userId="53361c9a-10d0-4268-b39c-a1f4044b33f4" providerId="ADAL" clId="{5FE0A016-0A93-4063-8F08-CD48630E8DBB}" dt="2025-02-06T08:13:35.273" v="1209" actId="1035"/>
          <ac:cxnSpMkLst>
            <pc:docMk/>
            <pc:sldMk cId="1075793544" sldId="2147378706"/>
            <ac:cxnSpMk id="52" creationId="{66B9DD1B-C64B-4F75-5CF8-B98CD9A23B09}"/>
          </ac:cxnSpMkLst>
        </pc:cxnChg>
        <pc:cxnChg chg="mod">
          <ac:chgData name="丁野 光理" userId="53361c9a-10d0-4268-b39c-a1f4044b33f4" providerId="ADAL" clId="{5FE0A016-0A93-4063-8F08-CD48630E8DBB}" dt="2025-02-06T08:13:35.273" v="1209" actId="1035"/>
          <ac:cxnSpMkLst>
            <pc:docMk/>
            <pc:sldMk cId="1075793544" sldId="2147378706"/>
            <ac:cxnSpMk id="53" creationId="{BE418135-FB4D-DCAA-9BF1-13BC0FEA9AAB}"/>
          </ac:cxnSpMkLst>
        </pc:cxnChg>
        <pc:cxnChg chg="mod">
          <ac:chgData name="丁野 光理" userId="53361c9a-10d0-4268-b39c-a1f4044b33f4" providerId="ADAL" clId="{5FE0A016-0A93-4063-8F08-CD48630E8DBB}" dt="2025-02-06T08:13:35.273" v="1209" actId="1035"/>
          <ac:cxnSpMkLst>
            <pc:docMk/>
            <pc:sldMk cId="1075793544" sldId="2147378706"/>
            <ac:cxnSpMk id="61" creationId="{8294B53B-40A2-5BE4-9CB0-796238DAF687}"/>
          </ac:cxnSpMkLst>
        </pc:cxnChg>
        <pc:cxnChg chg="mod">
          <ac:chgData name="丁野 光理" userId="53361c9a-10d0-4268-b39c-a1f4044b33f4" providerId="ADAL" clId="{5FE0A016-0A93-4063-8F08-CD48630E8DBB}" dt="2025-02-06T08:13:35.273" v="1209" actId="1035"/>
          <ac:cxnSpMkLst>
            <pc:docMk/>
            <pc:sldMk cId="1075793544" sldId="2147378706"/>
            <ac:cxnSpMk id="62" creationId="{535A823C-A292-AD77-1929-6FC5127AA2E1}"/>
          </ac:cxnSpMkLst>
        </pc:cxnChg>
      </pc:sldChg>
      <pc:sldChg chg="addSp delSp modSp mod">
        <pc:chgData name="丁野 光理" userId="53361c9a-10d0-4268-b39c-a1f4044b33f4" providerId="ADAL" clId="{5FE0A016-0A93-4063-8F08-CD48630E8DBB}" dt="2025-02-06T13:17:48.117" v="2563"/>
        <pc:sldMkLst>
          <pc:docMk/>
          <pc:sldMk cId="1215250369" sldId="2147378707"/>
        </pc:sldMkLst>
        <pc:spChg chg="mod">
          <ac:chgData name="丁野 光理" userId="53361c9a-10d0-4268-b39c-a1f4044b33f4" providerId="ADAL" clId="{5FE0A016-0A93-4063-8F08-CD48630E8DBB}" dt="2025-02-06T13:17:48.117" v="2563"/>
          <ac:spMkLst>
            <pc:docMk/>
            <pc:sldMk cId="1215250369" sldId="2147378707"/>
            <ac:spMk id="3" creationId="{3889FB1B-DE63-B6FC-8D02-5D400D923577}"/>
          </ac:spMkLst>
        </pc:spChg>
        <pc:spChg chg="del">
          <ac:chgData name="丁野 光理" userId="53361c9a-10d0-4268-b39c-a1f4044b33f4" providerId="ADAL" clId="{5FE0A016-0A93-4063-8F08-CD48630E8DBB}" dt="2025-01-29T13:05:09.804" v="19" actId="478"/>
          <ac:spMkLst>
            <pc:docMk/>
            <pc:sldMk cId="1215250369" sldId="2147378707"/>
            <ac:spMk id="7" creationId="{2918B46C-8769-3057-DF46-3540854E5299}"/>
          </ac:spMkLst>
        </pc:spChg>
        <pc:spChg chg="add del mod">
          <ac:chgData name="丁野 光理" userId="53361c9a-10d0-4268-b39c-a1f4044b33f4" providerId="ADAL" clId="{5FE0A016-0A93-4063-8F08-CD48630E8DBB}" dt="2025-02-06T08:13:50.725" v="1210" actId="478"/>
          <ac:spMkLst>
            <pc:docMk/>
            <pc:sldMk cId="1215250369" sldId="2147378707"/>
            <ac:spMk id="7" creationId="{B72D8653-B68B-BE60-E8D5-BF7CA24DB835}"/>
          </ac:spMkLst>
        </pc:spChg>
        <pc:spChg chg="del mod">
          <ac:chgData name="丁野 光理" userId="53361c9a-10d0-4268-b39c-a1f4044b33f4" providerId="ADAL" clId="{5FE0A016-0A93-4063-8F08-CD48630E8DBB}" dt="2025-01-31T12:42:04.570" v="596" actId="478"/>
          <ac:spMkLst>
            <pc:docMk/>
            <pc:sldMk cId="1215250369" sldId="2147378707"/>
            <ac:spMk id="8" creationId="{1A7D0D46-5DEB-1E86-BAF0-1806692D1A79}"/>
          </ac:spMkLst>
        </pc:spChg>
        <pc:graphicFrameChg chg="mod modGraphic">
          <ac:chgData name="丁野 光理" userId="53361c9a-10d0-4268-b39c-a1f4044b33f4" providerId="ADAL" clId="{5FE0A016-0A93-4063-8F08-CD48630E8DBB}" dt="2025-02-06T08:13:59.197" v="1237" actId="14100"/>
          <ac:graphicFrameMkLst>
            <pc:docMk/>
            <pc:sldMk cId="1215250369" sldId="2147378707"/>
            <ac:graphicFrameMk id="2" creationId="{F9E0DDCD-6644-BE19-62E5-D3AB6A2D7C99}"/>
          </ac:graphicFrameMkLst>
        </pc:graphicFrameChg>
      </pc:sldChg>
      <pc:sldChg chg="addSp delSp modSp mod">
        <pc:chgData name="丁野 光理" userId="53361c9a-10d0-4268-b39c-a1f4044b33f4" providerId="ADAL" clId="{5FE0A016-0A93-4063-8F08-CD48630E8DBB}" dt="2025-02-07T04:18:11.877" v="22916" actId="478"/>
        <pc:sldMkLst>
          <pc:docMk/>
          <pc:sldMk cId="355750652" sldId="2147378708"/>
        </pc:sldMkLst>
        <pc:spChg chg="mod">
          <ac:chgData name="丁野 光理" userId="53361c9a-10d0-4268-b39c-a1f4044b33f4" providerId="ADAL" clId="{5FE0A016-0A93-4063-8F08-CD48630E8DBB}" dt="2025-02-06T13:17:50.707" v="2564"/>
          <ac:spMkLst>
            <pc:docMk/>
            <pc:sldMk cId="355750652" sldId="2147378708"/>
            <ac:spMk id="3" creationId="{177281CC-1855-F2DB-EAE1-E4C54E0FD7E5}"/>
          </ac:spMkLst>
        </pc:spChg>
        <pc:spChg chg="add del mod">
          <ac:chgData name="丁野 光理" userId="53361c9a-10d0-4268-b39c-a1f4044b33f4" providerId="ADAL" clId="{5FE0A016-0A93-4063-8F08-CD48630E8DBB}" dt="2025-02-07T04:17:37.687" v="22883" actId="478"/>
          <ac:spMkLst>
            <pc:docMk/>
            <pc:sldMk cId="355750652" sldId="2147378708"/>
            <ac:spMk id="6" creationId="{43CDFD17-3869-301D-1D78-2E5F39918290}"/>
          </ac:spMkLst>
        </pc:spChg>
        <pc:spChg chg="del">
          <ac:chgData name="丁野 光理" userId="53361c9a-10d0-4268-b39c-a1f4044b33f4" providerId="ADAL" clId="{5FE0A016-0A93-4063-8F08-CD48630E8DBB}" dt="2025-01-31T12:41:55.101" v="593" actId="478"/>
          <ac:spMkLst>
            <pc:docMk/>
            <pc:sldMk cId="355750652" sldId="2147378708"/>
            <ac:spMk id="6" creationId="{A8716A6B-6EAA-4A8E-9F4B-40B17BD58816}"/>
          </ac:spMkLst>
        </pc:spChg>
        <pc:spChg chg="add del mod">
          <ac:chgData name="丁野 光理" userId="53361c9a-10d0-4268-b39c-a1f4044b33f4" providerId="ADAL" clId="{5FE0A016-0A93-4063-8F08-CD48630E8DBB}" dt="2025-02-07T04:18:11.877" v="22916" actId="478"/>
          <ac:spMkLst>
            <pc:docMk/>
            <pc:sldMk cId="355750652" sldId="2147378708"/>
            <ac:spMk id="7" creationId="{DC53FFC8-568E-60D0-8ED3-2A616885B728}"/>
          </ac:spMkLst>
        </pc:spChg>
        <pc:spChg chg="add del mod">
          <ac:chgData name="丁野 光理" userId="53361c9a-10d0-4268-b39c-a1f4044b33f4" providerId="ADAL" clId="{5FE0A016-0A93-4063-8F08-CD48630E8DBB}" dt="2025-02-06T08:14:15.847" v="1238" actId="478"/>
          <ac:spMkLst>
            <pc:docMk/>
            <pc:sldMk cId="355750652" sldId="2147378708"/>
            <ac:spMk id="8" creationId="{5145873B-D96D-6647-90C2-96DE0C6F9F92}"/>
          </ac:spMkLst>
        </pc:spChg>
        <pc:spChg chg="add del mod">
          <ac:chgData name="丁野 光理" userId="53361c9a-10d0-4268-b39c-a1f4044b33f4" providerId="ADAL" clId="{5FE0A016-0A93-4063-8F08-CD48630E8DBB}" dt="2025-02-07T04:17:48.554" v="22885" actId="478"/>
          <ac:spMkLst>
            <pc:docMk/>
            <pc:sldMk cId="355750652" sldId="2147378708"/>
            <ac:spMk id="9" creationId="{A8AD75F3-D580-B0AE-0FEB-E6D8F0E56B4B}"/>
          </ac:spMkLst>
        </pc:spChg>
        <pc:spChg chg="del mod">
          <ac:chgData name="丁野 光理" userId="53361c9a-10d0-4268-b39c-a1f4044b33f4" providerId="ADAL" clId="{5FE0A016-0A93-4063-8F08-CD48630E8DBB}" dt="2025-01-31T12:42:14.080" v="598" actId="478"/>
          <ac:spMkLst>
            <pc:docMk/>
            <pc:sldMk cId="355750652" sldId="2147378708"/>
            <ac:spMk id="9" creationId="{F379F7F6-3A51-99E9-07DA-86E13F5C283A}"/>
          </ac:spMkLst>
        </pc:spChg>
        <pc:spChg chg="add mod">
          <ac:chgData name="丁野 光理" userId="53361c9a-10d0-4268-b39c-a1f4044b33f4" providerId="ADAL" clId="{5FE0A016-0A93-4063-8F08-CD48630E8DBB}" dt="2025-02-07T04:18:09.304" v="22915"/>
          <ac:spMkLst>
            <pc:docMk/>
            <pc:sldMk cId="355750652" sldId="2147378708"/>
            <ac:spMk id="10" creationId="{43D27961-B657-EEB7-4DB0-0524E5478651}"/>
          </ac:spMkLst>
        </pc:spChg>
        <pc:graphicFrameChg chg="mod modGraphic">
          <ac:chgData name="丁野 光理" userId="53361c9a-10d0-4268-b39c-a1f4044b33f4" providerId="ADAL" clId="{5FE0A016-0A93-4063-8F08-CD48630E8DBB}" dt="2025-02-07T04:17:34.537" v="22881" actId="1076"/>
          <ac:graphicFrameMkLst>
            <pc:docMk/>
            <pc:sldMk cId="355750652" sldId="2147378708"/>
            <ac:graphicFrameMk id="2" creationId="{C643ECC8-A3AC-933C-3E81-E0D6449A8658}"/>
          </ac:graphicFrameMkLst>
        </pc:graphicFrameChg>
      </pc:sldChg>
      <pc:sldChg chg="addSp delSp modSp mod ord modCm">
        <pc:chgData name="丁野 光理" userId="53361c9a-10d0-4268-b39c-a1f4044b33f4" providerId="ADAL" clId="{5FE0A016-0A93-4063-8F08-CD48630E8DBB}" dt="2025-02-07T02:36:02.285" v="20516"/>
        <pc:sldMkLst>
          <pc:docMk/>
          <pc:sldMk cId="3685116316" sldId="2147378709"/>
        </pc:sldMkLst>
        <pc:spChg chg="mod">
          <ac:chgData name="丁野 光理" userId="53361c9a-10d0-4268-b39c-a1f4044b33f4" providerId="ADAL" clId="{5FE0A016-0A93-4063-8F08-CD48630E8DBB}" dt="2025-02-06T15:06:38.709" v="7694"/>
          <ac:spMkLst>
            <pc:docMk/>
            <pc:sldMk cId="3685116316" sldId="2147378709"/>
            <ac:spMk id="2" creationId="{BDE63369-EA7E-4802-A4A3-D4010A333C66}"/>
          </ac:spMkLst>
        </pc:spChg>
        <pc:spChg chg="add del mod">
          <ac:chgData name="丁野 光理" userId="53361c9a-10d0-4268-b39c-a1f4044b33f4" providerId="ADAL" clId="{5FE0A016-0A93-4063-8F08-CD48630E8DBB}" dt="2025-02-05T11:49:03.314" v="1019" actId="478"/>
          <ac:spMkLst>
            <pc:docMk/>
            <pc:sldMk cId="3685116316" sldId="2147378709"/>
            <ac:spMk id="3" creationId="{9E42D765-C333-12DA-BB8D-799832946689}"/>
          </ac:spMkLst>
        </pc:spChg>
        <pc:spChg chg="add del mod">
          <ac:chgData name="丁野 光理" userId="53361c9a-10d0-4268-b39c-a1f4044b33f4" providerId="ADAL" clId="{5FE0A016-0A93-4063-8F08-CD48630E8DBB}" dt="2025-02-05T11:49:26.824" v="1039" actId="478"/>
          <ac:spMkLst>
            <pc:docMk/>
            <pc:sldMk cId="3685116316" sldId="2147378709"/>
            <ac:spMk id="4" creationId="{02F7DDA0-1ACD-09C3-E4E4-0A453004EFCC}"/>
          </ac:spMkLst>
        </pc:spChg>
        <pc:spChg chg="add mod">
          <ac:chgData name="丁野 光理" userId="53361c9a-10d0-4268-b39c-a1f4044b33f4" providerId="ADAL" clId="{5FE0A016-0A93-4063-8F08-CD48630E8DBB}" dt="2025-02-06T15:06:58.467" v="7750" actId="20577"/>
          <ac:spMkLst>
            <pc:docMk/>
            <pc:sldMk cId="3685116316" sldId="2147378709"/>
            <ac:spMk id="6" creationId="{06F06DD2-9B90-695B-AD25-50F75DE8988B}"/>
          </ac:spMkLst>
        </pc:spChg>
        <pc:spChg chg="mod">
          <ac:chgData name="丁野 光理" userId="53361c9a-10d0-4268-b39c-a1f4044b33f4" providerId="ADAL" clId="{5FE0A016-0A93-4063-8F08-CD48630E8DBB}" dt="2025-02-07T02:33:34.697" v="19844" actId="1076"/>
          <ac:spMkLst>
            <pc:docMk/>
            <pc:sldMk cId="3685116316" sldId="2147378709"/>
            <ac:spMk id="7" creationId="{DAEF76F3-C44B-93C1-72B8-D2D2FB9498DC}"/>
          </ac:spMkLst>
        </pc:spChg>
        <pc:spChg chg="mod">
          <ac:chgData name="丁野 光理" userId="53361c9a-10d0-4268-b39c-a1f4044b33f4" providerId="ADAL" clId="{5FE0A016-0A93-4063-8F08-CD48630E8DBB}" dt="2025-02-06T15:06:49.556" v="7746" actId="6549"/>
          <ac:spMkLst>
            <pc:docMk/>
            <pc:sldMk cId="3685116316" sldId="2147378709"/>
            <ac:spMk id="9" creationId="{D22A0A06-D5A8-4A1A-B66F-2A8EDBD644F1}"/>
          </ac:spMkLst>
        </pc:spChg>
        <pc:spChg chg="mod">
          <ac:chgData name="丁野 光理" userId="53361c9a-10d0-4268-b39c-a1f4044b33f4" providerId="ADAL" clId="{5FE0A016-0A93-4063-8F08-CD48630E8DBB}" dt="2025-02-05T11:46:32.671" v="868" actId="1036"/>
          <ac:spMkLst>
            <pc:docMk/>
            <pc:sldMk cId="3685116316" sldId="2147378709"/>
            <ac:spMk id="11" creationId="{5B8ABDA1-3D2A-BE6F-2D47-4B44E4CE9142}"/>
          </ac:spMkLst>
        </pc:spChg>
        <pc:spChg chg="mod">
          <ac:chgData name="丁野 光理" userId="53361c9a-10d0-4268-b39c-a1f4044b33f4" providerId="ADAL" clId="{5FE0A016-0A93-4063-8F08-CD48630E8DBB}" dt="2025-02-07T02:33:17.819" v="19821"/>
          <ac:spMkLst>
            <pc:docMk/>
            <pc:sldMk cId="3685116316" sldId="2147378709"/>
            <ac:spMk id="17" creationId="{53F10FF5-7C3A-04E7-4D0E-3EC2A9EB89FC}"/>
          </ac:spMkLst>
        </pc:spChg>
        <pc:spChg chg="mod">
          <ac:chgData name="丁野 光理" userId="53361c9a-10d0-4268-b39c-a1f4044b33f4" providerId="ADAL" clId="{5FE0A016-0A93-4063-8F08-CD48630E8DBB}" dt="2025-02-05T11:46:32.671" v="868" actId="1036"/>
          <ac:spMkLst>
            <pc:docMk/>
            <pc:sldMk cId="3685116316" sldId="2147378709"/>
            <ac:spMk id="18" creationId="{E9664A3C-1A6D-1DEA-5030-08206BBAF59D}"/>
          </ac:spMkLst>
        </pc:spChg>
        <pc:spChg chg="mod">
          <ac:chgData name="丁野 光理" userId="53361c9a-10d0-4268-b39c-a1f4044b33f4" providerId="ADAL" clId="{5FE0A016-0A93-4063-8F08-CD48630E8DBB}" dt="2025-02-05T11:46:32.671" v="868" actId="1036"/>
          <ac:spMkLst>
            <pc:docMk/>
            <pc:sldMk cId="3685116316" sldId="2147378709"/>
            <ac:spMk id="20" creationId="{A1D40746-BF49-AC90-B951-2E85999D00C9}"/>
          </ac:spMkLst>
        </pc:spChg>
        <pc:spChg chg="mod">
          <ac:chgData name="丁野 光理" userId="53361c9a-10d0-4268-b39c-a1f4044b33f4" providerId="ADAL" clId="{5FE0A016-0A93-4063-8F08-CD48630E8DBB}" dt="2025-02-07T02:33:23.901" v="19842"/>
          <ac:spMkLst>
            <pc:docMk/>
            <pc:sldMk cId="3685116316" sldId="2147378709"/>
            <ac:spMk id="22" creationId="{E3A53034-9097-A2B0-BA00-9805C113B3C4}"/>
          </ac:spMkLst>
        </pc:spChg>
        <pc:spChg chg="mod">
          <ac:chgData name="丁野 光理" userId="53361c9a-10d0-4268-b39c-a1f4044b33f4" providerId="ADAL" clId="{5FE0A016-0A93-4063-8F08-CD48630E8DBB}" dt="2025-02-05T11:46:32.671" v="868" actId="1036"/>
          <ac:spMkLst>
            <pc:docMk/>
            <pc:sldMk cId="3685116316" sldId="2147378709"/>
            <ac:spMk id="23" creationId="{548B53C1-9515-859C-4FF6-ED37AFEFE4B3}"/>
          </ac:spMkLst>
        </pc:spChg>
        <pc:spChg chg="mod">
          <ac:chgData name="丁野 光理" userId="53361c9a-10d0-4268-b39c-a1f4044b33f4" providerId="ADAL" clId="{5FE0A016-0A93-4063-8F08-CD48630E8DBB}" dt="2025-02-07T02:33:05.896" v="19773" actId="20577"/>
          <ac:spMkLst>
            <pc:docMk/>
            <pc:sldMk cId="3685116316" sldId="2147378709"/>
            <ac:spMk id="25" creationId="{B623064F-1224-9D0A-91B9-574A09BD6B31}"/>
          </ac:spMkLst>
        </pc:spChg>
        <pc:spChg chg="mod">
          <ac:chgData name="丁野 光理" userId="53361c9a-10d0-4268-b39c-a1f4044b33f4" providerId="ADAL" clId="{5FE0A016-0A93-4063-8F08-CD48630E8DBB}" dt="2025-02-07T02:34:20.819" v="20045"/>
          <ac:spMkLst>
            <pc:docMk/>
            <pc:sldMk cId="3685116316" sldId="2147378709"/>
            <ac:spMk id="28" creationId="{90FD0E77-3888-581E-76F2-D03B3D6A162F}"/>
          </ac:spMkLst>
        </pc:spChg>
        <pc:spChg chg="mod">
          <ac:chgData name="丁野 光理" userId="53361c9a-10d0-4268-b39c-a1f4044b33f4" providerId="ADAL" clId="{5FE0A016-0A93-4063-8F08-CD48630E8DBB}" dt="2025-02-07T02:35:12.794" v="20304"/>
          <ac:spMkLst>
            <pc:docMk/>
            <pc:sldMk cId="3685116316" sldId="2147378709"/>
            <ac:spMk id="29" creationId="{51548927-EDC2-8320-9763-1100DEEB5C3D}"/>
          </ac:spMkLst>
        </pc:spChg>
        <pc:spChg chg="mod">
          <ac:chgData name="丁野 光理" userId="53361c9a-10d0-4268-b39c-a1f4044b33f4" providerId="ADAL" clId="{5FE0A016-0A93-4063-8F08-CD48630E8DBB}" dt="2025-02-07T02:34:54.768" v="20218"/>
          <ac:spMkLst>
            <pc:docMk/>
            <pc:sldMk cId="3685116316" sldId="2147378709"/>
            <ac:spMk id="30" creationId="{ABA7E6E7-22B8-6897-CAD1-5BB1F7243A11}"/>
          </ac:spMkLst>
        </pc:spChg>
        <pc:spChg chg="mod">
          <ac:chgData name="丁野 光理" userId="53361c9a-10d0-4268-b39c-a1f4044b33f4" providerId="ADAL" clId="{5FE0A016-0A93-4063-8F08-CD48630E8DBB}" dt="2025-02-07T02:35:35.603" v="20388" actId="20577"/>
          <ac:spMkLst>
            <pc:docMk/>
            <pc:sldMk cId="3685116316" sldId="2147378709"/>
            <ac:spMk id="31" creationId="{97AC2652-6A11-4525-3831-C5116BDDAFD4}"/>
          </ac:spMkLst>
        </pc:spChg>
        <pc:spChg chg="mod">
          <ac:chgData name="丁野 光理" userId="53361c9a-10d0-4268-b39c-a1f4044b33f4" providerId="ADAL" clId="{5FE0A016-0A93-4063-8F08-CD48630E8DBB}" dt="2025-02-07T02:36:02.285" v="20516"/>
          <ac:spMkLst>
            <pc:docMk/>
            <pc:sldMk cId="3685116316" sldId="2147378709"/>
            <ac:spMk id="32" creationId="{226A0974-299A-DA5C-F13B-FA16A7D473D9}"/>
          </ac:spMkLst>
        </pc:spChg>
        <pc:spChg chg="mod">
          <ac:chgData name="丁野 光理" userId="53361c9a-10d0-4268-b39c-a1f4044b33f4" providerId="ADAL" clId="{5FE0A016-0A93-4063-8F08-CD48630E8DBB}" dt="2025-02-05T11:46:32.671" v="868" actId="1036"/>
          <ac:spMkLst>
            <pc:docMk/>
            <pc:sldMk cId="3685116316" sldId="2147378709"/>
            <ac:spMk id="33" creationId="{C9FC6D16-CAD4-5B3E-F8B5-81D2A2D8CDCA}"/>
          </ac:spMkLst>
        </pc:spChg>
        <pc:spChg chg="mod">
          <ac:chgData name="丁野 光理" userId="53361c9a-10d0-4268-b39c-a1f4044b33f4" providerId="ADAL" clId="{5FE0A016-0A93-4063-8F08-CD48630E8DBB}" dt="2025-02-05T11:46:32.671" v="868" actId="1036"/>
          <ac:spMkLst>
            <pc:docMk/>
            <pc:sldMk cId="3685116316" sldId="2147378709"/>
            <ac:spMk id="34" creationId="{C89FC4AA-2731-E92F-D907-2D16595912E8}"/>
          </ac:spMkLst>
        </pc:spChg>
        <pc:spChg chg="mod">
          <ac:chgData name="丁野 光理" userId="53361c9a-10d0-4268-b39c-a1f4044b33f4" providerId="ADAL" clId="{5FE0A016-0A93-4063-8F08-CD48630E8DBB}" dt="2025-02-05T11:46:32.671" v="868" actId="1036"/>
          <ac:spMkLst>
            <pc:docMk/>
            <pc:sldMk cId="3685116316" sldId="2147378709"/>
            <ac:spMk id="35" creationId="{708AB7D6-2CDF-65E4-DFCF-96EFAC6FF818}"/>
          </ac:spMkLst>
        </pc:spChg>
        <pc:spChg chg="add del">
          <ac:chgData name="丁野 光理" userId="53361c9a-10d0-4268-b39c-a1f4044b33f4" providerId="ADAL" clId="{5FE0A016-0A93-4063-8F08-CD48630E8DBB}" dt="2025-01-29T13:08:13.852" v="147" actId="478"/>
          <ac:spMkLst>
            <pc:docMk/>
            <pc:sldMk cId="3685116316" sldId="2147378709"/>
            <ac:spMk id="36" creationId="{833B7B3B-2AA4-02F5-9605-1CA648B26A9E}"/>
          </ac:spMkLst>
        </pc:spChg>
        <pc:cxnChg chg="mod">
          <ac:chgData name="丁野 光理" userId="53361c9a-10d0-4268-b39c-a1f4044b33f4" providerId="ADAL" clId="{5FE0A016-0A93-4063-8F08-CD48630E8DBB}" dt="2025-02-05T11:46:32.671" v="868" actId="1036"/>
          <ac:cxnSpMkLst>
            <pc:docMk/>
            <pc:sldMk cId="3685116316" sldId="2147378709"/>
            <ac:cxnSpMk id="19" creationId="{988F5D47-E5D3-5BF3-75A0-F784D65E7675}"/>
          </ac:cxnSpMkLst>
        </pc:cxnChg>
        <pc:cxnChg chg="mod">
          <ac:chgData name="丁野 光理" userId="53361c9a-10d0-4268-b39c-a1f4044b33f4" providerId="ADAL" clId="{5FE0A016-0A93-4063-8F08-CD48630E8DBB}" dt="2025-02-05T11:46:32.671" v="868" actId="1036"/>
          <ac:cxnSpMkLst>
            <pc:docMk/>
            <pc:sldMk cId="3685116316" sldId="2147378709"/>
            <ac:cxnSpMk id="21" creationId="{2C5A1D27-39E7-7A74-E0C6-11903FAA5D16}"/>
          </ac:cxnSpMkLst>
        </pc:cxnChg>
        <pc:cxnChg chg="mod">
          <ac:chgData name="丁野 光理" userId="53361c9a-10d0-4268-b39c-a1f4044b33f4" providerId="ADAL" clId="{5FE0A016-0A93-4063-8F08-CD48630E8DBB}" dt="2025-02-05T11:46:32.671" v="868" actId="1036"/>
          <ac:cxnSpMkLst>
            <pc:docMk/>
            <pc:sldMk cId="3685116316" sldId="2147378709"/>
            <ac:cxnSpMk id="24" creationId="{67CF960F-BF89-4129-340B-68AB5FDE8755}"/>
          </ac:cxnSpMkLst>
        </pc:cxnChg>
        <pc:cxnChg chg="mod">
          <ac:chgData name="丁野 光理" userId="53361c9a-10d0-4268-b39c-a1f4044b33f4" providerId="ADAL" clId="{5FE0A016-0A93-4063-8F08-CD48630E8DBB}" dt="2025-02-05T11:46:32.671" v="868" actId="1036"/>
          <ac:cxnSpMkLst>
            <pc:docMk/>
            <pc:sldMk cId="3685116316" sldId="2147378709"/>
            <ac:cxnSpMk id="26" creationId="{D275D890-34D1-720A-5568-058C5CE60E89}"/>
          </ac:cxnSpMkLst>
        </pc:cxnChg>
        <pc:cxnChg chg="mod">
          <ac:chgData name="丁野 光理" userId="53361c9a-10d0-4268-b39c-a1f4044b33f4" providerId="ADAL" clId="{5FE0A016-0A93-4063-8F08-CD48630E8DBB}" dt="2025-02-05T11:46:32.671" v="868" actId="1036"/>
          <ac:cxnSpMkLst>
            <pc:docMk/>
            <pc:sldMk cId="3685116316" sldId="2147378709"/>
            <ac:cxnSpMk id="27" creationId="{E7CB3556-2936-30A4-AEC6-65D0A1738CDB}"/>
          </ac:cxnSpMkLst>
        </pc:cxnChg>
        <pc:extLst>
          <p:ext xmlns:p="http://schemas.openxmlformats.org/presentationml/2006/main" uri="{D6D511B9-2390-475A-947B-AFAB55BFBCF1}">
            <pc226:cmChg xmlns:pc226="http://schemas.microsoft.com/office/powerpoint/2022/06/main/command" chg="mod">
              <pc226:chgData name="丁野 光理" userId="53361c9a-10d0-4268-b39c-a1f4044b33f4" providerId="ADAL" clId="{5FE0A016-0A93-4063-8F08-CD48630E8DBB}" dt="2025-02-04T13:52:53.895" v="711" actId="6549"/>
              <pc2:cmMkLst xmlns:pc2="http://schemas.microsoft.com/office/powerpoint/2019/9/main/command">
                <pc:docMk/>
                <pc:sldMk cId="3685116316" sldId="2147378709"/>
                <pc2:cmMk id="{0546C6D6-74B2-4DB4-8DCD-331FAC1E9233}"/>
              </pc2:cmMkLst>
            </pc226:cmChg>
          </p:ext>
        </pc:extLst>
      </pc:sldChg>
      <pc:sldChg chg="addSp delSp modSp mod ord">
        <pc:chgData name="丁野 光理" userId="53361c9a-10d0-4268-b39c-a1f4044b33f4" providerId="ADAL" clId="{5FE0A016-0A93-4063-8F08-CD48630E8DBB}" dt="2025-02-06T15:13:31.651" v="7982"/>
        <pc:sldMkLst>
          <pc:docMk/>
          <pc:sldMk cId="2249235288" sldId="2147378710"/>
        </pc:sldMkLst>
        <pc:spChg chg="mod">
          <ac:chgData name="丁野 光理" userId="53361c9a-10d0-4268-b39c-a1f4044b33f4" providerId="ADAL" clId="{5FE0A016-0A93-4063-8F08-CD48630E8DBB}" dt="2025-02-06T15:13:16.419" v="7978"/>
          <ac:spMkLst>
            <pc:docMk/>
            <pc:sldMk cId="2249235288" sldId="2147378710"/>
            <ac:spMk id="2" creationId="{BDE63369-EA7E-4802-A4A3-D4010A333C66}"/>
          </ac:spMkLst>
        </pc:spChg>
        <pc:spChg chg="mod">
          <ac:chgData name="丁野 光理" userId="53361c9a-10d0-4268-b39c-a1f4044b33f4" providerId="ADAL" clId="{5FE0A016-0A93-4063-8F08-CD48630E8DBB}" dt="2025-02-06T15:13:10.595" v="7977"/>
          <ac:spMkLst>
            <pc:docMk/>
            <pc:sldMk cId="2249235288" sldId="2147378710"/>
            <ac:spMk id="9" creationId="{D22A0A06-D5A8-4A1A-B66F-2A8EDBD644F1}"/>
          </ac:spMkLst>
        </pc:spChg>
        <pc:spChg chg="mod">
          <ac:chgData name="丁野 光理" userId="53361c9a-10d0-4268-b39c-a1f4044b33f4" providerId="ADAL" clId="{5FE0A016-0A93-4063-8F08-CD48630E8DBB}" dt="2025-02-05T11:46:37.770" v="869" actId="1076"/>
          <ac:spMkLst>
            <pc:docMk/>
            <pc:sldMk cId="2249235288" sldId="2147378710"/>
            <ac:spMk id="11" creationId="{5B8ABDA1-3D2A-BE6F-2D47-4B44E4CE9142}"/>
          </ac:spMkLst>
        </pc:spChg>
        <pc:spChg chg="del">
          <ac:chgData name="丁野 光理" userId="53361c9a-10d0-4268-b39c-a1f4044b33f4" providerId="ADAL" clId="{5FE0A016-0A93-4063-8F08-CD48630E8DBB}" dt="2025-01-29T13:08:11.509" v="146" actId="478"/>
          <ac:spMkLst>
            <pc:docMk/>
            <pc:sldMk cId="2249235288" sldId="2147378710"/>
            <ac:spMk id="15" creationId="{023910BE-64AD-C23C-E1DF-2E35F066FA1D}"/>
          </ac:spMkLst>
        </pc:spChg>
        <pc:spChg chg="add del mod">
          <ac:chgData name="丁野 光理" userId="53361c9a-10d0-4268-b39c-a1f4044b33f4" providerId="ADAL" clId="{5FE0A016-0A93-4063-8F08-CD48630E8DBB}" dt="2025-02-05T11:49:07.219" v="1021" actId="478"/>
          <ac:spMkLst>
            <pc:docMk/>
            <pc:sldMk cId="2249235288" sldId="2147378710"/>
            <ac:spMk id="15" creationId="{377C740A-031B-4D41-00E8-3A150421DA8B}"/>
          </ac:spMkLst>
        </pc:spChg>
        <pc:spChg chg="add del mod">
          <ac:chgData name="丁野 光理" userId="53361c9a-10d0-4268-b39c-a1f4044b33f4" providerId="ADAL" clId="{5FE0A016-0A93-4063-8F08-CD48630E8DBB}" dt="2025-02-05T11:49:33.103" v="1041" actId="478"/>
          <ac:spMkLst>
            <pc:docMk/>
            <pc:sldMk cId="2249235288" sldId="2147378710"/>
            <ac:spMk id="16" creationId="{138B2495-A6D4-2514-6B67-13A081976AD1}"/>
          </ac:spMkLst>
        </pc:spChg>
        <pc:spChg chg="add mod">
          <ac:chgData name="丁野 光理" userId="53361c9a-10d0-4268-b39c-a1f4044b33f4" providerId="ADAL" clId="{5FE0A016-0A93-4063-8F08-CD48630E8DBB}" dt="2025-02-06T15:13:31.651" v="7982"/>
          <ac:spMkLst>
            <pc:docMk/>
            <pc:sldMk cId="2249235288" sldId="2147378710"/>
            <ac:spMk id="17" creationId="{CF45C799-184A-B9A1-3984-069F4A38D270}"/>
          </ac:spMkLst>
        </pc:spChg>
      </pc:sldChg>
      <pc:sldChg chg="addSp delSp modSp mod ord">
        <pc:chgData name="丁野 光理" userId="53361c9a-10d0-4268-b39c-a1f4044b33f4" providerId="ADAL" clId="{5FE0A016-0A93-4063-8F08-CD48630E8DBB}" dt="2025-02-07T01:45:07.923" v="19676"/>
        <pc:sldMkLst>
          <pc:docMk/>
          <pc:sldMk cId="1302942433" sldId="2147378711"/>
        </pc:sldMkLst>
        <pc:spChg chg="mod">
          <ac:chgData name="丁野 光理" userId="53361c9a-10d0-4268-b39c-a1f4044b33f4" providerId="ADAL" clId="{5FE0A016-0A93-4063-8F08-CD48630E8DBB}" dt="2025-02-06T15:14:22.363" v="7989"/>
          <ac:spMkLst>
            <pc:docMk/>
            <pc:sldMk cId="1302942433" sldId="2147378711"/>
            <ac:spMk id="2" creationId="{BDE63369-EA7E-4802-A4A3-D4010A333C66}"/>
          </ac:spMkLst>
        </pc:spChg>
        <pc:spChg chg="mod">
          <ac:chgData name="丁野 光理" userId="53361c9a-10d0-4268-b39c-a1f4044b33f4" providerId="ADAL" clId="{5FE0A016-0A93-4063-8F08-CD48630E8DBB}" dt="2025-02-05T11:46:47.369" v="884" actId="1036"/>
          <ac:spMkLst>
            <pc:docMk/>
            <pc:sldMk cId="1302942433" sldId="2147378711"/>
            <ac:spMk id="7" creationId="{081FA0EF-B0D7-A6B9-D177-CBA186431769}"/>
          </ac:spMkLst>
        </pc:spChg>
        <pc:spChg chg="mod">
          <ac:chgData name="丁野 光理" userId="53361c9a-10d0-4268-b39c-a1f4044b33f4" providerId="ADAL" clId="{5FE0A016-0A93-4063-8F08-CD48630E8DBB}" dt="2025-02-06T15:14:28.347" v="7990"/>
          <ac:spMkLst>
            <pc:docMk/>
            <pc:sldMk cId="1302942433" sldId="2147378711"/>
            <ac:spMk id="9" creationId="{D22A0A06-D5A8-4A1A-B66F-2A8EDBD644F1}"/>
          </ac:spMkLst>
        </pc:spChg>
        <pc:spChg chg="mod">
          <ac:chgData name="丁野 光理" userId="53361c9a-10d0-4268-b39c-a1f4044b33f4" providerId="ADAL" clId="{5FE0A016-0A93-4063-8F08-CD48630E8DBB}" dt="2025-02-07T01:45:07.923" v="19676"/>
          <ac:spMkLst>
            <pc:docMk/>
            <pc:sldMk cId="1302942433" sldId="2147378711"/>
            <ac:spMk id="10" creationId="{1A383005-B1A5-AD52-BAD8-1851206F59CA}"/>
          </ac:spMkLst>
        </pc:spChg>
        <pc:spChg chg="del">
          <ac:chgData name="丁野 光理" userId="53361c9a-10d0-4268-b39c-a1f4044b33f4" providerId="ADAL" clId="{5FE0A016-0A93-4063-8F08-CD48630E8DBB}" dt="2025-02-05T11:46:58.533" v="886" actId="478"/>
          <ac:spMkLst>
            <pc:docMk/>
            <pc:sldMk cId="1302942433" sldId="2147378711"/>
            <ac:spMk id="11" creationId="{5B8ABDA1-3D2A-BE6F-2D47-4B44E4CE9142}"/>
          </ac:spMkLst>
        </pc:spChg>
        <pc:spChg chg="mod">
          <ac:chgData name="丁野 光理" userId="53361c9a-10d0-4268-b39c-a1f4044b33f4" providerId="ADAL" clId="{5FE0A016-0A93-4063-8F08-CD48630E8DBB}" dt="2025-02-05T11:46:47.369" v="884" actId="1036"/>
          <ac:spMkLst>
            <pc:docMk/>
            <pc:sldMk cId="1302942433" sldId="2147378711"/>
            <ac:spMk id="13" creationId="{EDAD2185-EC0D-868E-795C-E7F2FB4ACC64}"/>
          </ac:spMkLst>
        </pc:spChg>
        <pc:spChg chg="add mod">
          <ac:chgData name="丁野 光理" userId="53361c9a-10d0-4268-b39c-a1f4044b33f4" providerId="ADAL" clId="{5FE0A016-0A93-4063-8F08-CD48630E8DBB}" dt="2025-02-05T11:46:47.369" v="884" actId="1036"/>
          <ac:spMkLst>
            <pc:docMk/>
            <pc:sldMk cId="1302942433" sldId="2147378711"/>
            <ac:spMk id="14" creationId="{18C1D74E-EB9E-1CE0-ED28-285496344003}"/>
          </ac:spMkLst>
        </pc:spChg>
        <pc:spChg chg="del mod">
          <ac:chgData name="丁野 光理" userId="53361c9a-10d0-4268-b39c-a1f4044b33f4" providerId="ADAL" clId="{5FE0A016-0A93-4063-8F08-CD48630E8DBB}" dt="2025-01-30T11:11:57.172" v="258" actId="478"/>
          <ac:spMkLst>
            <pc:docMk/>
            <pc:sldMk cId="1302942433" sldId="2147378711"/>
            <ac:spMk id="15" creationId="{023910BE-64AD-C23C-E1DF-2E35F066FA1D}"/>
          </ac:spMkLst>
        </pc:spChg>
        <pc:spChg chg="add mod">
          <ac:chgData name="丁野 光理" userId="53361c9a-10d0-4268-b39c-a1f4044b33f4" providerId="ADAL" clId="{5FE0A016-0A93-4063-8F08-CD48630E8DBB}" dt="2025-02-05T11:46:56.781" v="885"/>
          <ac:spMkLst>
            <pc:docMk/>
            <pc:sldMk cId="1302942433" sldId="2147378711"/>
            <ac:spMk id="15" creationId="{A297BE6E-52F9-8183-AA90-19F0C17C5E07}"/>
          </ac:spMkLst>
        </pc:spChg>
        <pc:spChg chg="del">
          <ac:chgData name="丁野 光理" userId="53361c9a-10d0-4268-b39c-a1f4044b33f4" providerId="ADAL" clId="{5FE0A016-0A93-4063-8F08-CD48630E8DBB}" dt="2025-01-29T13:07:55.451" v="144" actId="478"/>
          <ac:spMkLst>
            <pc:docMk/>
            <pc:sldMk cId="1302942433" sldId="2147378711"/>
            <ac:spMk id="16" creationId="{9BE531E5-4F22-4DE9-B6DB-7FD8253B5070}"/>
          </ac:spMkLst>
        </pc:spChg>
        <pc:spChg chg="add del mod">
          <ac:chgData name="丁野 光理" userId="53361c9a-10d0-4268-b39c-a1f4044b33f4" providerId="ADAL" clId="{5FE0A016-0A93-4063-8F08-CD48630E8DBB}" dt="2025-02-05T11:47:03.915" v="888" actId="478"/>
          <ac:spMkLst>
            <pc:docMk/>
            <pc:sldMk cId="1302942433" sldId="2147378711"/>
            <ac:spMk id="17" creationId="{D490E296-A487-85A5-B17B-BD7ED71D5F5D}"/>
          </ac:spMkLst>
        </pc:spChg>
        <pc:spChg chg="add del mod">
          <ac:chgData name="丁野 光理" userId="53361c9a-10d0-4268-b39c-a1f4044b33f4" providerId="ADAL" clId="{5FE0A016-0A93-4063-8F08-CD48630E8DBB}" dt="2025-02-05T11:49:11.488" v="1023" actId="478"/>
          <ac:spMkLst>
            <pc:docMk/>
            <pc:sldMk cId="1302942433" sldId="2147378711"/>
            <ac:spMk id="18" creationId="{AA2C3771-52EB-156C-0945-A9BFAB147270}"/>
          </ac:spMkLst>
        </pc:spChg>
        <pc:spChg chg="add del mod">
          <ac:chgData name="丁野 光理" userId="53361c9a-10d0-4268-b39c-a1f4044b33f4" providerId="ADAL" clId="{5FE0A016-0A93-4063-8F08-CD48630E8DBB}" dt="2025-02-05T11:49:41.872" v="1043" actId="478"/>
          <ac:spMkLst>
            <pc:docMk/>
            <pc:sldMk cId="1302942433" sldId="2147378711"/>
            <ac:spMk id="19" creationId="{C22C6EEB-32E9-5AD8-1AB2-C70BB3280E27}"/>
          </ac:spMkLst>
        </pc:spChg>
        <pc:spChg chg="add mod">
          <ac:chgData name="丁野 光理" userId="53361c9a-10d0-4268-b39c-a1f4044b33f4" providerId="ADAL" clId="{5FE0A016-0A93-4063-8F08-CD48630E8DBB}" dt="2025-02-06T15:15:01.062" v="8003" actId="20577"/>
          <ac:spMkLst>
            <pc:docMk/>
            <pc:sldMk cId="1302942433" sldId="2147378711"/>
            <ac:spMk id="20" creationId="{94800FDA-81F1-3586-866D-A519778D8DB8}"/>
          </ac:spMkLst>
        </pc:spChg>
        <pc:grpChg chg="mod">
          <ac:chgData name="丁野 光理" userId="53361c9a-10d0-4268-b39c-a1f4044b33f4" providerId="ADAL" clId="{5FE0A016-0A93-4063-8F08-CD48630E8DBB}" dt="2025-02-05T11:46:47.369" v="884" actId="1036"/>
          <ac:grpSpMkLst>
            <pc:docMk/>
            <pc:sldMk cId="1302942433" sldId="2147378711"/>
            <ac:grpSpMk id="3" creationId="{F85333DF-4E5C-DAEA-926C-1A154E2103A9}"/>
          </ac:grpSpMkLst>
        </pc:grpChg>
        <pc:grpChg chg="mod">
          <ac:chgData name="丁野 光理" userId="53361c9a-10d0-4268-b39c-a1f4044b33f4" providerId="ADAL" clId="{5FE0A016-0A93-4063-8F08-CD48630E8DBB}" dt="2025-02-05T11:46:47.369" v="884" actId="1036"/>
          <ac:grpSpMkLst>
            <pc:docMk/>
            <pc:sldMk cId="1302942433" sldId="2147378711"/>
            <ac:grpSpMk id="4" creationId="{EAB62C42-9CF0-6E2B-28F8-CFEDB26FC1DD}"/>
          </ac:grpSpMkLst>
        </pc:grpChg>
        <pc:grpChg chg="mod">
          <ac:chgData name="丁野 光理" userId="53361c9a-10d0-4268-b39c-a1f4044b33f4" providerId="ADAL" clId="{5FE0A016-0A93-4063-8F08-CD48630E8DBB}" dt="2025-02-05T11:46:47.369" v="884" actId="1036"/>
          <ac:grpSpMkLst>
            <pc:docMk/>
            <pc:sldMk cId="1302942433" sldId="2147378711"/>
            <ac:grpSpMk id="6" creationId="{A2007A34-9A61-3C01-D672-C413701B3445}"/>
          </ac:grpSpMkLst>
        </pc:grpChg>
        <pc:cxnChg chg="mod">
          <ac:chgData name="丁野 光理" userId="53361c9a-10d0-4268-b39c-a1f4044b33f4" providerId="ADAL" clId="{5FE0A016-0A93-4063-8F08-CD48630E8DBB}" dt="2025-02-05T11:46:47.369" v="884" actId="1036"/>
          <ac:cxnSpMkLst>
            <pc:docMk/>
            <pc:sldMk cId="1302942433" sldId="2147378711"/>
            <ac:cxnSpMk id="8" creationId="{99FBEF6F-94C3-52B0-FA40-DD378C8E4F64}"/>
          </ac:cxnSpMkLst>
        </pc:cxnChg>
        <pc:cxnChg chg="mod">
          <ac:chgData name="丁野 光理" userId="53361c9a-10d0-4268-b39c-a1f4044b33f4" providerId="ADAL" clId="{5FE0A016-0A93-4063-8F08-CD48630E8DBB}" dt="2025-02-05T11:46:47.369" v="884" actId="1036"/>
          <ac:cxnSpMkLst>
            <pc:docMk/>
            <pc:sldMk cId="1302942433" sldId="2147378711"/>
            <ac:cxnSpMk id="12" creationId="{3653E4DF-7A5D-EE67-D31F-6D64D03C04E6}"/>
          </ac:cxnSpMkLst>
        </pc:cxnChg>
      </pc:sldChg>
      <pc:sldChg chg="addSp delSp modSp del mod ord">
        <pc:chgData name="丁野 光理" userId="53361c9a-10d0-4268-b39c-a1f4044b33f4" providerId="ADAL" clId="{5FE0A016-0A93-4063-8F08-CD48630E8DBB}" dt="2025-02-07T11:21:40.947" v="24493" actId="47"/>
        <pc:sldMkLst>
          <pc:docMk/>
          <pc:sldMk cId="958813593" sldId="2147378712"/>
        </pc:sldMkLst>
        <pc:spChg chg="mod">
          <ac:chgData name="丁野 光理" userId="53361c9a-10d0-4268-b39c-a1f4044b33f4" providerId="ADAL" clId="{5FE0A016-0A93-4063-8F08-CD48630E8DBB}" dt="2025-02-06T15:15:45.846" v="8008"/>
          <ac:spMkLst>
            <pc:docMk/>
            <pc:sldMk cId="958813593" sldId="2147378712"/>
            <ac:spMk id="2" creationId="{BDE63369-EA7E-4802-A4A3-D4010A333C66}"/>
          </ac:spMkLst>
        </pc:spChg>
        <pc:spChg chg="add mod">
          <ac:chgData name="丁野 光理" userId="53361c9a-10d0-4268-b39c-a1f4044b33f4" providerId="ADAL" clId="{5FE0A016-0A93-4063-8F08-CD48630E8DBB}" dt="2025-02-06T15:16:05.845" v="8012"/>
          <ac:spMkLst>
            <pc:docMk/>
            <pc:sldMk cId="958813593" sldId="2147378712"/>
            <ac:spMk id="3" creationId="{91EE754F-8C87-1B2E-0787-5CD75A67D43F}"/>
          </ac:spMkLst>
        </pc:spChg>
        <pc:spChg chg="add mod">
          <ac:chgData name="丁野 光理" userId="53361c9a-10d0-4268-b39c-a1f4044b33f4" providerId="ADAL" clId="{5FE0A016-0A93-4063-8F08-CD48630E8DBB}" dt="2025-02-06T16:18:31.900" v="11559" actId="1076"/>
          <ac:spMkLst>
            <pc:docMk/>
            <pc:sldMk cId="958813593" sldId="2147378712"/>
            <ac:spMk id="6" creationId="{09D775EB-351B-C236-C043-A7DD108D7C85}"/>
          </ac:spMkLst>
        </pc:spChg>
        <pc:spChg chg="add del mod">
          <ac:chgData name="丁野 光理" userId="53361c9a-10d0-4268-b39c-a1f4044b33f4" providerId="ADAL" clId="{5FE0A016-0A93-4063-8F08-CD48630E8DBB}" dt="2025-02-05T11:49:59.021" v="1074" actId="478"/>
          <ac:spMkLst>
            <pc:docMk/>
            <pc:sldMk cId="958813593" sldId="2147378712"/>
            <ac:spMk id="6" creationId="{71AA0A7F-8AA3-BDE5-0597-47F6E56C89D4}"/>
          </ac:spMkLst>
        </pc:spChg>
        <pc:spChg chg="add del mod">
          <ac:chgData name="丁野 光理" userId="53361c9a-10d0-4268-b39c-a1f4044b33f4" providerId="ADAL" clId="{5FE0A016-0A93-4063-8F08-CD48630E8DBB}" dt="2025-02-06T16:10:44.012" v="10815" actId="478"/>
          <ac:spMkLst>
            <pc:docMk/>
            <pc:sldMk cId="958813593" sldId="2147378712"/>
            <ac:spMk id="7" creationId="{3691CDB4-58BB-E579-BB19-C14A7E95B4EB}"/>
          </ac:spMkLst>
        </pc:spChg>
        <pc:spChg chg="mod">
          <ac:chgData name="丁野 光理" userId="53361c9a-10d0-4268-b39c-a1f4044b33f4" providerId="ADAL" clId="{5FE0A016-0A93-4063-8F08-CD48630E8DBB}" dt="2025-02-06T15:15:52.140" v="8009"/>
          <ac:spMkLst>
            <pc:docMk/>
            <pc:sldMk cId="958813593" sldId="2147378712"/>
            <ac:spMk id="9" creationId="{D22A0A06-D5A8-4A1A-B66F-2A8EDBD644F1}"/>
          </ac:spMkLst>
        </pc:spChg>
        <pc:spChg chg="del mod">
          <ac:chgData name="丁野 光理" userId="53361c9a-10d0-4268-b39c-a1f4044b33f4" providerId="ADAL" clId="{5FE0A016-0A93-4063-8F08-CD48630E8DBB}" dt="2025-02-05T11:49:57.052" v="1072" actId="478"/>
          <ac:spMkLst>
            <pc:docMk/>
            <pc:sldMk cId="958813593" sldId="2147378712"/>
            <ac:spMk id="11" creationId="{5B8ABDA1-3D2A-BE6F-2D47-4B44E4CE9142}"/>
          </ac:spMkLst>
        </pc:spChg>
        <pc:spChg chg="del">
          <ac:chgData name="丁野 光理" userId="53361c9a-10d0-4268-b39c-a1f4044b33f4" providerId="ADAL" clId="{5FE0A016-0A93-4063-8F08-CD48630E8DBB}" dt="2025-01-29T13:07:51.381" v="143" actId="478"/>
          <ac:spMkLst>
            <pc:docMk/>
            <pc:sldMk cId="958813593" sldId="2147378712"/>
            <ac:spMk id="17" creationId="{8E12BC20-AEA4-4454-E75A-D818ACE447A8}"/>
          </ac:spMkLst>
        </pc:spChg>
        <pc:graphicFrameChg chg="add mod modGraphic">
          <ac:chgData name="丁野 光理" userId="53361c9a-10d0-4268-b39c-a1f4044b33f4" providerId="ADAL" clId="{5FE0A016-0A93-4063-8F08-CD48630E8DBB}" dt="2025-02-06T16:17:55.447" v="11469"/>
          <ac:graphicFrameMkLst>
            <pc:docMk/>
            <pc:sldMk cId="958813593" sldId="2147378712"/>
            <ac:graphicFrameMk id="4" creationId="{7E0BF0E4-B5DA-4811-4F9E-6C1AC2614AA5}"/>
          </ac:graphicFrameMkLst>
        </pc:graphicFrameChg>
        <pc:graphicFrameChg chg="del mod modGraphic">
          <ac:chgData name="丁野 光理" userId="53361c9a-10d0-4268-b39c-a1f4044b33f4" providerId="ADAL" clId="{5FE0A016-0A93-4063-8F08-CD48630E8DBB}" dt="2025-02-06T16:11:07.435" v="10821" actId="478"/>
          <ac:graphicFrameMkLst>
            <pc:docMk/>
            <pc:sldMk cId="958813593" sldId="2147378712"/>
            <ac:graphicFrameMk id="14" creationId="{9887595F-90B6-1EDC-9BF9-62AD79C17B7E}"/>
          </ac:graphicFrameMkLst>
        </pc:graphicFrameChg>
      </pc:sldChg>
      <pc:sldChg chg="addSp delSp modSp mod delCm">
        <pc:chgData name="丁野 光理" userId="53361c9a-10d0-4268-b39c-a1f4044b33f4" providerId="ADAL" clId="{5FE0A016-0A93-4063-8F08-CD48630E8DBB}" dt="2025-02-07T12:19:22.108" v="26228" actId="27636"/>
        <pc:sldMkLst>
          <pc:docMk/>
          <pc:sldMk cId="2848558883" sldId="2147378713"/>
        </pc:sldMkLst>
        <pc:spChg chg="mod">
          <ac:chgData name="丁野 光理" userId="53361c9a-10d0-4268-b39c-a1f4044b33f4" providerId="ADAL" clId="{5FE0A016-0A93-4063-8F08-CD48630E8DBB}" dt="2025-02-07T11:36:49.386" v="24798" actId="20577"/>
          <ac:spMkLst>
            <pc:docMk/>
            <pc:sldMk cId="2848558883" sldId="2147378713"/>
            <ac:spMk id="4" creationId="{29DB748F-EFF5-4509-B381-6B8D73B31303}"/>
          </ac:spMkLst>
        </pc:spChg>
        <pc:spChg chg="add mod">
          <ac:chgData name="丁野 光理" userId="53361c9a-10d0-4268-b39c-a1f4044b33f4" providerId="ADAL" clId="{5FE0A016-0A93-4063-8F08-CD48630E8DBB}" dt="2025-02-06T15:38:18.997" v="8936"/>
          <ac:spMkLst>
            <pc:docMk/>
            <pc:sldMk cId="2848558883" sldId="2147378713"/>
            <ac:spMk id="6" creationId="{6AA70187-F136-66C7-03A4-86FA183915B9}"/>
          </ac:spMkLst>
        </pc:spChg>
        <pc:spChg chg="del">
          <ac:chgData name="丁野 光理" userId="53361c9a-10d0-4268-b39c-a1f4044b33f4" providerId="ADAL" clId="{5FE0A016-0A93-4063-8F08-CD48630E8DBB}" dt="2025-01-29T13:07:34.024" v="138" actId="478"/>
          <ac:spMkLst>
            <pc:docMk/>
            <pc:sldMk cId="2848558883" sldId="2147378713"/>
            <ac:spMk id="6" creationId="{9E4631E7-964D-E009-B2BB-C8E7CB208D67}"/>
          </ac:spMkLst>
        </pc:spChg>
        <pc:spChg chg="del mod">
          <ac:chgData name="丁野 光理" userId="53361c9a-10d0-4268-b39c-a1f4044b33f4" providerId="ADAL" clId="{5FE0A016-0A93-4063-8F08-CD48630E8DBB}" dt="2025-01-29T13:07:33.027" v="137" actId="478"/>
          <ac:spMkLst>
            <pc:docMk/>
            <pc:sldMk cId="2848558883" sldId="2147378713"/>
            <ac:spMk id="7" creationId="{44C5D2AE-5A67-8B16-4D64-05BEA1BC14F5}"/>
          </ac:spMkLst>
        </pc:spChg>
        <pc:spChg chg="add mod">
          <ac:chgData name="丁野 光理" userId="53361c9a-10d0-4268-b39c-a1f4044b33f4" providerId="ADAL" clId="{5FE0A016-0A93-4063-8F08-CD48630E8DBB}" dt="2025-02-06T15:38:41.826" v="8972" actId="1076"/>
          <ac:spMkLst>
            <pc:docMk/>
            <pc:sldMk cId="2848558883" sldId="2147378713"/>
            <ac:spMk id="7" creationId="{7A4B5C97-0EFD-66A6-AD4E-37C25AAED383}"/>
          </ac:spMkLst>
        </pc:spChg>
        <pc:spChg chg="mod">
          <ac:chgData name="丁野 光理" userId="53361c9a-10d0-4268-b39c-a1f4044b33f4" providerId="ADAL" clId="{5FE0A016-0A93-4063-8F08-CD48630E8DBB}" dt="2025-02-07T12:19:22.108" v="26228" actId="27636"/>
          <ac:spMkLst>
            <pc:docMk/>
            <pc:sldMk cId="2848558883" sldId="2147378713"/>
            <ac:spMk id="8" creationId="{9D610DBF-17F7-608B-8680-1CFA54E54E02}"/>
          </ac:spMkLst>
        </pc:spChg>
        <pc:spChg chg="add mod">
          <ac:chgData name="丁野 光理" userId="53361c9a-10d0-4268-b39c-a1f4044b33f4" providerId="ADAL" clId="{5FE0A016-0A93-4063-8F08-CD48630E8DBB}" dt="2025-02-06T15:38:53.867" v="8989" actId="14100"/>
          <ac:spMkLst>
            <pc:docMk/>
            <pc:sldMk cId="2848558883" sldId="2147378713"/>
            <ac:spMk id="9" creationId="{1262904C-D38A-3D7B-A122-60E3E02CC0F6}"/>
          </ac:spMkLst>
        </pc:spChg>
        <pc:spChg chg="add mod">
          <ac:chgData name="丁野 光理" userId="53361c9a-10d0-4268-b39c-a1f4044b33f4" providerId="ADAL" clId="{5FE0A016-0A93-4063-8F08-CD48630E8DBB}" dt="2025-02-06T15:39:31.502" v="9028" actId="14100"/>
          <ac:spMkLst>
            <pc:docMk/>
            <pc:sldMk cId="2848558883" sldId="2147378713"/>
            <ac:spMk id="10" creationId="{19A85C70-63B1-FB56-AF72-EE2FC15CE64C}"/>
          </ac:spMkLst>
        </pc:spChg>
        <pc:spChg chg="add mod">
          <ac:chgData name="丁野 光理" userId="53361c9a-10d0-4268-b39c-a1f4044b33f4" providerId="ADAL" clId="{5FE0A016-0A93-4063-8F08-CD48630E8DBB}" dt="2025-02-06T15:39:41.998" v="9034" actId="1076"/>
          <ac:spMkLst>
            <pc:docMk/>
            <pc:sldMk cId="2848558883" sldId="2147378713"/>
            <ac:spMk id="11" creationId="{049F750A-FABA-8AB3-5381-7032A796023D}"/>
          </ac:spMkLst>
        </pc:spChg>
        <pc:spChg chg="add mod">
          <ac:chgData name="丁野 光理" userId="53361c9a-10d0-4268-b39c-a1f4044b33f4" providerId="ADAL" clId="{5FE0A016-0A93-4063-8F08-CD48630E8DBB}" dt="2025-02-06T15:39:39.108" v="9033" actId="1076"/>
          <ac:spMkLst>
            <pc:docMk/>
            <pc:sldMk cId="2848558883" sldId="2147378713"/>
            <ac:spMk id="12" creationId="{28B77D76-A8D6-74E7-5ECE-0E247E056990}"/>
          </ac:spMkLst>
        </pc:spChg>
        <pc:spChg chg="add mod">
          <ac:chgData name="丁野 光理" userId="53361c9a-10d0-4268-b39c-a1f4044b33f4" providerId="ADAL" clId="{5FE0A016-0A93-4063-8F08-CD48630E8DBB}" dt="2025-02-06T15:39:36.898" v="9032" actId="1076"/>
          <ac:spMkLst>
            <pc:docMk/>
            <pc:sldMk cId="2848558883" sldId="2147378713"/>
            <ac:spMk id="13" creationId="{B61B5B02-FFAE-760A-3D1D-4EB78FF2F69B}"/>
          </ac:spMkLst>
        </pc:spChg>
        <pc:spChg chg="add mod">
          <ac:chgData name="丁野 光理" userId="53361c9a-10d0-4268-b39c-a1f4044b33f4" providerId="ADAL" clId="{5FE0A016-0A93-4063-8F08-CD48630E8DBB}" dt="2025-02-06T15:40:07.453" v="9086" actId="20577"/>
          <ac:spMkLst>
            <pc:docMk/>
            <pc:sldMk cId="2848558883" sldId="2147378713"/>
            <ac:spMk id="14" creationId="{61134609-B34B-C071-0971-B496E138A26B}"/>
          </ac:spMkLst>
        </pc:spChg>
        <pc:spChg chg="add mod">
          <ac:chgData name="丁野 光理" userId="53361c9a-10d0-4268-b39c-a1f4044b33f4" providerId="ADAL" clId="{5FE0A016-0A93-4063-8F08-CD48630E8DBB}" dt="2025-02-06T15:40:03.987" v="9079"/>
          <ac:spMkLst>
            <pc:docMk/>
            <pc:sldMk cId="2848558883" sldId="2147378713"/>
            <ac:spMk id="15" creationId="{5CF442C1-D88A-0582-DFB1-3CCBF4972E67}"/>
          </ac:spMkLst>
        </pc:spChg>
        <pc:spChg chg="add mod">
          <ac:chgData name="丁野 光理" userId="53361c9a-10d0-4268-b39c-a1f4044b33f4" providerId="ADAL" clId="{5FE0A016-0A93-4063-8F08-CD48630E8DBB}" dt="2025-02-06T15:40:29.054" v="9145" actId="1076"/>
          <ac:spMkLst>
            <pc:docMk/>
            <pc:sldMk cId="2848558883" sldId="2147378713"/>
            <ac:spMk id="16" creationId="{3A3F5415-1FFB-D6D9-160C-1802DCBD2D2F}"/>
          </ac:spMkLst>
        </pc:spChg>
        <pc:spChg chg="add mod">
          <ac:chgData name="丁野 光理" userId="53361c9a-10d0-4268-b39c-a1f4044b33f4" providerId="ADAL" clId="{5FE0A016-0A93-4063-8F08-CD48630E8DBB}" dt="2025-02-06T15:40:35.861" v="9148" actId="14100"/>
          <ac:spMkLst>
            <pc:docMk/>
            <pc:sldMk cId="2848558883" sldId="2147378713"/>
            <ac:spMk id="17" creationId="{B85BA7A7-2EA0-C463-9B8C-957DD967155F}"/>
          </ac:spMkLst>
        </pc:spChg>
        <pc:spChg chg="add mod">
          <ac:chgData name="丁野 光理" userId="53361c9a-10d0-4268-b39c-a1f4044b33f4" providerId="ADAL" clId="{5FE0A016-0A93-4063-8F08-CD48630E8DBB}" dt="2025-02-06T15:40:44.077" v="9183"/>
          <ac:spMkLst>
            <pc:docMk/>
            <pc:sldMk cId="2848558883" sldId="2147378713"/>
            <ac:spMk id="18" creationId="{6235923C-BA68-BA6E-257A-9E82D27E5AA7}"/>
          </ac:spMkLst>
        </pc:spChg>
        <pc:spChg chg="add mod">
          <ac:chgData name="丁野 光理" userId="53361c9a-10d0-4268-b39c-a1f4044b33f4" providerId="ADAL" clId="{5FE0A016-0A93-4063-8F08-CD48630E8DBB}" dt="2025-02-06T15:40:57.748" v="9189" actId="1076"/>
          <ac:spMkLst>
            <pc:docMk/>
            <pc:sldMk cId="2848558883" sldId="2147378713"/>
            <ac:spMk id="19" creationId="{469BFAF2-628C-FBCC-FD7A-0B8149791F4E}"/>
          </ac:spMkLst>
        </pc:spChg>
        <pc:spChg chg="add mod">
          <ac:chgData name="丁野 光理" userId="53361c9a-10d0-4268-b39c-a1f4044b33f4" providerId="ADAL" clId="{5FE0A016-0A93-4063-8F08-CD48630E8DBB}" dt="2025-02-06T15:40:52.405" v="9188" actId="1076"/>
          <ac:spMkLst>
            <pc:docMk/>
            <pc:sldMk cId="2848558883" sldId="2147378713"/>
            <ac:spMk id="20" creationId="{DE66E234-02F7-8887-E31C-7AAE4EF35330}"/>
          </ac:spMkLst>
        </pc:spChg>
        <pc:spChg chg="add mod">
          <ac:chgData name="丁野 光理" userId="53361c9a-10d0-4268-b39c-a1f4044b33f4" providerId="ADAL" clId="{5FE0A016-0A93-4063-8F08-CD48630E8DBB}" dt="2025-02-06T15:40:49.565" v="9187" actId="1076"/>
          <ac:spMkLst>
            <pc:docMk/>
            <pc:sldMk cId="2848558883" sldId="2147378713"/>
            <ac:spMk id="21" creationId="{7B93A854-DC48-AED7-A346-154AC8853A28}"/>
          </ac:spMkLst>
        </pc:spChg>
        <pc:spChg chg="add mod">
          <ac:chgData name="丁野 光理" userId="53361c9a-10d0-4268-b39c-a1f4044b33f4" providerId="ADAL" clId="{5FE0A016-0A93-4063-8F08-CD48630E8DBB}" dt="2025-02-06T15:41:25.107" v="9236" actId="1076"/>
          <ac:spMkLst>
            <pc:docMk/>
            <pc:sldMk cId="2848558883" sldId="2147378713"/>
            <ac:spMk id="22" creationId="{44DF471C-9AAC-DB64-4328-E8760C32D421}"/>
          </ac:spMkLst>
        </pc:spChg>
        <pc:spChg chg="add mod">
          <ac:chgData name="丁野 光理" userId="53361c9a-10d0-4268-b39c-a1f4044b33f4" providerId="ADAL" clId="{5FE0A016-0A93-4063-8F08-CD48630E8DBB}" dt="2025-02-06T15:41:23.221" v="9235" actId="1076"/>
          <ac:spMkLst>
            <pc:docMk/>
            <pc:sldMk cId="2848558883" sldId="2147378713"/>
            <ac:spMk id="23" creationId="{AC63DED8-5731-AEB2-36A6-67E86BEB5A06}"/>
          </ac:spMkLst>
        </pc:spChg>
        <pc:spChg chg="add mod">
          <ac:chgData name="丁野 光理" userId="53361c9a-10d0-4268-b39c-a1f4044b33f4" providerId="ADAL" clId="{5FE0A016-0A93-4063-8F08-CD48630E8DBB}" dt="2025-02-06T15:41:32.909" v="9265"/>
          <ac:spMkLst>
            <pc:docMk/>
            <pc:sldMk cId="2848558883" sldId="2147378713"/>
            <ac:spMk id="24" creationId="{CFC44A63-66E8-5CD7-0521-1345E270BA00}"/>
          </ac:spMkLst>
        </pc:spChg>
        <pc:spChg chg="add mod">
          <ac:chgData name="丁野 光理" userId="53361c9a-10d0-4268-b39c-a1f4044b33f4" providerId="ADAL" clId="{5FE0A016-0A93-4063-8F08-CD48630E8DBB}" dt="2025-02-06T15:42:30.448" v="9354"/>
          <ac:spMkLst>
            <pc:docMk/>
            <pc:sldMk cId="2848558883" sldId="2147378713"/>
            <ac:spMk id="25" creationId="{07937947-7B48-7450-CDCD-777D869D6830}"/>
          </ac:spMkLst>
        </pc:spChg>
        <pc:spChg chg="add mod">
          <ac:chgData name="丁野 光理" userId="53361c9a-10d0-4268-b39c-a1f4044b33f4" providerId="ADAL" clId="{5FE0A016-0A93-4063-8F08-CD48630E8DBB}" dt="2025-02-06T15:41:48.911" v="9289"/>
          <ac:spMkLst>
            <pc:docMk/>
            <pc:sldMk cId="2848558883" sldId="2147378713"/>
            <ac:spMk id="26" creationId="{2F6AF554-EDFB-F82C-BFD7-DE574ED43D6D}"/>
          </ac:spMkLst>
        </pc:spChg>
        <pc:spChg chg="add mod">
          <ac:chgData name="丁野 光理" userId="53361c9a-10d0-4268-b39c-a1f4044b33f4" providerId="ADAL" clId="{5FE0A016-0A93-4063-8F08-CD48630E8DBB}" dt="2025-02-06T15:41:57.145" v="9291" actId="1076"/>
          <ac:spMkLst>
            <pc:docMk/>
            <pc:sldMk cId="2848558883" sldId="2147378713"/>
            <ac:spMk id="27" creationId="{D10C4D59-BCEC-32AB-FAB5-DE853C32AF83}"/>
          </ac:spMkLst>
        </pc:spChg>
        <pc:spChg chg="add mod">
          <ac:chgData name="丁野 光理" userId="53361c9a-10d0-4268-b39c-a1f4044b33f4" providerId="ADAL" clId="{5FE0A016-0A93-4063-8F08-CD48630E8DBB}" dt="2025-02-06T15:43:58.183" v="9461" actId="1076"/>
          <ac:spMkLst>
            <pc:docMk/>
            <pc:sldMk cId="2848558883" sldId="2147378713"/>
            <ac:spMk id="28" creationId="{A80A63E8-101E-C7BE-1DA8-BB3E4E888AC9}"/>
          </ac:spMkLst>
        </pc:spChg>
        <pc:spChg chg="add mod">
          <ac:chgData name="丁野 光理" userId="53361c9a-10d0-4268-b39c-a1f4044b33f4" providerId="ADAL" clId="{5FE0A016-0A93-4063-8F08-CD48630E8DBB}" dt="2025-02-06T15:42:25.704" v="9332" actId="1076"/>
          <ac:spMkLst>
            <pc:docMk/>
            <pc:sldMk cId="2848558883" sldId="2147378713"/>
            <ac:spMk id="29" creationId="{4DC9EA2B-70C8-CE8B-702F-2C923A14941C}"/>
          </ac:spMkLst>
        </pc:spChg>
        <pc:spChg chg="add mod">
          <ac:chgData name="丁野 光理" userId="53361c9a-10d0-4268-b39c-a1f4044b33f4" providerId="ADAL" clId="{5FE0A016-0A93-4063-8F08-CD48630E8DBB}" dt="2025-02-06T15:42:55.108" v="9405" actId="1076"/>
          <ac:spMkLst>
            <pc:docMk/>
            <pc:sldMk cId="2848558883" sldId="2147378713"/>
            <ac:spMk id="30" creationId="{15AC59DB-470C-6246-6A5B-408588E4DF75}"/>
          </ac:spMkLst>
        </pc:spChg>
        <pc:spChg chg="add mod">
          <ac:chgData name="丁野 光理" userId="53361c9a-10d0-4268-b39c-a1f4044b33f4" providerId="ADAL" clId="{5FE0A016-0A93-4063-8F08-CD48630E8DBB}" dt="2025-02-06T15:42:51.807" v="9404" actId="1076"/>
          <ac:spMkLst>
            <pc:docMk/>
            <pc:sldMk cId="2848558883" sldId="2147378713"/>
            <ac:spMk id="31" creationId="{D28EA95D-6341-19CA-E53B-79BE26918EA2}"/>
          </ac:spMkLst>
        </pc:spChg>
        <pc:spChg chg="add mod">
          <ac:chgData name="丁野 光理" userId="53361c9a-10d0-4268-b39c-a1f4044b33f4" providerId="ADAL" clId="{5FE0A016-0A93-4063-8F08-CD48630E8DBB}" dt="2025-02-06T15:43:04.510" v="9437"/>
          <ac:spMkLst>
            <pc:docMk/>
            <pc:sldMk cId="2848558883" sldId="2147378713"/>
            <ac:spMk id="32" creationId="{20E73144-A11D-C133-1423-7BCE773C1286}"/>
          </ac:spMkLst>
        </pc:spChg>
        <pc:spChg chg="add mod">
          <ac:chgData name="丁野 光理" userId="53361c9a-10d0-4268-b39c-a1f4044b33f4" providerId="ADAL" clId="{5FE0A016-0A93-4063-8F08-CD48630E8DBB}" dt="2025-02-06T15:43:13.812" v="9440" actId="14100"/>
          <ac:spMkLst>
            <pc:docMk/>
            <pc:sldMk cId="2848558883" sldId="2147378713"/>
            <ac:spMk id="33" creationId="{BB054CD1-4184-7D70-69D3-8CBAF55A4175}"/>
          </ac:spMkLst>
        </pc:spChg>
        <pc:spChg chg="add mod">
          <ac:chgData name="丁野 光理" userId="53361c9a-10d0-4268-b39c-a1f4044b33f4" providerId="ADAL" clId="{5FE0A016-0A93-4063-8F08-CD48630E8DBB}" dt="2025-02-06T15:43:27.343" v="9443" actId="14100"/>
          <ac:spMkLst>
            <pc:docMk/>
            <pc:sldMk cId="2848558883" sldId="2147378713"/>
            <ac:spMk id="34" creationId="{57EBBC6A-CCB1-EB90-5276-3B8DC6664F99}"/>
          </ac:spMkLst>
        </pc:spChg>
        <pc:spChg chg="add mod">
          <ac:chgData name="丁野 光理" userId="53361c9a-10d0-4268-b39c-a1f4044b33f4" providerId="ADAL" clId="{5FE0A016-0A93-4063-8F08-CD48630E8DBB}" dt="2025-02-06T15:43:36.226" v="9449" actId="1076"/>
          <ac:spMkLst>
            <pc:docMk/>
            <pc:sldMk cId="2848558883" sldId="2147378713"/>
            <ac:spMk id="35" creationId="{D0E7E626-9876-56D7-4D65-DFBA3A799233}"/>
          </ac:spMkLst>
        </pc:spChg>
        <pc:spChg chg="add mod">
          <ac:chgData name="丁野 光理" userId="53361c9a-10d0-4268-b39c-a1f4044b33f4" providerId="ADAL" clId="{5FE0A016-0A93-4063-8F08-CD48630E8DBB}" dt="2025-02-06T15:43:33.778" v="9448" actId="1076"/>
          <ac:spMkLst>
            <pc:docMk/>
            <pc:sldMk cId="2848558883" sldId="2147378713"/>
            <ac:spMk id="36" creationId="{7304849B-2D24-E196-8765-CC111C170B10}"/>
          </ac:spMkLst>
        </pc:spChg>
        <pc:spChg chg="add mod">
          <ac:chgData name="丁野 光理" userId="53361c9a-10d0-4268-b39c-a1f4044b33f4" providerId="ADAL" clId="{5FE0A016-0A93-4063-8F08-CD48630E8DBB}" dt="2025-02-06T15:43:31.018" v="9447" actId="1076"/>
          <ac:spMkLst>
            <pc:docMk/>
            <pc:sldMk cId="2848558883" sldId="2147378713"/>
            <ac:spMk id="37" creationId="{B2979A79-5767-E595-00BC-C154FE6FC162}"/>
          </ac:spMkLst>
        </pc:spChg>
        <pc:spChg chg="add mod">
          <ac:chgData name="丁野 光理" userId="53361c9a-10d0-4268-b39c-a1f4044b33f4" providerId="ADAL" clId="{5FE0A016-0A93-4063-8F08-CD48630E8DBB}" dt="2025-02-06T15:43:45.526" v="9455" actId="1076"/>
          <ac:spMkLst>
            <pc:docMk/>
            <pc:sldMk cId="2848558883" sldId="2147378713"/>
            <ac:spMk id="38" creationId="{CA99034F-71F3-EBA0-DBFB-277203A9F25A}"/>
          </ac:spMkLst>
        </pc:spChg>
        <pc:spChg chg="add mod">
          <ac:chgData name="丁野 光理" userId="53361c9a-10d0-4268-b39c-a1f4044b33f4" providerId="ADAL" clId="{5FE0A016-0A93-4063-8F08-CD48630E8DBB}" dt="2025-02-06T15:43:43.394" v="9454" actId="1076"/>
          <ac:spMkLst>
            <pc:docMk/>
            <pc:sldMk cId="2848558883" sldId="2147378713"/>
            <ac:spMk id="39" creationId="{47B976B8-5854-FC8C-BE76-29FE53F8CD8D}"/>
          </ac:spMkLst>
        </pc:spChg>
        <pc:spChg chg="add mod">
          <ac:chgData name="丁野 光理" userId="53361c9a-10d0-4268-b39c-a1f4044b33f4" providerId="ADAL" clId="{5FE0A016-0A93-4063-8F08-CD48630E8DBB}" dt="2025-02-06T15:43:41.404" v="9453" actId="1076"/>
          <ac:spMkLst>
            <pc:docMk/>
            <pc:sldMk cId="2848558883" sldId="2147378713"/>
            <ac:spMk id="40" creationId="{3E775684-8E54-AAF4-F2FD-C3059CD88844}"/>
          </ac:spMkLst>
        </pc:spChg>
        <pc:spChg chg="add mod">
          <ac:chgData name="丁野 光理" userId="53361c9a-10d0-4268-b39c-a1f4044b33f4" providerId="ADAL" clId="{5FE0A016-0A93-4063-8F08-CD48630E8DBB}" dt="2025-02-06T15:43:48.584" v="9457" actId="1076"/>
          <ac:spMkLst>
            <pc:docMk/>
            <pc:sldMk cId="2848558883" sldId="2147378713"/>
            <ac:spMk id="41" creationId="{613709A8-6958-FD46-DC29-4DC38282F35E}"/>
          </ac:spMkLst>
        </pc:spChg>
        <pc:spChg chg="add mod">
          <ac:chgData name="丁野 光理" userId="53361c9a-10d0-4268-b39c-a1f4044b33f4" providerId="ADAL" clId="{5FE0A016-0A93-4063-8F08-CD48630E8DBB}" dt="2025-02-06T15:43:54.390" v="9459" actId="1076"/>
          <ac:spMkLst>
            <pc:docMk/>
            <pc:sldMk cId="2848558883" sldId="2147378713"/>
            <ac:spMk id="42" creationId="{0A9DE8D6-28B1-E795-A32E-286911EF3E75}"/>
          </ac:spMkLst>
        </pc:spChg>
        <pc:spChg chg="add mod">
          <ac:chgData name="丁野 光理" userId="53361c9a-10d0-4268-b39c-a1f4044b33f4" providerId="ADAL" clId="{5FE0A016-0A93-4063-8F08-CD48630E8DBB}" dt="2025-02-06T15:43:54.640" v="9460"/>
          <ac:spMkLst>
            <pc:docMk/>
            <pc:sldMk cId="2848558883" sldId="2147378713"/>
            <ac:spMk id="43" creationId="{A3891C73-48A8-3284-BBF5-E709A5EB507D}"/>
          </ac:spMkLst>
        </pc:spChg>
        <pc:spChg chg="add mod">
          <ac:chgData name="丁野 光理" userId="53361c9a-10d0-4268-b39c-a1f4044b33f4" providerId="ADAL" clId="{5FE0A016-0A93-4063-8F08-CD48630E8DBB}" dt="2025-02-06T15:44:02.431" v="9463" actId="1076"/>
          <ac:spMkLst>
            <pc:docMk/>
            <pc:sldMk cId="2848558883" sldId="2147378713"/>
            <ac:spMk id="44" creationId="{56B1FE61-8765-B41E-97E1-71821D77D11D}"/>
          </ac:spMkLst>
        </pc:spChg>
        <pc:spChg chg="add mod">
          <ac:chgData name="丁野 光理" userId="53361c9a-10d0-4268-b39c-a1f4044b33f4" providerId="ADAL" clId="{5FE0A016-0A93-4063-8F08-CD48630E8DBB}" dt="2025-02-06T15:44:05.367" v="9465" actId="1076"/>
          <ac:spMkLst>
            <pc:docMk/>
            <pc:sldMk cId="2848558883" sldId="2147378713"/>
            <ac:spMk id="45" creationId="{6AB4E816-CB11-35AA-5A71-1E40283D38C1}"/>
          </ac:spMkLst>
        </pc:spChg>
        <pc:spChg chg="add">
          <ac:chgData name="丁野 光理" userId="53361c9a-10d0-4268-b39c-a1f4044b33f4" providerId="ADAL" clId="{5FE0A016-0A93-4063-8F08-CD48630E8DBB}" dt="2025-02-07T01:21:37.680" v="18375" actId="22"/>
          <ac:spMkLst>
            <pc:docMk/>
            <pc:sldMk cId="2848558883" sldId="2147378713"/>
            <ac:spMk id="47" creationId="{6112EF6B-0D9B-1C27-A257-DDA1B2585EC3}"/>
          </ac:spMkLst>
        </pc:spChg>
        <pc:spChg chg="add">
          <ac:chgData name="丁野 光理" userId="53361c9a-10d0-4268-b39c-a1f4044b33f4" providerId="ADAL" clId="{5FE0A016-0A93-4063-8F08-CD48630E8DBB}" dt="2025-02-07T01:21:39.036" v="18376" actId="22"/>
          <ac:spMkLst>
            <pc:docMk/>
            <pc:sldMk cId="2848558883" sldId="2147378713"/>
            <ac:spMk id="49" creationId="{70638649-A132-E070-8B0B-BCD9CE1380AC}"/>
          </ac:spMkLst>
        </pc:spChg>
        <pc:spChg chg="add">
          <ac:chgData name="丁野 光理" userId="53361c9a-10d0-4268-b39c-a1f4044b33f4" providerId="ADAL" clId="{5FE0A016-0A93-4063-8F08-CD48630E8DBB}" dt="2025-02-07T01:21:40.668" v="18377" actId="22"/>
          <ac:spMkLst>
            <pc:docMk/>
            <pc:sldMk cId="2848558883" sldId="2147378713"/>
            <ac:spMk id="51" creationId="{043C0BE9-E83F-1E13-1256-F9126DC7516B}"/>
          </ac:spMkLst>
        </pc:spChg>
        <pc:graphicFrameChg chg="add mod modGraphic">
          <ac:chgData name="丁野 光理" userId="53361c9a-10d0-4268-b39c-a1f4044b33f4" providerId="ADAL" clId="{5FE0A016-0A93-4063-8F08-CD48630E8DBB}" dt="2025-02-06T15:34:16.746" v="8935" actId="1076"/>
          <ac:graphicFrameMkLst>
            <pc:docMk/>
            <pc:sldMk cId="2848558883" sldId="2147378713"/>
            <ac:graphicFrameMk id="2" creationId="{6E528808-E1DF-11C3-55C9-83EB5CBB52C8}"/>
          </ac:graphicFrameMkLst>
        </pc:graphicFrame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7T10:22:42.603" v="22922"/>
              <pc2:cmMkLst xmlns:pc2="http://schemas.microsoft.com/office/powerpoint/2019/9/main/command">
                <pc:docMk/>
                <pc:sldMk cId="2848558883" sldId="2147378713"/>
                <pc2:cmMk id="{23F7B8DB-7C63-4858-99AA-7F159A9B9412}"/>
              </pc2:cmMkLst>
            </pc226:cmChg>
          </p:ext>
        </pc:extLst>
      </pc:sldChg>
      <pc:sldChg chg="delSp modSp add del mod ord modShow">
        <pc:chgData name="丁野 光理" userId="53361c9a-10d0-4268-b39c-a1f4044b33f4" providerId="ADAL" clId="{5FE0A016-0A93-4063-8F08-CD48630E8DBB}" dt="2025-02-07T10:26:07.280" v="22943" actId="47"/>
        <pc:sldMkLst>
          <pc:docMk/>
          <pc:sldMk cId="3334367261" sldId="2147378714"/>
        </pc:sldMkLst>
        <pc:spChg chg="del">
          <ac:chgData name="丁野 光理" userId="53361c9a-10d0-4268-b39c-a1f4044b33f4" providerId="ADAL" clId="{5FE0A016-0A93-4063-8F08-CD48630E8DBB}" dt="2025-01-29T13:07:21.848" v="133" actId="478"/>
          <ac:spMkLst>
            <pc:docMk/>
            <pc:sldMk cId="3334367261" sldId="2147378714"/>
            <ac:spMk id="4" creationId="{2D9DF4BF-A6B4-F174-8EB6-98CC10E01A36}"/>
          </ac:spMkLst>
        </pc:spChg>
        <pc:spChg chg="mod">
          <ac:chgData name="丁野 光理" userId="53361c9a-10d0-4268-b39c-a1f4044b33f4" providerId="ADAL" clId="{5FE0A016-0A93-4063-8F08-CD48630E8DBB}" dt="2025-01-31T01:54:19.163" v="363" actId="20577"/>
          <ac:spMkLst>
            <pc:docMk/>
            <pc:sldMk cId="3334367261" sldId="2147378714"/>
            <ac:spMk id="8" creationId="{E5452BB1-3ED0-4261-B76D-A910259B86CD}"/>
          </ac:spMkLst>
        </pc:spChg>
      </pc:sldChg>
      <pc:sldChg chg="addSp delSp modSp del mod">
        <pc:chgData name="丁野 光理" userId="53361c9a-10d0-4268-b39c-a1f4044b33f4" providerId="ADAL" clId="{5FE0A016-0A93-4063-8F08-CD48630E8DBB}" dt="2025-02-06T15:25:20.336" v="8077" actId="47"/>
        <pc:sldMkLst>
          <pc:docMk/>
          <pc:sldMk cId="89963991" sldId="2147378715"/>
        </pc:sldMkLst>
        <pc:spChg chg="add mod">
          <ac:chgData name="丁野 光理" userId="53361c9a-10d0-4268-b39c-a1f4044b33f4" providerId="ADAL" clId="{5FE0A016-0A93-4063-8F08-CD48630E8DBB}" dt="2025-01-31T12:40:32.582" v="530"/>
          <ac:spMkLst>
            <pc:docMk/>
            <pc:sldMk cId="89963991" sldId="2147378715"/>
            <ac:spMk id="3" creationId="{564B8093-4C76-84FC-9FFB-6B5460E1262B}"/>
          </ac:spMkLst>
        </pc:spChg>
        <pc:spChg chg="del">
          <ac:chgData name="丁野 光理" userId="53361c9a-10d0-4268-b39c-a1f4044b33f4" providerId="ADAL" clId="{5FE0A016-0A93-4063-8F08-CD48630E8DBB}" dt="2025-01-29T13:06:14.209" v="121" actId="478"/>
          <ac:spMkLst>
            <pc:docMk/>
            <pc:sldMk cId="89963991" sldId="2147378715"/>
            <ac:spMk id="4" creationId="{9986CF63-9F4F-EEC8-16B1-03EAAE162369}"/>
          </ac:spMkLst>
        </pc:spChg>
      </pc:sldChg>
      <pc:sldChg chg="addSp delSp modSp mod ord">
        <pc:chgData name="丁野 光理" userId="53361c9a-10d0-4268-b39c-a1f4044b33f4" providerId="ADAL" clId="{5FE0A016-0A93-4063-8F08-CD48630E8DBB}" dt="2025-02-07T11:29:26.377" v="24612" actId="20577"/>
        <pc:sldMkLst>
          <pc:docMk/>
          <pc:sldMk cId="1575785639" sldId="2147378716"/>
        </pc:sldMkLst>
        <pc:spChg chg="add mod">
          <ac:chgData name="丁野 光理" userId="53361c9a-10d0-4268-b39c-a1f4044b33f4" providerId="ADAL" clId="{5FE0A016-0A93-4063-8F08-CD48630E8DBB}" dt="2025-01-31T12:40:29.263" v="529"/>
          <ac:spMkLst>
            <pc:docMk/>
            <pc:sldMk cId="1575785639" sldId="2147378716"/>
            <ac:spMk id="3" creationId="{6D8BE3DE-8ABE-633A-41E7-260D52926EB8}"/>
          </ac:spMkLst>
        </pc:spChg>
        <pc:spChg chg="del mod">
          <ac:chgData name="丁野 光理" userId="53361c9a-10d0-4268-b39c-a1f4044b33f4" providerId="ADAL" clId="{5FE0A016-0A93-4063-8F08-CD48630E8DBB}" dt="2025-01-29T13:06:11.889" v="120" actId="478"/>
          <ac:spMkLst>
            <pc:docMk/>
            <pc:sldMk cId="1575785639" sldId="2147378716"/>
            <ac:spMk id="4" creationId="{9986CF63-9F4F-EEC8-16B1-03EAAE162369}"/>
          </ac:spMkLst>
        </pc:spChg>
        <pc:spChg chg="mod">
          <ac:chgData name="丁野 光理" userId="53361c9a-10d0-4268-b39c-a1f4044b33f4" providerId="ADAL" clId="{5FE0A016-0A93-4063-8F08-CD48630E8DBB}" dt="2025-02-07T11:29:26.377" v="24612" actId="20577"/>
          <ac:spMkLst>
            <pc:docMk/>
            <pc:sldMk cId="1575785639" sldId="2147378716"/>
            <ac:spMk id="9" creationId="{F7DA7227-3724-60C8-1F06-5A8A2F4AF1F8}"/>
          </ac:spMkLst>
        </pc:spChg>
      </pc:sldChg>
      <pc:sldChg chg="addSp delSp modSp mod ord">
        <pc:chgData name="丁野 光理" userId="53361c9a-10d0-4268-b39c-a1f4044b33f4" providerId="ADAL" clId="{5FE0A016-0A93-4063-8F08-CD48630E8DBB}" dt="2025-02-07T11:27:22.756" v="24596" actId="20577"/>
        <pc:sldMkLst>
          <pc:docMk/>
          <pc:sldMk cId="1334307493" sldId="2147378717"/>
        </pc:sldMkLst>
        <pc:spChg chg="mod">
          <ac:chgData name="丁野 光理" userId="53361c9a-10d0-4268-b39c-a1f4044b33f4" providerId="ADAL" clId="{5FE0A016-0A93-4063-8F08-CD48630E8DBB}" dt="2025-02-06T16:02:57.650" v="10755"/>
          <ac:spMkLst>
            <pc:docMk/>
            <pc:sldMk cId="1334307493" sldId="2147378717"/>
            <ac:spMk id="3" creationId="{417A18CA-0059-03EF-FE57-D2DBA870D210}"/>
          </ac:spMkLst>
        </pc:spChg>
        <pc:spChg chg="mod">
          <ac:chgData name="丁野 光理" userId="53361c9a-10d0-4268-b39c-a1f4044b33f4" providerId="ADAL" clId="{5FE0A016-0A93-4063-8F08-CD48630E8DBB}" dt="2025-02-07T11:27:22.756" v="24596" actId="20577"/>
          <ac:spMkLst>
            <pc:docMk/>
            <pc:sldMk cId="1334307493" sldId="2147378717"/>
            <ac:spMk id="4" creationId="{4F1B8C31-A2AA-E8B5-6842-B8CA68666E37}"/>
          </ac:spMkLst>
        </pc:spChg>
        <pc:spChg chg="add mod">
          <ac:chgData name="丁野 光理" userId="53361c9a-10d0-4268-b39c-a1f4044b33f4" providerId="ADAL" clId="{5FE0A016-0A93-4063-8F08-CD48630E8DBB}" dt="2025-02-07T01:14:20.852" v="18079" actId="1076"/>
          <ac:spMkLst>
            <pc:docMk/>
            <pc:sldMk cId="1334307493" sldId="2147378717"/>
            <ac:spMk id="5" creationId="{21EA35D0-DCC8-BFE4-AD90-F5D44368584E}"/>
          </ac:spMkLst>
        </pc:spChg>
        <pc:spChg chg="del">
          <ac:chgData name="丁野 光理" userId="53361c9a-10d0-4268-b39c-a1f4044b33f4" providerId="ADAL" clId="{5FE0A016-0A93-4063-8F08-CD48630E8DBB}" dt="2025-01-29T13:05:31.173" v="25" actId="478"/>
          <ac:spMkLst>
            <pc:docMk/>
            <pc:sldMk cId="1334307493" sldId="2147378717"/>
            <ac:spMk id="13" creationId="{ED88E5C2-1CEC-3507-1A41-A32A9F740D09}"/>
          </ac:spMkLst>
        </pc:spChg>
        <pc:graphicFrameChg chg="mod modGraphic">
          <ac:chgData name="丁野 光理" userId="53361c9a-10d0-4268-b39c-a1f4044b33f4" providerId="ADAL" clId="{5FE0A016-0A93-4063-8F08-CD48630E8DBB}" dt="2025-02-07T01:14:18.195" v="18078"/>
          <ac:graphicFrameMkLst>
            <pc:docMk/>
            <pc:sldMk cId="1334307493" sldId="2147378717"/>
            <ac:graphicFrameMk id="8" creationId="{1E5897B3-2F6F-760C-55F3-ADE995C99D64}"/>
          </ac:graphicFrameMkLst>
        </pc:graphicFrameChg>
      </pc:sldChg>
      <pc:sldChg chg="delSp modSp mod addCm delCm modCm">
        <pc:chgData name="丁野 光理" userId="53361c9a-10d0-4268-b39c-a1f4044b33f4" providerId="ADAL" clId="{5FE0A016-0A93-4063-8F08-CD48630E8DBB}" dt="2025-02-06T14:11:48.655" v="3828"/>
        <pc:sldMkLst>
          <pc:docMk/>
          <pc:sldMk cId="2574112575" sldId="2147378718"/>
        </pc:sldMkLst>
        <pc:spChg chg="mod">
          <ac:chgData name="丁野 光理" userId="53361c9a-10d0-4268-b39c-a1f4044b33f4" providerId="ADAL" clId="{5FE0A016-0A93-4063-8F08-CD48630E8DBB}" dt="2025-02-06T13:17:39.550" v="2560"/>
          <ac:spMkLst>
            <pc:docMk/>
            <pc:sldMk cId="2574112575" sldId="2147378718"/>
            <ac:spMk id="3" creationId="{3889FB1B-DE63-B6FC-8D02-5D400D923577}"/>
          </ac:spMkLst>
        </pc:spChg>
        <pc:spChg chg="del">
          <ac:chgData name="丁野 光理" userId="53361c9a-10d0-4268-b39c-a1f4044b33f4" providerId="ADAL" clId="{5FE0A016-0A93-4063-8F08-CD48630E8DBB}" dt="2025-01-29T13:05:24.747" v="23" actId="478"/>
          <ac:spMkLst>
            <pc:docMk/>
            <pc:sldMk cId="2574112575" sldId="2147378718"/>
            <ac:spMk id="7" creationId="{91D9460F-1390-32F5-1B0E-70693C6D1EFA}"/>
          </ac:spMkLst>
        </pc:spChg>
        <pc:graphicFrameChg chg="modGraphic">
          <ac:chgData name="丁野 光理" userId="53361c9a-10d0-4268-b39c-a1f4044b33f4" providerId="ADAL" clId="{5FE0A016-0A93-4063-8F08-CD48630E8DBB}" dt="2025-02-06T14:11:43.787" v="3826" actId="2162"/>
          <ac:graphicFrameMkLst>
            <pc:docMk/>
            <pc:sldMk cId="2574112575" sldId="2147378718"/>
            <ac:graphicFrameMk id="6" creationId="{D49F8818-13D5-031F-17C9-B075602B9F36}"/>
          </ac:graphicFrameMkLst>
        </pc:graphicFrameChg>
        <pc:extLst>
          <p:ext xmlns:p="http://schemas.openxmlformats.org/presentationml/2006/main" uri="{D6D511B9-2390-475A-947B-AFAB55BFBCF1}">
            <pc226:cmChg xmlns:pc226="http://schemas.microsoft.com/office/powerpoint/2022/06/main/command" chg="add del mod">
              <pc226:chgData name="丁野 光理" userId="53361c9a-10d0-4268-b39c-a1f4044b33f4" providerId="ADAL" clId="{5FE0A016-0A93-4063-8F08-CD48630E8DBB}" dt="2025-02-06T14:11:48.655" v="3828"/>
              <pc2:cmMkLst xmlns:pc2="http://schemas.microsoft.com/office/powerpoint/2019/9/main/command">
                <pc:docMk/>
                <pc:sldMk cId="2574112575" sldId="2147378718"/>
                <pc2:cmMk id="{7F79AFD5-0B14-480D-9BF6-5553745FBADC}"/>
              </pc2:cmMkLst>
            </pc226:cmChg>
          </p:ext>
        </pc:extLst>
      </pc:sldChg>
      <pc:sldChg chg="delSp modSp mod">
        <pc:chgData name="丁野 光理" userId="53361c9a-10d0-4268-b39c-a1f4044b33f4" providerId="ADAL" clId="{5FE0A016-0A93-4063-8F08-CD48630E8DBB}" dt="2025-02-06T13:17:56.752" v="2566"/>
        <pc:sldMkLst>
          <pc:docMk/>
          <pc:sldMk cId="2029142166" sldId="2147378719"/>
        </pc:sldMkLst>
        <pc:spChg chg="mod">
          <ac:chgData name="丁野 光理" userId="53361c9a-10d0-4268-b39c-a1f4044b33f4" providerId="ADAL" clId="{5FE0A016-0A93-4063-8F08-CD48630E8DBB}" dt="2025-02-06T13:17:56.752" v="2566"/>
          <ac:spMkLst>
            <pc:docMk/>
            <pc:sldMk cId="2029142166" sldId="2147378719"/>
            <ac:spMk id="3" creationId="{177281CC-1855-F2DB-EAE1-E4C54E0FD7E5}"/>
          </ac:spMkLst>
        </pc:spChg>
        <pc:spChg chg="del mod">
          <ac:chgData name="丁野 光理" userId="53361c9a-10d0-4268-b39c-a1f4044b33f4" providerId="ADAL" clId="{5FE0A016-0A93-4063-8F08-CD48630E8DBB}" dt="2025-01-29T13:05:17.074" v="21" actId="478"/>
          <ac:spMkLst>
            <pc:docMk/>
            <pc:sldMk cId="2029142166" sldId="2147378719"/>
            <ac:spMk id="7" creationId="{788BF72B-2A40-D353-4A4A-032265572BA3}"/>
          </ac:spMkLst>
        </pc:spChg>
        <pc:spChg chg="del">
          <ac:chgData name="丁野 光理" userId="53361c9a-10d0-4268-b39c-a1f4044b33f4" providerId="ADAL" clId="{5FE0A016-0A93-4063-8F08-CD48630E8DBB}" dt="2025-02-06T08:15:27.310" v="1291" actId="478"/>
          <ac:spMkLst>
            <pc:docMk/>
            <pc:sldMk cId="2029142166" sldId="2147378719"/>
            <ac:spMk id="9" creationId="{F379F7F6-3A51-99E9-07DA-86E13F5C283A}"/>
          </ac:spMkLst>
        </pc:spChg>
      </pc:sldChg>
      <pc:sldChg chg="addSp delSp modSp mod addCm delCm">
        <pc:chgData name="丁野 光理" userId="53361c9a-10d0-4268-b39c-a1f4044b33f4" providerId="ADAL" clId="{5FE0A016-0A93-4063-8F08-CD48630E8DBB}" dt="2025-02-07T10:26:02.437" v="22942"/>
        <pc:sldMkLst>
          <pc:docMk/>
          <pc:sldMk cId="1590769032" sldId="2147378721"/>
        </pc:sldMkLst>
        <pc:spChg chg="add mod">
          <ac:chgData name="丁野 光理" userId="53361c9a-10d0-4268-b39c-a1f4044b33f4" providerId="ADAL" clId="{5FE0A016-0A93-4063-8F08-CD48630E8DBB}" dt="2025-02-06T08:14:51.175" v="1288"/>
          <ac:spMkLst>
            <pc:docMk/>
            <pc:sldMk cId="1590769032" sldId="2147378721"/>
            <ac:spMk id="2" creationId="{E565772E-5CBB-663B-1A9B-A0EA8AF57C37}"/>
          </ac:spMkLst>
        </pc:spChg>
        <pc:spChg chg="mod">
          <ac:chgData name="丁野 光理" userId="53361c9a-10d0-4268-b39c-a1f4044b33f4" providerId="ADAL" clId="{5FE0A016-0A93-4063-8F08-CD48630E8DBB}" dt="2025-02-06T13:17:53.285" v="2565"/>
          <ac:spMkLst>
            <pc:docMk/>
            <pc:sldMk cId="1590769032" sldId="2147378721"/>
            <ac:spMk id="3" creationId="{177281CC-1855-F2DB-EAE1-E4C54E0FD7E5}"/>
          </ac:spMkLst>
        </pc:spChg>
        <pc:spChg chg="add del mod">
          <ac:chgData name="丁野 光理" userId="53361c9a-10d0-4268-b39c-a1f4044b33f4" providerId="ADAL" clId="{5FE0A016-0A93-4063-8F08-CD48630E8DBB}" dt="2025-02-06T08:14:35.061" v="1265" actId="478"/>
          <ac:spMkLst>
            <pc:docMk/>
            <pc:sldMk cId="1590769032" sldId="2147378721"/>
            <ac:spMk id="6" creationId="{72E123AE-485B-1180-D6A7-1FE200F06A9B}"/>
          </ac:spMkLst>
        </pc:spChg>
        <pc:spChg chg="del">
          <ac:chgData name="丁野 光理" userId="53361c9a-10d0-4268-b39c-a1f4044b33f4" providerId="ADAL" clId="{5FE0A016-0A93-4063-8F08-CD48630E8DBB}" dt="2025-01-29T13:05:13.774" v="20" actId="478"/>
          <ac:spMkLst>
            <pc:docMk/>
            <pc:sldMk cId="1590769032" sldId="2147378721"/>
            <ac:spMk id="8" creationId="{1F7B5859-1E66-F963-5C70-1C8AFDBB7C58}"/>
          </ac:spMkLst>
        </pc:spChg>
        <pc:spChg chg="add mod">
          <ac:chgData name="丁野 光理" userId="53361c9a-10d0-4268-b39c-a1f4044b33f4" providerId="ADAL" clId="{5FE0A016-0A93-4063-8F08-CD48630E8DBB}" dt="2025-02-06T13:52:30.163" v="3584"/>
          <ac:spMkLst>
            <pc:docMk/>
            <pc:sldMk cId="1590769032" sldId="2147378721"/>
            <ac:spMk id="8" creationId="{C7306795-FA4C-4798-C6D2-630820907D06}"/>
          </ac:spMkLst>
        </pc:spChg>
        <pc:spChg chg="del mod">
          <ac:chgData name="丁野 光理" userId="53361c9a-10d0-4268-b39c-a1f4044b33f4" providerId="ADAL" clId="{5FE0A016-0A93-4063-8F08-CD48630E8DBB}" dt="2025-01-31T12:42:11.418" v="597" actId="478"/>
          <ac:spMkLst>
            <pc:docMk/>
            <pc:sldMk cId="1590769032" sldId="2147378721"/>
            <ac:spMk id="9" creationId="{F379F7F6-3A51-99E9-07DA-86E13F5C283A}"/>
          </ac:spMkLst>
        </pc:spChg>
        <pc:graphicFrameChg chg="mod modGraphic">
          <ac:chgData name="丁野 光理" userId="53361c9a-10d0-4268-b39c-a1f4044b33f4" providerId="ADAL" clId="{5FE0A016-0A93-4063-8F08-CD48630E8DBB}" dt="2025-02-06T14:09:56.233" v="3822" actId="2161"/>
          <ac:graphicFrameMkLst>
            <pc:docMk/>
            <pc:sldMk cId="1590769032" sldId="2147378721"/>
            <ac:graphicFrameMk id="7" creationId="{D27285E1-CFEC-7133-4B2F-3A60A9DA58C6}"/>
          </ac:graphicFrameMkLst>
        </pc:graphicFrameChg>
        <pc:extLst>
          <p:ext xmlns:p="http://schemas.openxmlformats.org/presentationml/2006/main" uri="{D6D511B9-2390-475A-947B-AFAB55BFBCF1}">
            <pc226:cmChg xmlns:pc226="http://schemas.microsoft.com/office/powerpoint/2022/06/main/command" chg="add del">
              <pc226:chgData name="丁野 光理" userId="53361c9a-10d0-4268-b39c-a1f4044b33f4" providerId="ADAL" clId="{5FE0A016-0A93-4063-8F08-CD48630E8DBB}" dt="2025-02-07T10:26:02.437" v="22942"/>
              <pc2:cmMkLst xmlns:pc2="http://schemas.microsoft.com/office/powerpoint/2019/9/main/command">
                <pc:docMk/>
                <pc:sldMk cId="1590769032" sldId="2147378721"/>
                <pc2:cmMk id="{01AB7CAF-180E-4420-AC2C-8FDDC4C13595}"/>
              </pc2:cmMkLst>
            </pc226:cmChg>
          </p:ext>
        </pc:extLst>
      </pc:sldChg>
      <pc:sldChg chg="modSp add del mod">
        <pc:chgData name="丁野 光理" userId="53361c9a-10d0-4268-b39c-a1f4044b33f4" providerId="ADAL" clId="{5FE0A016-0A93-4063-8F08-CD48630E8DBB}" dt="2025-02-07T01:21:36.107" v="18374" actId="47"/>
        <pc:sldMkLst>
          <pc:docMk/>
          <pc:sldMk cId="3448258732" sldId="2147378722"/>
        </pc:sldMkLst>
        <pc:spChg chg="mod">
          <ac:chgData name="丁野 光理" userId="53361c9a-10d0-4268-b39c-a1f4044b33f4" providerId="ADAL" clId="{5FE0A016-0A93-4063-8F08-CD48630E8DBB}" dt="2025-02-05T11:26:27.635" v="804" actId="14100"/>
          <ac:spMkLst>
            <pc:docMk/>
            <pc:sldMk cId="3448258732" sldId="2147378722"/>
            <ac:spMk id="9" creationId="{67FD600D-F712-D335-9DCD-5DDA57077E60}"/>
          </ac:spMkLst>
        </pc:spChg>
      </pc:sldChg>
      <pc:sldChg chg="modSp add del mod">
        <pc:chgData name="丁野 光理" userId="53361c9a-10d0-4268-b39c-a1f4044b33f4" providerId="ADAL" clId="{5FE0A016-0A93-4063-8F08-CD48630E8DBB}" dt="2025-02-07T01:21:50.041" v="18379" actId="47"/>
        <pc:sldMkLst>
          <pc:docMk/>
          <pc:sldMk cId="1353841146" sldId="2147378723"/>
        </pc:sldMkLst>
        <pc:spChg chg="mod">
          <ac:chgData name="丁野 光理" userId="53361c9a-10d0-4268-b39c-a1f4044b33f4" providerId="ADAL" clId="{5FE0A016-0A93-4063-8F08-CD48630E8DBB}" dt="2025-02-05T11:26:49.880" v="809" actId="1076"/>
          <ac:spMkLst>
            <pc:docMk/>
            <pc:sldMk cId="1353841146" sldId="2147378723"/>
            <ac:spMk id="9" creationId="{67FD600D-F712-D335-9DCD-5DDA57077E60}"/>
          </ac:spMkLst>
        </pc:spChg>
      </pc:sldChg>
      <pc:sldChg chg="modSp add del mod">
        <pc:chgData name="丁野 光理" userId="53361c9a-10d0-4268-b39c-a1f4044b33f4" providerId="ADAL" clId="{5FE0A016-0A93-4063-8F08-CD48630E8DBB}" dt="2025-02-07T01:22:02.120" v="18384" actId="47"/>
        <pc:sldMkLst>
          <pc:docMk/>
          <pc:sldMk cId="3748599133" sldId="2147378724"/>
        </pc:sldMkLst>
        <pc:spChg chg="mod">
          <ac:chgData name="丁野 光理" userId="53361c9a-10d0-4268-b39c-a1f4044b33f4" providerId="ADAL" clId="{5FE0A016-0A93-4063-8F08-CD48630E8DBB}" dt="2025-02-05T11:27:10.379" v="815" actId="1076"/>
          <ac:spMkLst>
            <pc:docMk/>
            <pc:sldMk cId="3748599133" sldId="2147378724"/>
            <ac:spMk id="9" creationId="{67FD600D-F712-D335-9DCD-5DDA57077E60}"/>
          </ac:spMkLst>
        </pc:spChg>
        <pc:spChg chg="mod">
          <ac:chgData name="丁野 光理" userId="53361c9a-10d0-4268-b39c-a1f4044b33f4" providerId="ADAL" clId="{5FE0A016-0A93-4063-8F08-CD48630E8DBB}" dt="2025-02-05T11:27:06.028" v="814" actId="1076"/>
          <ac:spMkLst>
            <pc:docMk/>
            <pc:sldMk cId="3748599133" sldId="2147378724"/>
            <ac:spMk id="10" creationId="{80E6EF29-A9F8-46B2-8DDE-5092A65E485F}"/>
          </ac:spMkLst>
        </pc:spChg>
      </pc:sldChg>
      <pc:sldChg chg="del">
        <pc:chgData name="丁野 光理" userId="53361c9a-10d0-4268-b39c-a1f4044b33f4" providerId="ADAL" clId="{5FE0A016-0A93-4063-8F08-CD48630E8DBB}" dt="2025-02-06T15:05:48.116" v="7659" actId="47"/>
        <pc:sldMkLst>
          <pc:docMk/>
          <pc:sldMk cId="2274346092" sldId="2147378725"/>
        </pc:sldMkLst>
      </pc:sldChg>
      <pc:sldChg chg="del ord">
        <pc:chgData name="丁野 光理" userId="53361c9a-10d0-4268-b39c-a1f4044b33f4" providerId="ADAL" clId="{5FE0A016-0A93-4063-8F08-CD48630E8DBB}" dt="2025-02-06T15:11:53.717" v="7903" actId="47"/>
        <pc:sldMkLst>
          <pc:docMk/>
          <pc:sldMk cId="684831738" sldId="2147378726"/>
        </pc:sldMkLst>
      </pc:sldChg>
      <pc:sldChg chg="add del">
        <pc:chgData name="丁野 光理" userId="53361c9a-10d0-4268-b39c-a1f4044b33f4" providerId="ADAL" clId="{5FE0A016-0A93-4063-8F08-CD48630E8DBB}" dt="2025-02-06T13:11:44.910" v="2507" actId="47"/>
        <pc:sldMkLst>
          <pc:docMk/>
          <pc:sldMk cId="1240128556" sldId="2147378726"/>
        </pc:sldMkLst>
      </pc:sldChg>
      <pc:sldChg chg="modSp add mod delCm">
        <pc:chgData name="丁野 光理" userId="53361c9a-10d0-4268-b39c-a1f4044b33f4" providerId="ADAL" clId="{5FE0A016-0A93-4063-8F08-CD48630E8DBB}" dt="2025-02-07T10:22:48.221" v="22924"/>
        <pc:sldMkLst>
          <pc:docMk/>
          <pc:sldMk cId="2425091294" sldId="2147378727"/>
        </pc:sldMkLst>
        <pc:spChg chg="mod">
          <ac:chgData name="丁野 光理" userId="53361c9a-10d0-4268-b39c-a1f4044b33f4" providerId="ADAL" clId="{5FE0A016-0A93-4063-8F08-CD48630E8DBB}" dt="2025-02-06T15:05:08.384" v="7586"/>
          <ac:spMkLst>
            <pc:docMk/>
            <pc:sldMk cId="2425091294" sldId="2147378727"/>
            <ac:spMk id="2" creationId="{BDE63369-EA7E-4802-A4A3-D4010A333C66}"/>
          </ac:spMkLst>
        </pc:spChg>
        <pc:spChg chg="mod">
          <ac:chgData name="丁野 光理" userId="53361c9a-10d0-4268-b39c-a1f4044b33f4" providerId="ADAL" clId="{5FE0A016-0A93-4063-8F08-CD48630E8DBB}" dt="2025-02-06T15:05:30.377" v="7658" actId="20577"/>
          <ac:spMkLst>
            <pc:docMk/>
            <pc:sldMk cId="2425091294" sldId="2147378727"/>
            <ac:spMk id="6" creationId="{95B7D5A6-3733-419F-5F47-1323A3D8D852}"/>
          </ac:spMkLst>
        </pc:spChg>
        <pc:spChg chg="mod">
          <ac:chgData name="丁野 光理" userId="53361c9a-10d0-4268-b39c-a1f4044b33f4" providerId="ADAL" clId="{5FE0A016-0A93-4063-8F08-CD48630E8DBB}" dt="2025-02-06T15:04:50.767" v="7531"/>
          <ac:spMkLst>
            <pc:docMk/>
            <pc:sldMk cId="2425091294" sldId="2147378727"/>
            <ac:spMk id="9" creationId="{D22A0A06-D5A8-4A1A-B66F-2A8EDBD644F1}"/>
          </ac:spMkLst>
        </pc:spChg>
        <pc:spChg chg="mod">
          <ac:chgData name="丁野 光理" userId="53361c9a-10d0-4268-b39c-a1f4044b33f4" providerId="ADAL" clId="{5FE0A016-0A93-4063-8F08-CD48630E8DBB}" dt="2025-02-07T01:24:22.950" v="18420" actId="20577"/>
          <ac:spMkLst>
            <pc:docMk/>
            <pc:sldMk cId="2425091294" sldId="2147378727"/>
            <ac:spMk id="12" creationId="{0885EF34-1A86-AA39-1A1A-5F99ABF6B7EF}"/>
          </ac:spMkLst>
        </pc:spChg>
        <pc:spChg chg="mod">
          <ac:chgData name="丁野 光理" userId="53361c9a-10d0-4268-b39c-a1f4044b33f4" providerId="ADAL" clId="{5FE0A016-0A93-4063-8F08-CD48630E8DBB}" dt="2025-02-06T15:04:07.426" v="7487" actId="1076"/>
          <ac:spMkLst>
            <pc:docMk/>
            <pc:sldMk cId="2425091294" sldId="2147378727"/>
            <ac:spMk id="53" creationId="{600AE28E-2F7C-E1F6-5796-97DD1A8A0830}"/>
          </ac:spMkLst>
        </pc:sp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7T10:22:46.941" v="22923"/>
              <pc2:cmMkLst xmlns:pc2="http://schemas.microsoft.com/office/powerpoint/2019/9/main/command">
                <pc:docMk/>
                <pc:sldMk cId="2425091294" sldId="2147378727"/>
                <pc2:cmMk id="{0BFBE9B0-0CD3-4A65-BF3B-37E7D3B6C62C}"/>
              </pc2:cmMkLst>
            </pc226:cmChg>
            <pc226:cmChg xmlns:pc226="http://schemas.microsoft.com/office/powerpoint/2022/06/main/command" chg="del">
              <pc226:chgData name="丁野 光理" userId="53361c9a-10d0-4268-b39c-a1f4044b33f4" providerId="ADAL" clId="{5FE0A016-0A93-4063-8F08-CD48630E8DBB}" dt="2025-02-07T10:22:48.221" v="22924"/>
              <pc2:cmMkLst xmlns:pc2="http://schemas.microsoft.com/office/powerpoint/2019/9/main/command">
                <pc:docMk/>
                <pc:sldMk cId="2425091294" sldId="2147378727"/>
                <pc2:cmMk id="{2C5BFDD4-68F9-4ACA-817A-D5AF1EDEBA17}"/>
              </pc2:cmMkLst>
            </pc226:cmChg>
          </p:ext>
        </pc:extLst>
      </pc:sldChg>
      <pc:sldChg chg="modSp add mod">
        <pc:chgData name="丁野 光理" userId="53361c9a-10d0-4268-b39c-a1f4044b33f4" providerId="ADAL" clId="{5FE0A016-0A93-4063-8F08-CD48630E8DBB}" dt="2025-02-06T15:07:13.050" v="7753"/>
        <pc:sldMkLst>
          <pc:docMk/>
          <pc:sldMk cId="1108136930" sldId="2147378728"/>
        </pc:sldMkLst>
        <pc:spChg chg="mod">
          <ac:chgData name="丁野 光理" userId="53361c9a-10d0-4268-b39c-a1f4044b33f4" providerId="ADAL" clId="{5FE0A016-0A93-4063-8F08-CD48630E8DBB}" dt="2025-02-06T15:07:13.050" v="7753"/>
          <ac:spMkLst>
            <pc:docMk/>
            <pc:sldMk cId="1108136930" sldId="2147378728"/>
            <ac:spMk id="6" creationId="{06F06DD2-9B90-695B-AD25-50F75DE8988B}"/>
          </ac:spMkLst>
        </pc:spChg>
      </pc:sldChg>
      <pc:sldChg chg="modSp add mod">
        <pc:chgData name="丁野 光理" userId="53361c9a-10d0-4268-b39c-a1f4044b33f4" providerId="ADAL" clId="{5FE0A016-0A93-4063-8F08-CD48630E8DBB}" dt="2025-02-06T15:07:22.195" v="7754"/>
        <pc:sldMkLst>
          <pc:docMk/>
          <pc:sldMk cId="2933890016" sldId="2147378729"/>
        </pc:sldMkLst>
        <pc:spChg chg="mod">
          <ac:chgData name="丁野 光理" userId="53361c9a-10d0-4268-b39c-a1f4044b33f4" providerId="ADAL" clId="{5FE0A016-0A93-4063-8F08-CD48630E8DBB}" dt="2025-02-06T15:07:22.195" v="7754"/>
          <ac:spMkLst>
            <pc:docMk/>
            <pc:sldMk cId="2933890016" sldId="2147378729"/>
            <ac:spMk id="6" creationId="{06F06DD2-9B90-695B-AD25-50F75DE8988B}"/>
          </ac:spMkLst>
        </pc:spChg>
      </pc:sldChg>
      <pc:sldChg chg="addSp delSp modSp add mod delCm">
        <pc:chgData name="丁野 光理" userId="53361c9a-10d0-4268-b39c-a1f4044b33f4" providerId="ADAL" clId="{5FE0A016-0A93-4063-8F08-CD48630E8DBB}" dt="2025-02-07T10:23:07.982" v="22928"/>
        <pc:sldMkLst>
          <pc:docMk/>
          <pc:sldMk cId="2433251148" sldId="2147378730"/>
        </pc:sldMkLst>
        <pc:spChg chg="del">
          <ac:chgData name="丁野 光理" userId="53361c9a-10d0-4268-b39c-a1f4044b33f4" providerId="ADAL" clId="{5FE0A016-0A93-4063-8F08-CD48630E8DBB}" dt="2025-02-06T16:57:38.923" v="15297" actId="478"/>
          <ac:spMkLst>
            <pc:docMk/>
            <pc:sldMk cId="2433251148" sldId="2147378730"/>
            <ac:spMk id="6" creationId="{95B7D5A6-3733-419F-5F47-1323A3D8D852}"/>
          </ac:spMkLst>
        </pc:spChg>
        <pc:spChg chg="mod">
          <ac:chgData name="丁野 光理" userId="53361c9a-10d0-4268-b39c-a1f4044b33f4" providerId="ADAL" clId="{5FE0A016-0A93-4063-8F08-CD48630E8DBB}" dt="2025-02-06T15:09:09.117" v="7816"/>
          <ac:spMkLst>
            <pc:docMk/>
            <pc:sldMk cId="2433251148" sldId="2147378730"/>
            <ac:spMk id="9" creationId="{D22A0A06-D5A8-4A1A-B66F-2A8EDBD644F1}"/>
          </ac:spMkLst>
        </pc:spChg>
        <pc:spChg chg="add mod">
          <ac:chgData name="丁野 光理" userId="53361c9a-10d0-4268-b39c-a1f4044b33f4" providerId="ADAL" clId="{5FE0A016-0A93-4063-8F08-CD48630E8DBB}" dt="2025-02-06T16:57:19.746" v="15295"/>
          <ac:spMkLst>
            <pc:docMk/>
            <pc:sldMk cId="2433251148" sldId="2147378730"/>
            <ac:spMk id="11" creationId="{962E5203-2DFF-C1A0-2F9F-F26700D05F5E}"/>
          </ac:spMkLst>
        </pc:spChg>
        <pc:spChg chg="add mod">
          <ac:chgData name="丁野 光理" userId="53361c9a-10d0-4268-b39c-a1f4044b33f4" providerId="ADAL" clId="{5FE0A016-0A93-4063-8F08-CD48630E8DBB}" dt="2025-02-06T16:57:41.093" v="15300"/>
          <ac:spMkLst>
            <pc:docMk/>
            <pc:sldMk cId="2433251148" sldId="2147378730"/>
            <ac:spMk id="14" creationId="{809AC18F-D5FE-3C72-5544-1B110534011E}"/>
          </ac:spMkLst>
        </pc:spChg>
        <pc:spChg chg="del">
          <ac:chgData name="丁野 光理" userId="53361c9a-10d0-4268-b39c-a1f4044b33f4" providerId="ADAL" clId="{5FE0A016-0A93-4063-8F08-CD48630E8DBB}" dt="2025-02-06T16:57:19.746" v="15295"/>
          <ac:spMkLst>
            <pc:docMk/>
            <pc:sldMk cId="2433251148" sldId="2147378730"/>
            <ac:spMk id="17" creationId="{ED5B4037-6A33-091F-CAB0-26A3BC43E5EE}"/>
          </ac:spMkLst>
        </pc:spChg>
        <pc:spChg chg="mod">
          <ac:chgData name="丁野 光理" userId="53361c9a-10d0-4268-b39c-a1f4044b33f4" providerId="ADAL" clId="{5FE0A016-0A93-4063-8F08-CD48630E8DBB}" dt="2025-02-06T16:57:41.093" v="15300"/>
          <ac:spMkLst>
            <pc:docMk/>
            <pc:sldMk cId="2433251148" sldId="2147378730"/>
            <ac:spMk id="18" creationId="{AAE1EC4C-A410-12F6-31D5-01D0898060F7}"/>
          </ac:spMkLst>
        </pc:spChg>
        <pc:spChg chg="mod">
          <ac:chgData name="丁野 光理" userId="53361c9a-10d0-4268-b39c-a1f4044b33f4" providerId="ADAL" clId="{5FE0A016-0A93-4063-8F08-CD48630E8DBB}" dt="2025-02-06T16:57:41.093" v="15300"/>
          <ac:spMkLst>
            <pc:docMk/>
            <pc:sldMk cId="2433251148" sldId="2147378730"/>
            <ac:spMk id="19" creationId="{D55A85E9-1DAB-F31B-2167-FDD0DCB52F08}"/>
          </ac:spMkLst>
        </pc:spChg>
        <pc:spChg chg="add mod">
          <ac:chgData name="丁野 光理" userId="53361c9a-10d0-4268-b39c-a1f4044b33f4" providerId="ADAL" clId="{5FE0A016-0A93-4063-8F08-CD48630E8DBB}" dt="2025-02-06T16:57:41.093" v="15300"/>
          <ac:spMkLst>
            <pc:docMk/>
            <pc:sldMk cId="2433251148" sldId="2147378730"/>
            <ac:spMk id="23" creationId="{640650BB-38DB-9A28-326A-F76FD158E165}"/>
          </ac:spMkLst>
        </pc:spChg>
        <pc:spChg chg="add mod">
          <ac:chgData name="丁野 光理" userId="53361c9a-10d0-4268-b39c-a1f4044b33f4" providerId="ADAL" clId="{5FE0A016-0A93-4063-8F08-CD48630E8DBB}" dt="2025-02-06T16:57:41.093" v="15300"/>
          <ac:spMkLst>
            <pc:docMk/>
            <pc:sldMk cId="2433251148" sldId="2147378730"/>
            <ac:spMk id="24" creationId="{E3D7E46F-442C-2DCF-F9BD-A5EA74C74BC8}"/>
          </ac:spMkLst>
        </pc:spChg>
        <pc:spChg chg="add mod">
          <ac:chgData name="丁野 光理" userId="53361c9a-10d0-4268-b39c-a1f4044b33f4" providerId="ADAL" clId="{5FE0A016-0A93-4063-8F08-CD48630E8DBB}" dt="2025-02-06T16:57:41.093" v="15300"/>
          <ac:spMkLst>
            <pc:docMk/>
            <pc:sldMk cId="2433251148" sldId="2147378730"/>
            <ac:spMk id="25" creationId="{DAD42860-4181-BA27-F5D0-EE00C97A146F}"/>
          </ac:spMkLst>
        </pc:spChg>
        <pc:spChg chg="add mod">
          <ac:chgData name="丁野 光理" userId="53361c9a-10d0-4268-b39c-a1f4044b33f4" providerId="ADAL" clId="{5FE0A016-0A93-4063-8F08-CD48630E8DBB}" dt="2025-02-06T16:58:03.146" v="15305" actId="20577"/>
          <ac:spMkLst>
            <pc:docMk/>
            <pc:sldMk cId="2433251148" sldId="2147378730"/>
            <ac:spMk id="26" creationId="{E79CF6B0-5AD5-B0A6-5A82-B2F5A3B16A53}"/>
          </ac:spMkLst>
        </pc:spChg>
        <pc:spChg chg="mod">
          <ac:chgData name="丁野 光理" userId="53361c9a-10d0-4268-b39c-a1f4044b33f4" providerId="ADAL" clId="{5FE0A016-0A93-4063-8F08-CD48630E8DBB}" dt="2025-02-06T16:57:44.190" v="15301"/>
          <ac:spMkLst>
            <pc:docMk/>
            <pc:sldMk cId="2433251148" sldId="2147378730"/>
            <ac:spMk id="29" creationId="{042D8203-2A92-407B-6CF8-1ACB91F74A43}"/>
          </ac:spMkLst>
        </pc:spChg>
        <pc:spChg chg="mod">
          <ac:chgData name="丁野 光理" userId="53361c9a-10d0-4268-b39c-a1f4044b33f4" providerId="ADAL" clId="{5FE0A016-0A93-4063-8F08-CD48630E8DBB}" dt="2025-02-06T16:57:44.190" v="15301"/>
          <ac:spMkLst>
            <pc:docMk/>
            <pc:sldMk cId="2433251148" sldId="2147378730"/>
            <ac:spMk id="30" creationId="{D1646857-08AE-2E7D-72B6-A356987D54FB}"/>
          </ac:spMkLst>
        </pc:spChg>
        <pc:spChg chg="add del mod">
          <ac:chgData name="丁野 光理" userId="53361c9a-10d0-4268-b39c-a1f4044b33f4" providerId="ADAL" clId="{5FE0A016-0A93-4063-8F08-CD48630E8DBB}" dt="2025-02-06T16:58:10.236" v="15308" actId="478"/>
          <ac:spMkLst>
            <pc:docMk/>
            <pc:sldMk cId="2433251148" sldId="2147378730"/>
            <ac:spMk id="34" creationId="{FB17A079-9EC3-2EBA-57C6-4CEAC7E461C5}"/>
          </ac:spMkLst>
        </pc:spChg>
        <pc:spChg chg="add mod">
          <ac:chgData name="丁野 光理" userId="53361c9a-10d0-4268-b39c-a1f4044b33f4" providerId="ADAL" clId="{5FE0A016-0A93-4063-8F08-CD48630E8DBB}" dt="2025-02-06T16:58:44.471" v="15320" actId="1076"/>
          <ac:spMkLst>
            <pc:docMk/>
            <pc:sldMk cId="2433251148" sldId="2147378730"/>
            <ac:spMk id="35" creationId="{031691BD-8701-682B-2568-3E02BCFA60E2}"/>
          </ac:spMkLst>
        </pc:spChg>
        <pc:spChg chg="add mod">
          <ac:chgData name="丁野 光理" userId="53361c9a-10d0-4268-b39c-a1f4044b33f4" providerId="ADAL" clId="{5FE0A016-0A93-4063-8F08-CD48630E8DBB}" dt="2025-02-06T16:58:40.329" v="15319" actId="1076"/>
          <ac:spMkLst>
            <pc:docMk/>
            <pc:sldMk cId="2433251148" sldId="2147378730"/>
            <ac:spMk id="36" creationId="{7EE4361D-BD43-605B-F877-5947AB823C05}"/>
          </ac:spMkLst>
        </pc:spChg>
        <pc:spChg chg="del mod">
          <ac:chgData name="丁野 光理" userId="53361c9a-10d0-4268-b39c-a1f4044b33f4" providerId="ADAL" clId="{5FE0A016-0A93-4063-8F08-CD48630E8DBB}" dt="2025-02-06T16:57:39.862" v="15299" actId="478"/>
          <ac:spMkLst>
            <pc:docMk/>
            <pc:sldMk cId="2433251148" sldId="2147378730"/>
            <ac:spMk id="50" creationId="{5B635FEA-2811-3A33-A6E6-95440B42D811}"/>
          </ac:spMkLst>
        </pc:spChg>
        <pc:spChg chg="del mod">
          <ac:chgData name="丁野 光理" userId="53361c9a-10d0-4268-b39c-a1f4044b33f4" providerId="ADAL" clId="{5FE0A016-0A93-4063-8F08-CD48630E8DBB}" dt="2025-02-06T16:57:38.923" v="15297" actId="478"/>
          <ac:spMkLst>
            <pc:docMk/>
            <pc:sldMk cId="2433251148" sldId="2147378730"/>
            <ac:spMk id="53" creationId="{600AE28E-2F7C-E1F6-5796-97DD1A8A0830}"/>
          </ac:spMkLst>
        </pc:spChg>
        <pc:grpChg chg="del">
          <ac:chgData name="丁野 光理" userId="53361c9a-10d0-4268-b39c-a1f4044b33f4" providerId="ADAL" clId="{5FE0A016-0A93-4063-8F08-CD48630E8DBB}" dt="2025-02-06T16:57:36.815" v="15296" actId="478"/>
          <ac:grpSpMkLst>
            <pc:docMk/>
            <pc:sldMk cId="2433251148" sldId="2147378730"/>
            <ac:grpSpMk id="3" creationId="{EBC23DA4-F36B-555D-CA5C-39F94E08823F}"/>
          </ac:grpSpMkLst>
        </pc:grpChg>
        <pc:grpChg chg="add mod">
          <ac:chgData name="丁野 光理" userId="53361c9a-10d0-4268-b39c-a1f4044b33f4" providerId="ADAL" clId="{5FE0A016-0A93-4063-8F08-CD48630E8DBB}" dt="2025-02-06T16:57:41.093" v="15300"/>
          <ac:grpSpMkLst>
            <pc:docMk/>
            <pc:sldMk cId="2433251148" sldId="2147378730"/>
            <ac:grpSpMk id="15" creationId="{4F3B7F64-F0F3-8BED-19C0-22D7D3D03A69}"/>
          </ac:grpSpMkLst>
        </pc:grpChg>
        <pc:grpChg chg="mod">
          <ac:chgData name="丁野 光理" userId="53361c9a-10d0-4268-b39c-a1f4044b33f4" providerId="ADAL" clId="{5FE0A016-0A93-4063-8F08-CD48630E8DBB}" dt="2025-02-06T16:57:41.093" v="15300"/>
          <ac:grpSpMkLst>
            <pc:docMk/>
            <pc:sldMk cId="2433251148" sldId="2147378730"/>
            <ac:grpSpMk id="16" creationId="{4A15A5E4-85A5-C396-1892-B1F5BDCEF708}"/>
          </ac:grpSpMkLst>
        </pc:grpChg>
        <pc:grpChg chg="add del mod">
          <ac:chgData name="丁野 光理" userId="53361c9a-10d0-4268-b39c-a1f4044b33f4" providerId="ADAL" clId="{5FE0A016-0A93-4063-8F08-CD48630E8DBB}" dt="2025-02-06T16:57:52.568" v="15302" actId="478"/>
          <ac:grpSpMkLst>
            <pc:docMk/>
            <pc:sldMk cId="2433251148" sldId="2147378730"/>
            <ac:grpSpMk id="27" creationId="{E64455CB-ADC2-36E6-ED2B-E0084CA1FD5E}"/>
          </ac:grpSpMkLst>
        </pc:grpChg>
        <pc:grpChg chg="mod">
          <ac:chgData name="丁野 光理" userId="53361c9a-10d0-4268-b39c-a1f4044b33f4" providerId="ADAL" clId="{5FE0A016-0A93-4063-8F08-CD48630E8DBB}" dt="2025-02-06T16:57:44.190" v="15301"/>
          <ac:grpSpMkLst>
            <pc:docMk/>
            <pc:sldMk cId="2433251148" sldId="2147378730"/>
            <ac:grpSpMk id="28" creationId="{611D63BB-878F-CCB9-35AE-7A20D8EA0582}"/>
          </ac:grpSpMkLst>
        </pc:grpChg>
        <pc:graphicFrameChg chg="add mod">
          <ac:chgData name="丁野 光理" userId="53361c9a-10d0-4268-b39c-a1f4044b33f4" providerId="ADAL" clId="{5FE0A016-0A93-4063-8F08-CD48630E8DBB}" dt="2025-02-06T16:57:41.093" v="15300"/>
          <ac:graphicFrameMkLst>
            <pc:docMk/>
            <pc:sldMk cId="2433251148" sldId="2147378730"/>
            <ac:graphicFrameMk id="21" creationId="{C00E8BD2-6C17-25F2-0776-B6AF759D3E09}"/>
          </ac:graphicFrameMkLst>
        </pc:graphicFrameChg>
        <pc:graphicFrameChg chg="add mod">
          <ac:chgData name="丁野 光理" userId="53361c9a-10d0-4268-b39c-a1f4044b33f4" providerId="ADAL" clId="{5FE0A016-0A93-4063-8F08-CD48630E8DBB}" dt="2025-02-06T16:57:41.093" v="15300"/>
          <ac:graphicFrameMkLst>
            <pc:docMk/>
            <pc:sldMk cId="2433251148" sldId="2147378730"/>
            <ac:graphicFrameMk id="22" creationId="{D061F593-7493-2CF5-669D-20E838D94823}"/>
          </ac:graphicFrameMkLst>
        </pc:graphicFrameChg>
        <pc:graphicFrameChg chg="add mod modGraphic">
          <ac:chgData name="丁野 光理" userId="53361c9a-10d0-4268-b39c-a1f4044b33f4" providerId="ADAL" clId="{5FE0A016-0A93-4063-8F08-CD48630E8DBB}" dt="2025-02-06T16:58:34.552" v="15317" actId="14100"/>
          <ac:graphicFrameMkLst>
            <pc:docMk/>
            <pc:sldMk cId="2433251148" sldId="2147378730"/>
            <ac:graphicFrameMk id="32" creationId="{3B80BC24-01AA-213D-76FD-38F653AD9B7C}"/>
          </ac:graphicFrameMkLst>
        </pc:graphicFrameChg>
        <pc:graphicFrameChg chg="add mod">
          <ac:chgData name="丁野 光理" userId="53361c9a-10d0-4268-b39c-a1f4044b33f4" providerId="ADAL" clId="{5FE0A016-0A93-4063-8F08-CD48630E8DBB}" dt="2025-02-06T16:58:22.733" v="15312" actId="1076"/>
          <ac:graphicFrameMkLst>
            <pc:docMk/>
            <pc:sldMk cId="2433251148" sldId="2147378730"/>
            <ac:graphicFrameMk id="33" creationId="{579C0925-57A0-3030-666F-7E61FE13005C}"/>
          </ac:graphicFrameMkLst>
        </pc:graphicFrameChg>
        <pc:cxnChg chg="mod">
          <ac:chgData name="丁野 光理" userId="53361c9a-10d0-4268-b39c-a1f4044b33f4" providerId="ADAL" clId="{5FE0A016-0A93-4063-8F08-CD48630E8DBB}" dt="2025-02-06T16:57:41.093" v="15300"/>
          <ac:cxnSpMkLst>
            <pc:docMk/>
            <pc:sldMk cId="2433251148" sldId="2147378730"/>
            <ac:cxnSpMk id="20" creationId="{357CBE30-709F-A567-9754-4214A2D73A19}"/>
          </ac:cxnSpMkLst>
        </pc:cxnChg>
        <pc:cxnChg chg="mod">
          <ac:chgData name="丁野 光理" userId="53361c9a-10d0-4268-b39c-a1f4044b33f4" providerId="ADAL" clId="{5FE0A016-0A93-4063-8F08-CD48630E8DBB}" dt="2025-02-06T16:57:44.190" v="15301"/>
          <ac:cxnSpMkLst>
            <pc:docMk/>
            <pc:sldMk cId="2433251148" sldId="2147378730"/>
            <ac:cxnSpMk id="31" creationId="{9F6E2EFA-D15E-8FC8-632C-7C677DF4836B}"/>
          </ac:cxnSpMkLst>
        </pc:cxn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7T10:23:06.690" v="22927"/>
              <pc2:cmMkLst xmlns:pc2="http://schemas.microsoft.com/office/powerpoint/2019/9/main/command">
                <pc:docMk/>
                <pc:sldMk cId="2433251148" sldId="2147378730"/>
                <pc2:cmMk id="{FA0A7B1F-99D6-4949-AE3E-EB42B41255B6}"/>
              </pc2:cmMkLst>
            </pc226:cmChg>
            <pc226:cmChg xmlns:pc226="http://schemas.microsoft.com/office/powerpoint/2022/06/main/command" chg="del">
              <pc226:chgData name="丁野 光理" userId="53361c9a-10d0-4268-b39c-a1f4044b33f4" providerId="ADAL" clId="{5FE0A016-0A93-4063-8F08-CD48630E8DBB}" dt="2025-02-07T10:23:07.982" v="22928"/>
              <pc2:cmMkLst xmlns:pc2="http://schemas.microsoft.com/office/powerpoint/2019/9/main/command">
                <pc:docMk/>
                <pc:sldMk cId="2433251148" sldId="2147378730"/>
                <pc2:cmMk id="{C4C270B4-7D2E-4D10-AF74-4EA1E8129E94}"/>
              </pc2:cmMkLst>
            </pc226:cmChg>
          </p:ext>
        </pc:extLst>
      </pc:sldChg>
      <pc:sldChg chg="modSp add mod">
        <pc:chgData name="丁野 光理" userId="53361c9a-10d0-4268-b39c-a1f4044b33f4" providerId="ADAL" clId="{5FE0A016-0A93-4063-8F08-CD48630E8DBB}" dt="2025-02-06T15:13:48.787" v="7984"/>
        <pc:sldMkLst>
          <pc:docMk/>
          <pc:sldMk cId="866572055" sldId="2147378731"/>
        </pc:sldMkLst>
        <pc:spChg chg="mod">
          <ac:chgData name="丁野 光理" userId="53361c9a-10d0-4268-b39c-a1f4044b33f4" providerId="ADAL" clId="{5FE0A016-0A93-4063-8F08-CD48630E8DBB}" dt="2025-02-06T15:13:48.787" v="7984"/>
          <ac:spMkLst>
            <pc:docMk/>
            <pc:sldMk cId="866572055" sldId="2147378731"/>
            <ac:spMk id="17" creationId="{CF45C799-184A-B9A1-3984-069F4A38D270}"/>
          </ac:spMkLst>
        </pc:spChg>
      </pc:sldChg>
      <pc:sldChg chg="modSp add mod">
        <pc:chgData name="丁野 光理" userId="53361c9a-10d0-4268-b39c-a1f4044b33f4" providerId="ADAL" clId="{5FE0A016-0A93-4063-8F08-CD48630E8DBB}" dt="2025-02-06T15:14:09.412" v="7988" actId="6549"/>
        <pc:sldMkLst>
          <pc:docMk/>
          <pc:sldMk cId="2588649303" sldId="2147378732"/>
        </pc:sldMkLst>
        <pc:spChg chg="mod">
          <ac:chgData name="丁野 光理" userId="53361c9a-10d0-4268-b39c-a1f4044b33f4" providerId="ADAL" clId="{5FE0A016-0A93-4063-8F08-CD48630E8DBB}" dt="2025-02-06T15:14:09.412" v="7988" actId="6549"/>
          <ac:spMkLst>
            <pc:docMk/>
            <pc:sldMk cId="2588649303" sldId="2147378732"/>
            <ac:spMk id="17" creationId="{CF45C799-184A-B9A1-3984-069F4A38D270}"/>
          </ac:spMkLst>
        </pc:spChg>
      </pc:sldChg>
      <pc:sldChg chg="modSp add mod">
        <pc:chgData name="丁野 光理" userId="53361c9a-10d0-4268-b39c-a1f4044b33f4" providerId="ADAL" clId="{5FE0A016-0A93-4063-8F08-CD48630E8DBB}" dt="2025-02-07T01:45:10.898" v="19677"/>
        <pc:sldMkLst>
          <pc:docMk/>
          <pc:sldMk cId="1978006436" sldId="2147378733"/>
        </pc:sldMkLst>
        <pc:spChg chg="mod">
          <ac:chgData name="丁野 光理" userId="53361c9a-10d0-4268-b39c-a1f4044b33f4" providerId="ADAL" clId="{5FE0A016-0A93-4063-8F08-CD48630E8DBB}" dt="2025-02-07T01:45:10.898" v="19677"/>
          <ac:spMkLst>
            <pc:docMk/>
            <pc:sldMk cId="1978006436" sldId="2147378733"/>
            <ac:spMk id="10" creationId="{1A383005-B1A5-AD52-BAD8-1851206F59CA}"/>
          </ac:spMkLst>
        </pc:spChg>
        <pc:spChg chg="mod">
          <ac:chgData name="丁野 光理" userId="53361c9a-10d0-4268-b39c-a1f4044b33f4" providerId="ADAL" clId="{5FE0A016-0A93-4063-8F08-CD48630E8DBB}" dt="2025-02-06T15:14:57.475" v="8002"/>
          <ac:spMkLst>
            <pc:docMk/>
            <pc:sldMk cId="1978006436" sldId="2147378733"/>
            <ac:spMk id="20" creationId="{94800FDA-81F1-3586-866D-A519778D8DB8}"/>
          </ac:spMkLst>
        </pc:spChg>
      </pc:sldChg>
      <pc:sldChg chg="modSp add mod">
        <pc:chgData name="丁野 光理" userId="53361c9a-10d0-4268-b39c-a1f4044b33f4" providerId="ADAL" clId="{5FE0A016-0A93-4063-8F08-CD48630E8DBB}" dt="2025-02-07T01:45:13.135" v="19678"/>
        <pc:sldMkLst>
          <pc:docMk/>
          <pc:sldMk cId="1849280669" sldId="2147378734"/>
        </pc:sldMkLst>
        <pc:spChg chg="mod">
          <ac:chgData name="丁野 光理" userId="53361c9a-10d0-4268-b39c-a1f4044b33f4" providerId="ADAL" clId="{5FE0A016-0A93-4063-8F08-CD48630E8DBB}" dt="2025-02-07T01:45:13.135" v="19678"/>
          <ac:spMkLst>
            <pc:docMk/>
            <pc:sldMk cId="1849280669" sldId="2147378734"/>
            <ac:spMk id="10" creationId="{1A383005-B1A5-AD52-BAD8-1851206F59CA}"/>
          </ac:spMkLst>
        </pc:spChg>
        <pc:spChg chg="mod">
          <ac:chgData name="丁野 光理" userId="53361c9a-10d0-4268-b39c-a1f4044b33f4" providerId="ADAL" clId="{5FE0A016-0A93-4063-8F08-CD48630E8DBB}" dt="2025-02-06T15:15:14.287" v="8005"/>
          <ac:spMkLst>
            <pc:docMk/>
            <pc:sldMk cId="1849280669" sldId="2147378734"/>
            <ac:spMk id="20" creationId="{94800FDA-81F1-3586-866D-A519778D8DB8}"/>
          </ac:spMkLst>
        </pc:spChg>
      </pc:sldChg>
      <pc:sldChg chg="addSp delSp modSp add del mod ord">
        <pc:chgData name="丁野 光理" userId="53361c9a-10d0-4268-b39c-a1f4044b33f4" providerId="ADAL" clId="{5FE0A016-0A93-4063-8F08-CD48630E8DBB}" dt="2025-02-07T11:21:41.669" v="24494" actId="47"/>
        <pc:sldMkLst>
          <pc:docMk/>
          <pc:sldMk cId="4041357983" sldId="2147378735"/>
        </pc:sldMkLst>
        <pc:spChg chg="mod">
          <ac:chgData name="丁野 光理" userId="53361c9a-10d0-4268-b39c-a1f4044b33f4" providerId="ADAL" clId="{5FE0A016-0A93-4063-8F08-CD48630E8DBB}" dt="2025-02-06T15:16:15.175" v="8013"/>
          <ac:spMkLst>
            <pc:docMk/>
            <pc:sldMk cId="4041357983" sldId="2147378735"/>
            <ac:spMk id="3" creationId="{91EE754F-8C87-1B2E-0787-5CD75A67D43F}"/>
          </ac:spMkLst>
        </pc:spChg>
        <pc:spChg chg="add mod">
          <ac:chgData name="丁野 光理" userId="53361c9a-10d0-4268-b39c-a1f4044b33f4" providerId="ADAL" clId="{5FE0A016-0A93-4063-8F08-CD48630E8DBB}" dt="2025-02-06T16:18:34.845" v="11560"/>
          <ac:spMkLst>
            <pc:docMk/>
            <pc:sldMk cId="4041357983" sldId="2147378735"/>
            <ac:spMk id="6" creationId="{37429402-B7AC-B439-B2D0-65A1A7C50A8B}"/>
          </ac:spMkLst>
        </pc:spChg>
        <pc:spChg chg="del">
          <ac:chgData name="丁野 光理" userId="53361c9a-10d0-4268-b39c-a1f4044b33f4" providerId="ADAL" clId="{5FE0A016-0A93-4063-8F08-CD48630E8DBB}" dt="2025-02-06T16:11:21.039" v="10826" actId="478"/>
          <ac:spMkLst>
            <pc:docMk/>
            <pc:sldMk cId="4041357983" sldId="2147378735"/>
            <ac:spMk id="7" creationId="{3691CDB4-58BB-E579-BB19-C14A7E95B4EB}"/>
          </ac:spMkLst>
        </pc:spChg>
        <pc:graphicFrameChg chg="add mod modGraphic">
          <ac:chgData name="丁野 光理" userId="53361c9a-10d0-4268-b39c-a1f4044b33f4" providerId="ADAL" clId="{5FE0A016-0A93-4063-8F08-CD48630E8DBB}" dt="2025-02-06T16:18:02.420" v="11489"/>
          <ac:graphicFrameMkLst>
            <pc:docMk/>
            <pc:sldMk cId="4041357983" sldId="2147378735"/>
            <ac:graphicFrameMk id="4" creationId="{4BA2F80E-3360-EFE5-E6DF-7F5C6AC57C83}"/>
          </ac:graphicFrameMkLst>
        </pc:graphicFrameChg>
        <pc:graphicFrameChg chg="del">
          <ac:chgData name="丁野 光理" userId="53361c9a-10d0-4268-b39c-a1f4044b33f4" providerId="ADAL" clId="{5FE0A016-0A93-4063-8F08-CD48630E8DBB}" dt="2025-02-06T16:11:23.174" v="10827" actId="478"/>
          <ac:graphicFrameMkLst>
            <pc:docMk/>
            <pc:sldMk cId="4041357983" sldId="2147378735"/>
            <ac:graphicFrameMk id="14" creationId="{9887595F-90B6-1EDC-9BF9-62AD79C17B7E}"/>
          </ac:graphicFrameMkLst>
        </pc:graphicFrameChg>
      </pc:sldChg>
      <pc:sldChg chg="addSp delSp modSp add del mod ord">
        <pc:chgData name="丁野 光理" userId="53361c9a-10d0-4268-b39c-a1f4044b33f4" providerId="ADAL" clId="{5FE0A016-0A93-4063-8F08-CD48630E8DBB}" dt="2025-02-07T11:21:42.295" v="24495" actId="47"/>
        <pc:sldMkLst>
          <pc:docMk/>
          <pc:sldMk cId="662189618" sldId="2147378736"/>
        </pc:sldMkLst>
        <pc:spChg chg="mod">
          <ac:chgData name="丁野 光理" userId="53361c9a-10d0-4268-b39c-a1f4044b33f4" providerId="ADAL" clId="{5FE0A016-0A93-4063-8F08-CD48630E8DBB}" dt="2025-02-06T15:16:28.437" v="8016" actId="6549"/>
          <ac:spMkLst>
            <pc:docMk/>
            <pc:sldMk cId="662189618" sldId="2147378736"/>
            <ac:spMk id="3" creationId="{91EE754F-8C87-1B2E-0787-5CD75A67D43F}"/>
          </ac:spMkLst>
        </pc:spChg>
        <pc:spChg chg="add mod">
          <ac:chgData name="丁野 光理" userId="53361c9a-10d0-4268-b39c-a1f4044b33f4" providerId="ADAL" clId="{5FE0A016-0A93-4063-8F08-CD48630E8DBB}" dt="2025-02-06T16:18:36.315" v="11561"/>
          <ac:spMkLst>
            <pc:docMk/>
            <pc:sldMk cId="662189618" sldId="2147378736"/>
            <ac:spMk id="6" creationId="{6A50203E-2E08-24A5-1C8C-6821C3AA528E}"/>
          </ac:spMkLst>
        </pc:spChg>
        <pc:spChg chg="del">
          <ac:chgData name="丁野 光理" userId="53361c9a-10d0-4268-b39c-a1f4044b33f4" providerId="ADAL" clId="{5FE0A016-0A93-4063-8F08-CD48630E8DBB}" dt="2025-02-06T16:11:31.608" v="10830" actId="478"/>
          <ac:spMkLst>
            <pc:docMk/>
            <pc:sldMk cId="662189618" sldId="2147378736"/>
            <ac:spMk id="7" creationId="{3691CDB4-58BB-E579-BB19-C14A7E95B4EB}"/>
          </ac:spMkLst>
        </pc:spChg>
        <pc:graphicFrameChg chg="add mod modGraphic">
          <ac:chgData name="丁野 光理" userId="53361c9a-10d0-4268-b39c-a1f4044b33f4" providerId="ADAL" clId="{5FE0A016-0A93-4063-8F08-CD48630E8DBB}" dt="2025-02-06T16:18:07.663" v="11506"/>
          <ac:graphicFrameMkLst>
            <pc:docMk/>
            <pc:sldMk cId="662189618" sldId="2147378736"/>
            <ac:graphicFrameMk id="4" creationId="{F8CA079C-CE67-1600-8D79-9B8C6FEC7D1B}"/>
          </ac:graphicFrameMkLst>
        </pc:graphicFrameChg>
        <pc:graphicFrameChg chg="del">
          <ac:chgData name="丁野 光理" userId="53361c9a-10d0-4268-b39c-a1f4044b33f4" providerId="ADAL" clId="{5FE0A016-0A93-4063-8F08-CD48630E8DBB}" dt="2025-02-06T16:11:29.776" v="10829" actId="478"/>
          <ac:graphicFrameMkLst>
            <pc:docMk/>
            <pc:sldMk cId="662189618" sldId="2147378736"/>
            <ac:graphicFrameMk id="14" creationId="{9887595F-90B6-1EDC-9BF9-62AD79C17B7E}"/>
          </ac:graphicFrameMkLst>
        </pc:graphicFrameChg>
      </pc:sldChg>
      <pc:sldChg chg="add del">
        <pc:chgData name="丁野 光理" userId="53361c9a-10d0-4268-b39c-a1f4044b33f4" providerId="ADAL" clId="{5FE0A016-0A93-4063-8F08-CD48630E8DBB}" dt="2025-02-06T16:59:56.340" v="15327" actId="47"/>
        <pc:sldMkLst>
          <pc:docMk/>
          <pc:sldMk cId="3126563558" sldId="2147378737"/>
        </pc:sldMkLst>
      </pc:sldChg>
      <pc:sldChg chg="add del">
        <pc:chgData name="丁野 光理" userId="53361c9a-10d0-4268-b39c-a1f4044b33f4" providerId="ADAL" clId="{5FE0A016-0A93-4063-8F08-CD48630E8DBB}" dt="2025-02-06T16:59:57.346" v="15328" actId="47"/>
        <pc:sldMkLst>
          <pc:docMk/>
          <pc:sldMk cId="1476667708" sldId="2147378738"/>
        </pc:sldMkLst>
      </pc:sldChg>
      <pc:sldChg chg="modSp add mod">
        <pc:chgData name="丁野 光理" userId="53361c9a-10d0-4268-b39c-a1f4044b33f4" providerId="ADAL" clId="{5FE0A016-0A93-4063-8F08-CD48630E8DBB}" dt="2025-02-07T11:24:42.892" v="24507" actId="20577"/>
        <pc:sldMkLst>
          <pc:docMk/>
          <pc:sldMk cId="2642190918" sldId="2147378739"/>
        </pc:sldMkLst>
        <pc:spChg chg="mod">
          <ac:chgData name="丁野 光理" userId="53361c9a-10d0-4268-b39c-a1f4044b33f4" providerId="ADAL" clId="{5FE0A016-0A93-4063-8F08-CD48630E8DBB}" dt="2025-02-06T15:18:36.513" v="8031" actId="20577"/>
          <ac:spMkLst>
            <pc:docMk/>
            <pc:sldMk cId="2642190918" sldId="2147378739"/>
            <ac:spMk id="2" creationId="{CBF10691-58CC-75D5-EA23-B36D933D90D3}"/>
          </ac:spMkLst>
        </pc:spChg>
        <pc:spChg chg="mod">
          <ac:chgData name="丁野 光理" userId="53361c9a-10d0-4268-b39c-a1f4044b33f4" providerId="ADAL" clId="{5FE0A016-0A93-4063-8F08-CD48630E8DBB}" dt="2025-02-07T11:24:42.892" v="24507" actId="20577"/>
          <ac:spMkLst>
            <pc:docMk/>
            <pc:sldMk cId="2642190918" sldId="2147378739"/>
            <ac:spMk id="9" creationId="{F7DA7227-3724-60C8-1F06-5A8A2F4AF1F8}"/>
          </ac:spMkLst>
        </pc:spChg>
      </pc:sldChg>
      <pc:sldChg chg="modSp add mod">
        <pc:chgData name="丁野 光理" userId="53361c9a-10d0-4268-b39c-a1f4044b33f4" providerId="ADAL" clId="{5FE0A016-0A93-4063-8F08-CD48630E8DBB}" dt="2025-02-07T11:24:51.630" v="24510" actId="20577"/>
        <pc:sldMkLst>
          <pc:docMk/>
          <pc:sldMk cId="165971776" sldId="2147378740"/>
        </pc:sldMkLst>
        <pc:spChg chg="mod">
          <ac:chgData name="丁野 光理" userId="53361c9a-10d0-4268-b39c-a1f4044b33f4" providerId="ADAL" clId="{5FE0A016-0A93-4063-8F08-CD48630E8DBB}" dt="2025-02-07T11:24:51.630" v="24510" actId="20577"/>
          <ac:spMkLst>
            <pc:docMk/>
            <pc:sldMk cId="165971776" sldId="2147378740"/>
            <ac:spMk id="9" creationId="{D22A0A06-D5A8-4A1A-B66F-2A8EDBD644F1}"/>
          </ac:spMkLst>
        </pc:spChg>
        <pc:spChg chg="mod">
          <ac:chgData name="丁野 光理" userId="53361c9a-10d0-4268-b39c-a1f4044b33f4" providerId="ADAL" clId="{5FE0A016-0A93-4063-8F08-CD48630E8DBB}" dt="2025-02-06T15:18:41.442" v="8032"/>
          <ac:spMkLst>
            <pc:docMk/>
            <pc:sldMk cId="165971776" sldId="2147378740"/>
            <ac:spMk id="14" creationId="{B82535D0-8503-64C9-D7C5-6527643FF688}"/>
          </ac:spMkLst>
        </pc:spChg>
      </pc:sldChg>
      <pc:sldChg chg="addSp modSp add mod">
        <pc:chgData name="丁野 光理" userId="53361c9a-10d0-4268-b39c-a1f4044b33f4" providerId="ADAL" clId="{5FE0A016-0A93-4063-8F08-CD48630E8DBB}" dt="2025-02-07T11:24:54.170" v="24513" actId="20577"/>
        <pc:sldMkLst>
          <pc:docMk/>
          <pc:sldMk cId="3556400781" sldId="2147378741"/>
        </pc:sldMkLst>
        <pc:spChg chg="mod">
          <ac:chgData name="丁野 光理" userId="53361c9a-10d0-4268-b39c-a1f4044b33f4" providerId="ADAL" clId="{5FE0A016-0A93-4063-8F08-CD48630E8DBB}" dt="2025-02-06T15:18:48.192" v="8033"/>
          <ac:spMkLst>
            <pc:docMk/>
            <pc:sldMk cId="3556400781" sldId="2147378741"/>
            <ac:spMk id="2" creationId="{A45FDDD5-9A42-423D-9ED3-F19DD3567786}"/>
          </ac:spMkLst>
        </pc:spChg>
        <pc:spChg chg="add mod">
          <ac:chgData name="丁野 光理" userId="53361c9a-10d0-4268-b39c-a1f4044b33f4" providerId="ADAL" clId="{5FE0A016-0A93-4063-8F08-CD48630E8DBB}" dt="2025-02-07T01:07:04.250" v="17154"/>
          <ac:spMkLst>
            <pc:docMk/>
            <pc:sldMk cId="3556400781" sldId="2147378741"/>
            <ac:spMk id="4" creationId="{A1277F05-26FA-BC40-8E8E-34D0007C0DF7}"/>
          </ac:spMkLst>
        </pc:spChg>
        <pc:spChg chg="mod">
          <ac:chgData name="丁野 光理" userId="53361c9a-10d0-4268-b39c-a1f4044b33f4" providerId="ADAL" clId="{5FE0A016-0A93-4063-8F08-CD48630E8DBB}" dt="2025-02-07T11:24:54.170" v="24513" actId="20577"/>
          <ac:spMkLst>
            <pc:docMk/>
            <pc:sldMk cId="3556400781" sldId="2147378741"/>
            <ac:spMk id="9" creationId="{D22A0A06-D5A8-4A1A-B66F-2A8EDBD644F1}"/>
          </ac:spMkLst>
        </pc:spChg>
      </pc:sldChg>
      <pc:sldChg chg="modSp add mod delCm">
        <pc:chgData name="丁野 光理" userId="53361c9a-10d0-4268-b39c-a1f4044b33f4" providerId="ADAL" clId="{5FE0A016-0A93-4063-8F08-CD48630E8DBB}" dt="2025-02-07T10:23:50.953" v="22934"/>
        <pc:sldMkLst>
          <pc:docMk/>
          <pc:sldMk cId="4237138605" sldId="2147378742"/>
        </pc:sldMkLst>
        <pc:spChg chg="mod">
          <ac:chgData name="丁野 光理" userId="53361c9a-10d0-4268-b39c-a1f4044b33f4" providerId="ADAL" clId="{5FE0A016-0A93-4063-8F08-CD48630E8DBB}" dt="2025-02-06T16:02:02.575" v="10743"/>
          <ac:spMkLst>
            <pc:docMk/>
            <pc:sldMk cId="4237138605" sldId="2147378742"/>
            <ac:spMk id="2" creationId="{BDE63369-EA7E-4802-A4A3-D4010A333C66}"/>
          </ac:spMkLst>
        </pc:spChg>
        <pc:spChg chg="mod">
          <ac:chgData name="丁野 光理" userId="53361c9a-10d0-4268-b39c-a1f4044b33f4" providerId="ADAL" clId="{5FE0A016-0A93-4063-8F08-CD48630E8DBB}" dt="2025-02-06T17:04:03.298" v="15474"/>
          <ac:spMkLst>
            <pc:docMk/>
            <pc:sldMk cId="4237138605" sldId="2147378742"/>
            <ac:spMk id="6" creationId="{95B7D5A6-3733-419F-5F47-1323A3D8D852}"/>
          </ac:spMkLst>
        </pc:spChg>
        <pc:spChg chg="mod">
          <ac:chgData name="丁野 光理" userId="53361c9a-10d0-4268-b39c-a1f4044b33f4" providerId="ADAL" clId="{5FE0A016-0A93-4063-8F08-CD48630E8DBB}" dt="2025-02-07T01:24:15.080" v="18409" actId="20577"/>
          <ac:spMkLst>
            <pc:docMk/>
            <pc:sldMk cId="4237138605" sldId="2147378742"/>
            <ac:spMk id="12" creationId="{0885EF34-1A86-AA39-1A1A-5F99ABF6B7EF}"/>
          </ac:spMkLst>
        </pc:spChg>
        <pc:spChg chg="mod">
          <ac:chgData name="丁野 光理" userId="53361c9a-10d0-4268-b39c-a1f4044b33f4" providerId="ADAL" clId="{5FE0A016-0A93-4063-8F08-CD48630E8DBB}" dt="2025-02-06T17:03:35.127" v="15401" actId="1076"/>
          <ac:spMkLst>
            <pc:docMk/>
            <pc:sldMk cId="4237138605" sldId="2147378742"/>
            <ac:spMk id="53" creationId="{600AE28E-2F7C-E1F6-5796-97DD1A8A0830}"/>
          </ac:spMkLst>
        </pc:sp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7T10:23:50.953" v="22934"/>
              <pc2:cmMkLst xmlns:pc2="http://schemas.microsoft.com/office/powerpoint/2019/9/main/command">
                <pc:docMk/>
                <pc:sldMk cId="4237138605" sldId="2147378742"/>
                <pc2:cmMk id="{C15A465C-7547-42C3-B058-3450B8EA0A80}"/>
              </pc2:cmMkLst>
            </pc226:cmChg>
            <pc226:cmChg xmlns:pc226="http://schemas.microsoft.com/office/powerpoint/2022/06/main/command" chg="del">
              <pc226:chgData name="丁野 光理" userId="53361c9a-10d0-4268-b39c-a1f4044b33f4" providerId="ADAL" clId="{5FE0A016-0A93-4063-8F08-CD48630E8DBB}" dt="2025-02-07T10:23:49.435" v="22933"/>
              <pc2:cmMkLst xmlns:pc2="http://schemas.microsoft.com/office/powerpoint/2019/9/main/command">
                <pc:docMk/>
                <pc:sldMk cId="4237138605" sldId="2147378742"/>
                <pc2:cmMk id="{863940B0-6DF7-4828-BC9A-9FD3A80F5C90}"/>
              </pc2:cmMkLst>
            </pc226:cmChg>
          </p:ext>
        </pc:extLst>
      </pc:sldChg>
      <pc:sldChg chg="addSp delSp modSp add mod">
        <pc:chgData name="丁野 光理" userId="53361c9a-10d0-4268-b39c-a1f4044b33f4" providerId="ADAL" clId="{5FE0A016-0A93-4063-8F08-CD48630E8DBB}" dt="2025-02-07T11:39:14.485" v="24931" actId="20577"/>
        <pc:sldMkLst>
          <pc:docMk/>
          <pc:sldMk cId="3931455884" sldId="2147378743"/>
        </pc:sldMkLst>
        <pc:spChg chg="mod">
          <ac:chgData name="丁野 光理" userId="53361c9a-10d0-4268-b39c-a1f4044b33f4" providerId="ADAL" clId="{5FE0A016-0A93-4063-8F08-CD48630E8DBB}" dt="2025-02-06T16:02:16.044" v="10745"/>
          <ac:spMkLst>
            <pc:docMk/>
            <pc:sldMk cId="3931455884" sldId="2147378743"/>
            <ac:spMk id="2" creationId="{BDE63369-EA7E-4802-A4A3-D4010A333C66}"/>
          </ac:spMkLst>
        </pc:spChg>
        <pc:spChg chg="add mod">
          <ac:chgData name="丁野 光理" userId="53361c9a-10d0-4268-b39c-a1f4044b33f4" providerId="ADAL" clId="{5FE0A016-0A93-4063-8F08-CD48630E8DBB}" dt="2025-02-07T03:36:31.025" v="21200"/>
          <ac:spMkLst>
            <pc:docMk/>
            <pc:sldMk cId="3931455884" sldId="2147378743"/>
            <ac:spMk id="3" creationId="{8E5E4177-0D4C-66AC-D184-5C97EB519BCC}"/>
          </ac:spMkLst>
        </pc:spChg>
        <pc:spChg chg="add mod">
          <ac:chgData name="丁野 光理" userId="53361c9a-10d0-4268-b39c-a1f4044b33f4" providerId="ADAL" clId="{5FE0A016-0A93-4063-8F08-CD48630E8DBB}" dt="2025-02-07T03:37:04.235" v="21390"/>
          <ac:spMkLst>
            <pc:docMk/>
            <pc:sldMk cId="3931455884" sldId="2147378743"/>
            <ac:spMk id="4" creationId="{4FFEC03F-A8BC-90E2-69BF-5162E610D075}"/>
          </ac:spMkLst>
        </pc:spChg>
        <pc:spChg chg="mod">
          <ac:chgData name="丁野 光理" userId="53361c9a-10d0-4268-b39c-a1f4044b33f4" providerId="ADAL" clId="{5FE0A016-0A93-4063-8F08-CD48630E8DBB}" dt="2025-02-06T16:33:40.341" v="12713"/>
          <ac:spMkLst>
            <pc:docMk/>
            <pc:sldMk cId="3931455884" sldId="2147378743"/>
            <ac:spMk id="6" creationId="{06F06DD2-9B90-695B-AD25-50F75DE8988B}"/>
          </ac:spMkLst>
        </pc:spChg>
        <pc:spChg chg="mod">
          <ac:chgData name="丁野 光理" userId="53361c9a-10d0-4268-b39c-a1f4044b33f4" providerId="ADAL" clId="{5FE0A016-0A93-4063-8F08-CD48630E8DBB}" dt="2025-02-07T11:39:14.485" v="24931" actId="20577"/>
          <ac:spMkLst>
            <pc:docMk/>
            <pc:sldMk cId="3931455884" sldId="2147378743"/>
            <ac:spMk id="9" creationId="{D22A0A06-D5A8-4A1A-B66F-2A8EDBD644F1}"/>
          </ac:spMkLst>
        </pc:spChg>
        <pc:spChg chg="mod">
          <ac:chgData name="丁野 光理" userId="53361c9a-10d0-4268-b39c-a1f4044b33f4" providerId="ADAL" clId="{5FE0A016-0A93-4063-8F08-CD48630E8DBB}" dt="2025-02-06T16:52:35.896" v="14641" actId="207"/>
          <ac:spMkLst>
            <pc:docMk/>
            <pc:sldMk cId="3931455884" sldId="2147378743"/>
            <ac:spMk id="17" creationId="{53F10FF5-7C3A-04E7-4D0E-3EC2A9EB89FC}"/>
          </ac:spMkLst>
        </pc:spChg>
        <pc:spChg chg="mod">
          <ac:chgData name="丁野 光理" userId="53361c9a-10d0-4268-b39c-a1f4044b33f4" providerId="ADAL" clId="{5FE0A016-0A93-4063-8F08-CD48630E8DBB}" dt="2025-02-07T03:35:27.523" v="21109" actId="207"/>
          <ac:spMkLst>
            <pc:docMk/>
            <pc:sldMk cId="3931455884" sldId="2147378743"/>
            <ac:spMk id="20" creationId="{A1D40746-BF49-AC90-B951-2E85999D00C9}"/>
          </ac:spMkLst>
        </pc:spChg>
        <pc:spChg chg="mod">
          <ac:chgData name="丁野 光理" userId="53361c9a-10d0-4268-b39c-a1f4044b33f4" providerId="ADAL" clId="{5FE0A016-0A93-4063-8F08-CD48630E8DBB}" dt="2025-02-07T03:36:19.405" v="21130" actId="20577"/>
          <ac:spMkLst>
            <pc:docMk/>
            <pc:sldMk cId="3931455884" sldId="2147378743"/>
            <ac:spMk id="22" creationId="{E3A53034-9097-A2B0-BA00-9805C113B3C4}"/>
          </ac:spMkLst>
        </pc:spChg>
        <pc:spChg chg="del">
          <ac:chgData name="丁野 光理" userId="53361c9a-10d0-4268-b39c-a1f4044b33f4" providerId="ADAL" clId="{5FE0A016-0A93-4063-8F08-CD48630E8DBB}" dt="2025-02-06T16:52:24.645" v="14636" actId="478"/>
          <ac:spMkLst>
            <pc:docMk/>
            <pc:sldMk cId="3931455884" sldId="2147378743"/>
            <ac:spMk id="23" creationId="{548B53C1-9515-859C-4FF6-ED37AFEFE4B3}"/>
          </ac:spMkLst>
        </pc:spChg>
        <pc:spChg chg="mod">
          <ac:chgData name="丁野 光理" userId="53361c9a-10d0-4268-b39c-a1f4044b33f4" providerId="ADAL" clId="{5FE0A016-0A93-4063-8F08-CD48630E8DBB}" dt="2025-02-06T16:52:33.733" v="14640" actId="207"/>
          <ac:spMkLst>
            <pc:docMk/>
            <pc:sldMk cId="3931455884" sldId="2147378743"/>
            <ac:spMk id="25" creationId="{B623064F-1224-9D0A-91B9-574A09BD6B31}"/>
          </ac:spMkLst>
        </pc:spChg>
        <pc:spChg chg="mod">
          <ac:chgData name="丁野 光理" userId="53361c9a-10d0-4268-b39c-a1f4044b33f4" providerId="ADAL" clId="{5FE0A016-0A93-4063-8F08-CD48630E8DBB}" dt="2025-02-07T03:33:28.109" v="20852" actId="207"/>
          <ac:spMkLst>
            <pc:docMk/>
            <pc:sldMk cId="3931455884" sldId="2147378743"/>
            <ac:spMk id="28" creationId="{90FD0E77-3888-581E-76F2-D03B3D6A162F}"/>
          </ac:spMkLst>
        </pc:spChg>
        <pc:spChg chg="mod">
          <ac:chgData name="丁野 光理" userId="53361c9a-10d0-4268-b39c-a1f4044b33f4" providerId="ADAL" clId="{5FE0A016-0A93-4063-8F08-CD48630E8DBB}" dt="2025-02-07T03:33:28.109" v="20852" actId="207"/>
          <ac:spMkLst>
            <pc:docMk/>
            <pc:sldMk cId="3931455884" sldId="2147378743"/>
            <ac:spMk id="29" creationId="{51548927-EDC2-8320-9763-1100DEEB5C3D}"/>
          </ac:spMkLst>
        </pc:spChg>
        <pc:spChg chg="mod">
          <ac:chgData name="丁野 光理" userId="53361c9a-10d0-4268-b39c-a1f4044b33f4" providerId="ADAL" clId="{5FE0A016-0A93-4063-8F08-CD48630E8DBB}" dt="2025-02-07T03:34:47.646" v="21013"/>
          <ac:spMkLst>
            <pc:docMk/>
            <pc:sldMk cId="3931455884" sldId="2147378743"/>
            <ac:spMk id="30" creationId="{ABA7E6E7-22B8-6897-CAD1-5BB1F7243A11}"/>
          </ac:spMkLst>
        </pc:spChg>
        <pc:spChg chg="mod">
          <ac:chgData name="丁野 光理" userId="53361c9a-10d0-4268-b39c-a1f4044b33f4" providerId="ADAL" clId="{5FE0A016-0A93-4063-8F08-CD48630E8DBB}" dt="2025-02-07T03:42:29.269" v="21424"/>
          <ac:spMkLst>
            <pc:docMk/>
            <pc:sldMk cId="3931455884" sldId="2147378743"/>
            <ac:spMk id="31" creationId="{97AC2652-6A11-4525-3831-C5116BDDAFD4}"/>
          </ac:spMkLst>
        </pc:spChg>
        <pc:spChg chg="mod">
          <ac:chgData name="丁野 光理" userId="53361c9a-10d0-4268-b39c-a1f4044b33f4" providerId="ADAL" clId="{5FE0A016-0A93-4063-8F08-CD48630E8DBB}" dt="2025-02-07T03:33:28.109" v="20852" actId="207"/>
          <ac:spMkLst>
            <pc:docMk/>
            <pc:sldMk cId="3931455884" sldId="2147378743"/>
            <ac:spMk id="32" creationId="{226A0974-299A-DA5C-F13B-FA16A7D473D9}"/>
          </ac:spMkLst>
        </pc:spChg>
        <pc:spChg chg="mod">
          <ac:chgData name="丁野 光理" userId="53361c9a-10d0-4268-b39c-a1f4044b33f4" providerId="ADAL" clId="{5FE0A016-0A93-4063-8F08-CD48630E8DBB}" dt="2025-02-07T03:33:28.109" v="20852" actId="207"/>
          <ac:spMkLst>
            <pc:docMk/>
            <pc:sldMk cId="3931455884" sldId="2147378743"/>
            <ac:spMk id="33" creationId="{C9FC6D16-CAD4-5B3E-F8B5-81D2A2D8CDCA}"/>
          </ac:spMkLst>
        </pc:spChg>
        <pc:spChg chg="del">
          <ac:chgData name="丁野 光理" userId="53361c9a-10d0-4268-b39c-a1f4044b33f4" providerId="ADAL" clId="{5FE0A016-0A93-4063-8F08-CD48630E8DBB}" dt="2025-02-06T16:52:26.659" v="14637" actId="478"/>
          <ac:spMkLst>
            <pc:docMk/>
            <pc:sldMk cId="3931455884" sldId="2147378743"/>
            <ac:spMk id="34" creationId="{C89FC4AA-2731-E92F-D907-2D16595912E8}"/>
          </ac:spMkLst>
        </pc:spChg>
        <pc:spChg chg="del">
          <ac:chgData name="丁野 光理" userId="53361c9a-10d0-4268-b39c-a1f4044b33f4" providerId="ADAL" clId="{5FE0A016-0A93-4063-8F08-CD48630E8DBB}" dt="2025-02-06T16:52:29.564" v="14639" actId="478"/>
          <ac:spMkLst>
            <pc:docMk/>
            <pc:sldMk cId="3931455884" sldId="2147378743"/>
            <ac:spMk id="35" creationId="{708AB7D6-2CDF-65E4-DFCF-96EFAC6FF818}"/>
          </ac:spMkLst>
        </pc:spChg>
        <pc:cxnChg chg="mod">
          <ac:chgData name="丁野 光理" userId="53361c9a-10d0-4268-b39c-a1f4044b33f4" providerId="ADAL" clId="{5FE0A016-0A93-4063-8F08-CD48630E8DBB}" dt="2025-02-07T03:33:28.109" v="20852" actId="207"/>
          <ac:cxnSpMkLst>
            <pc:docMk/>
            <pc:sldMk cId="3931455884" sldId="2147378743"/>
            <ac:cxnSpMk id="21" creationId="{2C5A1D27-39E7-7A74-E0C6-11903FAA5D16}"/>
          </ac:cxnSpMkLst>
        </pc:cxnChg>
        <pc:cxnChg chg="del">
          <ac:chgData name="丁野 光理" userId="53361c9a-10d0-4268-b39c-a1f4044b33f4" providerId="ADAL" clId="{5FE0A016-0A93-4063-8F08-CD48630E8DBB}" dt="2025-02-06T16:52:28.207" v="14638" actId="478"/>
          <ac:cxnSpMkLst>
            <pc:docMk/>
            <pc:sldMk cId="3931455884" sldId="2147378743"/>
            <ac:cxnSpMk id="27" creationId="{E7CB3556-2936-30A4-AEC6-65D0A1738CDB}"/>
          </ac:cxnSpMkLst>
        </pc:cxnChg>
      </pc:sldChg>
      <pc:sldChg chg="modSp add mod">
        <pc:chgData name="丁野 光理" userId="53361c9a-10d0-4268-b39c-a1f4044b33f4" providerId="ADAL" clId="{5FE0A016-0A93-4063-8F08-CD48630E8DBB}" dt="2025-02-07T11:39:11.572" v="24928" actId="20577"/>
        <pc:sldMkLst>
          <pc:docMk/>
          <pc:sldMk cId="2340429532" sldId="2147378744"/>
        </pc:sldMkLst>
        <pc:spChg chg="mod">
          <ac:chgData name="丁野 光理" userId="53361c9a-10d0-4268-b39c-a1f4044b33f4" providerId="ADAL" clId="{5FE0A016-0A93-4063-8F08-CD48630E8DBB}" dt="2025-02-06T16:02:12.279" v="10744"/>
          <ac:spMkLst>
            <pc:docMk/>
            <pc:sldMk cId="2340429532" sldId="2147378744"/>
            <ac:spMk id="2" creationId="{BDE63369-EA7E-4802-A4A3-D4010A333C66}"/>
          </ac:spMkLst>
        </pc:spChg>
        <pc:spChg chg="mod">
          <ac:chgData name="丁野 光理" userId="53361c9a-10d0-4268-b39c-a1f4044b33f4" providerId="ADAL" clId="{5FE0A016-0A93-4063-8F08-CD48630E8DBB}" dt="2025-02-07T11:39:11.572" v="24928" actId="20577"/>
          <ac:spMkLst>
            <pc:docMk/>
            <pc:sldMk cId="2340429532" sldId="2147378744"/>
            <ac:spMk id="9" creationId="{D22A0A06-D5A8-4A1A-B66F-2A8EDBD644F1}"/>
          </ac:spMkLst>
        </pc:spChg>
        <pc:spChg chg="mod">
          <ac:chgData name="丁野 光理" userId="53361c9a-10d0-4268-b39c-a1f4044b33f4" providerId="ADAL" clId="{5FE0A016-0A93-4063-8F08-CD48630E8DBB}" dt="2025-02-07T01:40:06.916" v="19118" actId="207"/>
          <ac:spMkLst>
            <pc:docMk/>
            <pc:sldMk cId="2340429532" sldId="2147378744"/>
            <ac:spMk id="13" creationId="{EDAD2185-EC0D-868E-795C-E7F2FB4ACC64}"/>
          </ac:spMkLst>
        </pc:spChg>
        <pc:spChg chg="mod">
          <ac:chgData name="丁野 光理" userId="53361c9a-10d0-4268-b39c-a1f4044b33f4" providerId="ADAL" clId="{5FE0A016-0A93-4063-8F08-CD48630E8DBB}" dt="2025-02-07T02:26:37.598" v="19739"/>
          <ac:spMkLst>
            <pc:docMk/>
            <pc:sldMk cId="2340429532" sldId="2147378744"/>
            <ac:spMk id="14" creationId="{EB154E72-D468-E337-5176-249A512E7AD4}"/>
          </ac:spMkLst>
        </pc:spChg>
        <pc:spChg chg="mod">
          <ac:chgData name="丁野 光理" userId="53361c9a-10d0-4268-b39c-a1f4044b33f4" providerId="ADAL" clId="{5FE0A016-0A93-4063-8F08-CD48630E8DBB}" dt="2025-02-06T16:33:33.220" v="12712"/>
          <ac:spMkLst>
            <pc:docMk/>
            <pc:sldMk cId="2340429532" sldId="2147378744"/>
            <ac:spMk id="17" creationId="{CF45C799-184A-B9A1-3984-069F4A38D270}"/>
          </ac:spMkLst>
        </pc:spChg>
      </pc:sldChg>
      <pc:sldChg chg="modSp add mod">
        <pc:chgData name="丁野 光理" userId="53361c9a-10d0-4268-b39c-a1f4044b33f4" providerId="ADAL" clId="{5FE0A016-0A93-4063-8F08-CD48630E8DBB}" dt="2025-02-07T11:39:07.993" v="24925" actId="20577"/>
        <pc:sldMkLst>
          <pc:docMk/>
          <pc:sldMk cId="2271814075" sldId="2147378745"/>
        </pc:sldMkLst>
        <pc:spChg chg="mod">
          <ac:chgData name="丁野 光理" userId="53361c9a-10d0-4268-b39c-a1f4044b33f4" providerId="ADAL" clId="{5FE0A016-0A93-4063-8F08-CD48630E8DBB}" dt="2025-02-06T16:02:19.570" v="10746"/>
          <ac:spMkLst>
            <pc:docMk/>
            <pc:sldMk cId="2271814075" sldId="2147378745"/>
            <ac:spMk id="2" creationId="{BDE63369-EA7E-4802-A4A3-D4010A333C66}"/>
          </ac:spMkLst>
        </pc:spChg>
        <pc:spChg chg="mod">
          <ac:chgData name="丁野 光理" userId="53361c9a-10d0-4268-b39c-a1f4044b33f4" providerId="ADAL" clId="{5FE0A016-0A93-4063-8F08-CD48630E8DBB}" dt="2025-02-07T11:39:07.993" v="24925" actId="20577"/>
          <ac:spMkLst>
            <pc:docMk/>
            <pc:sldMk cId="2271814075" sldId="2147378745"/>
            <ac:spMk id="9" creationId="{D22A0A06-D5A8-4A1A-B66F-2A8EDBD644F1}"/>
          </ac:spMkLst>
        </pc:spChg>
        <pc:spChg chg="mod">
          <ac:chgData name="丁野 光理" userId="53361c9a-10d0-4268-b39c-a1f4044b33f4" providerId="ADAL" clId="{5FE0A016-0A93-4063-8F08-CD48630E8DBB}" dt="2025-02-07T01:44:58.492" v="19675" actId="6549"/>
          <ac:spMkLst>
            <pc:docMk/>
            <pc:sldMk cId="2271814075" sldId="2147378745"/>
            <ac:spMk id="10" creationId="{1A383005-B1A5-AD52-BAD8-1851206F59CA}"/>
          </ac:spMkLst>
        </pc:spChg>
        <pc:spChg chg="mod">
          <ac:chgData name="丁野 光理" userId="53361c9a-10d0-4268-b39c-a1f4044b33f4" providerId="ADAL" clId="{5FE0A016-0A93-4063-8F08-CD48630E8DBB}" dt="2025-02-07T03:32:58.309" v="20851" actId="207"/>
          <ac:spMkLst>
            <pc:docMk/>
            <pc:sldMk cId="2271814075" sldId="2147378745"/>
            <ac:spMk id="13" creationId="{EDAD2185-EC0D-868E-795C-E7F2FB4ACC64}"/>
          </ac:spMkLst>
        </pc:spChg>
        <pc:spChg chg="mod">
          <ac:chgData name="丁野 光理" userId="53361c9a-10d0-4268-b39c-a1f4044b33f4" providerId="ADAL" clId="{5FE0A016-0A93-4063-8F08-CD48630E8DBB}" dt="2025-02-07T01:33:39.962" v="18421" actId="1076"/>
          <ac:spMkLst>
            <pc:docMk/>
            <pc:sldMk cId="2271814075" sldId="2147378745"/>
            <ac:spMk id="14" creationId="{18C1D74E-EB9E-1CE0-ED28-285496344003}"/>
          </ac:spMkLst>
        </pc:spChg>
        <pc:spChg chg="mod">
          <ac:chgData name="丁野 光理" userId="53361c9a-10d0-4268-b39c-a1f4044b33f4" providerId="ADAL" clId="{5FE0A016-0A93-4063-8F08-CD48630E8DBB}" dt="2025-02-06T16:33:42.343" v="12714"/>
          <ac:spMkLst>
            <pc:docMk/>
            <pc:sldMk cId="2271814075" sldId="2147378745"/>
            <ac:spMk id="20" creationId="{94800FDA-81F1-3586-866D-A519778D8DB8}"/>
          </ac:spMkLst>
        </pc:spChg>
      </pc:sldChg>
      <pc:sldChg chg="addSp delSp modSp add mod ord">
        <pc:chgData name="丁野 光理" userId="53361c9a-10d0-4268-b39c-a1f4044b33f4" providerId="ADAL" clId="{5FE0A016-0A93-4063-8F08-CD48630E8DBB}" dt="2025-02-07T11:20:11.211" v="24492" actId="1076"/>
        <pc:sldMkLst>
          <pc:docMk/>
          <pc:sldMk cId="478136210" sldId="2147378746"/>
        </pc:sldMkLst>
        <pc:spChg chg="mod">
          <ac:chgData name="丁野 光理" userId="53361c9a-10d0-4268-b39c-a1f4044b33f4" providerId="ADAL" clId="{5FE0A016-0A93-4063-8F08-CD48630E8DBB}" dt="2025-02-07T11:11:53.733" v="24026"/>
          <ac:spMkLst>
            <pc:docMk/>
            <pc:sldMk cId="478136210" sldId="2147378746"/>
            <ac:spMk id="2" creationId="{BDE63369-EA7E-4802-A4A3-D4010A333C66}"/>
          </ac:spMkLst>
        </pc:spChg>
        <pc:spChg chg="del mod">
          <ac:chgData name="丁野 光理" userId="53361c9a-10d0-4268-b39c-a1f4044b33f4" providerId="ADAL" clId="{5FE0A016-0A93-4063-8F08-CD48630E8DBB}" dt="2025-02-07T11:19:14.837" v="24479"/>
          <ac:spMkLst>
            <pc:docMk/>
            <pc:sldMk cId="478136210" sldId="2147378746"/>
            <ac:spMk id="3" creationId="{91EE754F-8C87-1B2E-0787-5CD75A67D43F}"/>
          </ac:spMkLst>
        </pc:spChg>
        <pc:spChg chg="mod">
          <ac:chgData name="丁野 光理" userId="53361c9a-10d0-4268-b39c-a1f4044b33f4" providerId="ADAL" clId="{5FE0A016-0A93-4063-8F08-CD48630E8DBB}" dt="2025-02-07T11:20:11.211" v="24492" actId="1076"/>
          <ac:spMkLst>
            <pc:docMk/>
            <pc:sldMk cId="478136210" sldId="2147378746"/>
            <ac:spMk id="6" creationId="{21D13A10-9062-ED6C-1199-D4C143403E83}"/>
          </ac:spMkLst>
        </pc:spChg>
        <pc:spChg chg="mod">
          <ac:chgData name="丁野 光理" userId="53361c9a-10d0-4268-b39c-a1f4044b33f4" providerId="ADAL" clId="{5FE0A016-0A93-4063-8F08-CD48630E8DBB}" dt="2025-02-07T11:10:48.330" v="23940" actId="20577"/>
          <ac:spMkLst>
            <pc:docMk/>
            <pc:sldMk cId="478136210" sldId="2147378746"/>
            <ac:spMk id="9" creationId="{D22A0A06-D5A8-4A1A-B66F-2A8EDBD644F1}"/>
          </ac:spMkLst>
        </pc:spChg>
        <pc:graphicFrameChg chg="add mod modGraphic">
          <ac:chgData name="丁野 光理" userId="53361c9a-10d0-4268-b39c-a1f4044b33f4" providerId="ADAL" clId="{5FE0A016-0A93-4063-8F08-CD48630E8DBB}" dt="2025-02-07T11:20:09.315" v="24491" actId="1076"/>
          <ac:graphicFrameMkLst>
            <pc:docMk/>
            <pc:sldMk cId="478136210" sldId="2147378746"/>
            <ac:graphicFrameMk id="4" creationId="{0C7EBEDC-46F2-4C75-201F-1BD5EC9DF524}"/>
          </ac:graphicFrameMkLst>
        </pc:graphicFrameChg>
        <pc:graphicFrameChg chg="del">
          <ac:chgData name="丁野 光理" userId="53361c9a-10d0-4268-b39c-a1f4044b33f4" providerId="ADAL" clId="{5FE0A016-0A93-4063-8F08-CD48630E8DBB}" dt="2025-02-06T16:29:23.889" v="12606" actId="478"/>
          <ac:graphicFrameMkLst>
            <pc:docMk/>
            <pc:sldMk cId="478136210" sldId="2147378746"/>
            <ac:graphicFrameMk id="14" creationId="{9887595F-90B6-1EDC-9BF9-62AD79C17B7E}"/>
          </ac:graphicFrameMkLst>
        </pc:graphicFrameChg>
      </pc:sldChg>
      <pc:sldChg chg="addSp delSp modSp add mod delCm">
        <pc:chgData name="丁野 光理" userId="53361c9a-10d0-4268-b39c-a1f4044b33f4" providerId="ADAL" clId="{5FE0A016-0A93-4063-8F08-CD48630E8DBB}" dt="2025-02-07T10:24:26.243" v="22936"/>
        <pc:sldMkLst>
          <pc:docMk/>
          <pc:sldMk cId="3772405785" sldId="2147378747"/>
        </pc:sldMkLst>
        <pc:spChg chg="mod">
          <ac:chgData name="丁野 光理" userId="53361c9a-10d0-4268-b39c-a1f4044b33f4" providerId="ADAL" clId="{5FE0A016-0A93-4063-8F08-CD48630E8DBB}" dt="2025-02-06T16:05:57.615" v="10782"/>
          <ac:spMkLst>
            <pc:docMk/>
            <pc:sldMk cId="3772405785" sldId="2147378747"/>
            <ac:spMk id="2" creationId="{BDE63369-EA7E-4802-A4A3-D4010A333C66}"/>
          </ac:spMkLst>
        </pc:spChg>
        <pc:spChg chg="del mod">
          <ac:chgData name="丁野 光理" userId="53361c9a-10d0-4268-b39c-a1f4044b33f4" providerId="ADAL" clId="{5FE0A016-0A93-4063-8F08-CD48630E8DBB}" dt="2025-02-06T16:44:42.632" v="13892" actId="478"/>
          <ac:spMkLst>
            <pc:docMk/>
            <pc:sldMk cId="3772405785" sldId="2147378747"/>
            <ac:spMk id="6" creationId="{95B7D5A6-3733-419F-5F47-1323A3D8D852}"/>
          </ac:spMkLst>
        </pc:spChg>
        <pc:spChg chg="mod">
          <ac:chgData name="丁野 光理" userId="53361c9a-10d0-4268-b39c-a1f4044b33f4" providerId="ADAL" clId="{5FE0A016-0A93-4063-8F08-CD48630E8DBB}" dt="2025-02-06T16:05:59.006" v="10787"/>
          <ac:spMkLst>
            <pc:docMk/>
            <pc:sldMk cId="3772405785" sldId="2147378747"/>
            <ac:spMk id="9" creationId="{D22A0A06-D5A8-4A1A-B66F-2A8EDBD644F1}"/>
          </ac:spMkLst>
        </pc:spChg>
        <pc:spChg chg="add del mod">
          <ac:chgData name="丁野 光理" userId="53361c9a-10d0-4268-b39c-a1f4044b33f4" providerId="ADAL" clId="{5FE0A016-0A93-4063-8F08-CD48630E8DBB}" dt="2025-02-06T16:45:48.762" v="13906" actId="478"/>
          <ac:spMkLst>
            <pc:docMk/>
            <pc:sldMk cId="3772405785" sldId="2147378747"/>
            <ac:spMk id="11" creationId="{1CE9469F-B46C-8C59-31A9-F1A40A7EA694}"/>
          </ac:spMkLst>
        </pc:spChg>
        <pc:spChg chg="mod">
          <ac:chgData name="丁野 光理" userId="53361c9a-10d0-4268-b39c-a1f4044b33f4" providerId="ADAL" clId="{5FE0A016-0A93-4063-8F08-CD48630E8DBB}" dt="2025-02-06T16:32:09.543" v="12681"/>
          <ac:spMkLst>
            <pc:docMk/>
            <pc:sldMk cId="3772405785" sldId="2147378747"/>
            <ac:spMk id="12" creationId="{0885EF34-1A86-AA39-1A1A-5F99ABF6B7EF}"/>
          </ac:spMkLst>
        </pc:spChg>
        <pc:spChg chg="add del mod">
          <ac:chgData name="丁野 光理" userId="53361c9a-10d0-4268-b39c-a1f4044b33f4" providerId="ADAL" clId="{5FE0A016-0A93-4063-8F08-CD48630E8DBB}" dt="2025-02-06T16:45:48.762" v="13906" actId="478"/>
          <ac:spMkLst>
            <pc:docMk/>
            <pc:sldMk cId="3772405785" sldId="2147378747"/>
            <ac:spMk id="14" creationId="{269E26A7-B828-2C10-178A-E643291C5EE1}"/>
          </ac:spMkLst>
        </pc:spChg>
        <pc:spChg chg="add del mod">
          <ac:chgData name="丁野 光理" userId="53361c9a-10d0-4268-b39c-a1f4044b33f4" providerId="ADAL" clId="{5FE0A016-0A93-4063-8F08-CD48630E8DBB}" dt="2025-02-06T16:45:48.762" v="13906" actId="478"/>
          <ac:spMkLst>
            <pc:docMk/>
            <pc:sldMk cId="3772405785" sldId="2147378747"/>
            <ac:spMk id="15" creationId="{CCF59FE6-8ACA-44F8-9F06-342429B62CCE}"/>
          </ac:spMkLst>
        </pc:spChg>
        <pc:spChg chg="add del mod">
          <ac:chgData name="丁野 光理" userId="53361c9a-10d0-4268-b39c-a1f4044b33f4" providerId="ADAL" clId="{5FE0A016-0A93-4063-8F08-CD48630E8DBB}" dt="2025-02-06T16:45:48.762" v="13906" actId="478"/>
          <ac:spMkLst>
            <pc:docMk/>
            <pc:sldMk cId="3772405785" sldId="2147378747"/>
            <ac:spMk id="16" creationId="{409C881A-7069-B585-482F-D1FE1A645559}"/>
          </ac:spMkLst>
        </pc:spChg>
        <pc:spChg chg="del">
          <ac:chgData name="丁野 光理" userId="53361c9a-10d0-4268-b39c-a1f4044b33f4" providerId="ADAL" clId="{5FE0A016-0A93-4063-8F08-CD48630E8DBB}" dt="2025-02-06T16:46:04.109" v="13907" actId="478"/>
          <ac:spMkLst>
            <pc:docMk/>
            <pc:sldMk cId="3772405785" sldId="2147378747"/>
            <ac:spMk id="17" creationId="{ED5B4037-6A33-091F-CAB0-26A3BC43E5EE}"/>
          </ac:spMkLst>
        </pc:spChg>
        <pc:spChg chg="add del mod">
          <ac:chgData name="丁野 光理" userId="53361c9a-10d0-4268-b39c-a1f4044b33f4" providerId="ADAL" clId="{5FE0A016-0A93-4063-8F08-CD48630E8DBB}" dt="2025-02-06T16:45:45.415" v="13904" actId="478"/>
          <ac:spMkLst>
            <pc:docMk/>
            <pc:sldMk cId="3772405785" sldId="2147378747"/>
            <ac:spMk id="18" creationId="{13122EFD-F512-5EC9-E3A7-8DC3FD6D7986}"/>
          </ac:spMkLst>
        </pc:spChg>
        <pc:spChg chg="add del mod">
          <ac:chgData name="丁野 光理" userId="53361c9a-10d0-4268-b39c-a1f4044b33f4" providerId="ADAL" clId="{5FE0A016-0A93-4063-8F08-CD48630E8DBB}" dt="2025-02-06T16:45:48.762" v="13906" actId="478"/>
          <ac:spMkLst>
            <pc:docMk/>
            <pc:sldMk cId="3772405785" sldId="2147378747"/>
            <ac:spMk id="19" creationId="{FECBE78B-478A-D9E3-C1E7-CF462C99A828}"/>
          </ac:spMkLst>
        </pc:spChg>
        <pc:spChg chg="add del mod">
          <ac:chgData name="丁野 光理" userId="53361c9a-10d0-4268-b39c-a1f4044b33f4" providerId="ADAL" clId="{5FE0A016-0A93-4063-8F08-CD48630E8DBB}" dt="2025-02-06T16:45:48.762" v="13906" actId="478"/>
          <ac:spMkLst>
            <pc:docMk/>
            <pc:sldMk cId="3772405785" sldId="2147378747"/>
            <ac:spMk id="21" creationId="{CBFE8499-E3A2-1348-4A64-2EB7A84F6311}"/>
          </ac:spMkLst>
        </pc:spChg>
        <pc:spChg chg="add del mod">
          <ac:chgData name="丁野 光理" userId="53361c9a-10d0-4268-b39c-a1f4044b33f4" providerId="ADAL" clId="{5FE0A016-0A93-4063-8F08-CD48630E8DBB}" dt="2025-02-06T16:45:46.188" v="13905" actId="478"/>
          <ac:spMkLst>
            <pc:docMk/>
            <pc:sldMk cId="3772405785" sldId="2147378747"/>
            <ac:spMk id="23" creationId="{3A646FB1-7C9E-ED39-A5AE-0F3DB415FFAA}"/>
          </ac:spMkLst>
        </pc:spChg>
        <pc:spChg chg="add mod">
          <ac:chgData name="丁野 光理" userId="53361c9a-10d0-4268-b39c-a1f4044b33f4" providerId="ADAL" clId="{5FE0A016-0A93-4063-8F08-CD48630E8DBB}" dt="2025-02-06T16:45:12.556" v="13896"/>
          <ac:spMkLst>
            <pc:docMk/>
            <pc:sldMk cId="3772405785" sldId="2147378747"/>
            <ac:spMk id="24" creationId="{101D7C9B-7F36-1B6B-80F6-0631B91F9CA2}"/>
          </ac:spMkLst>
        </pc:spChg>
        <pc:spChg chg="add mod">
          <ac:chgData name="丁野 光理" userId="53361c9a-10d0-4268-b39c-a1f4044b33f4" providerId="ADAL" clId="{5FE0A016-0A93-4063-8F08-CD48630E8DBB}" dt="2025-02-06T16:46:04.313" v="13908"/>
          <ac:spMkLst>
            <pc:docMk/>
            <pc:sldMk cId="3772405785" sldId="2147378747"/>
            <ac:spMk id="25" creationId="{068C9888-0E95-AAA4-69A4-84A9C781E59B}"/>
          </ac:spMkLst>
        </pc:spChg>
        <pc:spChg chg="mod">
          <ac:chgData name="丁野 光理" userId="53361c9a-10d0-4268-b39c-a1f4044b33f4" providerId="ADAL" clId="{5FE0A016-0A93-4063-8F08-CD48630E8DBB}" dt="2025-02-06T16:46:38.721" v="13963" actId="20577"/>
          <ac:spMkLst>
            <pc:docMk/>
            <pc:sldMk cId="3772405785" sldId="2147378747"/>
            <ac:spMk id="29" creationId="{BFE015E2-A234-3ED4-7E0B-636B515BBD87}"/>
          </ac:spMkLst>
        </pc:spChg>
        <pc:spChg chg="mod">
          <ac:chgData name="丁野 光理" userId="53361c9a-10d0-4268-b39c-a1f4044b33f4" providerId="ADAL" clId="{5FE0A016-0A93-4063-8F08-CD48630E8DBB}" dt="2025-02-06T16:46:39.221" v="13965" actId="20577"/>
          <ac:spMkLst>
            <pc:docMk/>
            <pc:sldMk cId="3772405785" sldId="2147378747"/>
            <ac:spMk id="31" creationId="{FD617E09-DA13-651B-5833-3CA7F28180A9}"/>
          </ac:spMkLst>
        </pc:spChg>
        <pc:spChg chg="mod">
          <ac:chgData name="丁野 光理" userId="53361c9a-10d0-4268-b39c-a1f4044b33f4" providerId="ADAL" clId="{5FE0A016-0A93-4063-8F08-CD48630E8DBB}" dt="2025-02-06T16:46:55.806" v="13967"/>
          <ac:spMkLst>
            <pc:docMk/>
            <pc:sldMk cId="3772405785" sldId="2147378747"/>
            <ac:spMk id="36" creationId="{99D7103E-992B-5250-B347-DAC5865B777B}"/>
          </ac:spMkLst>
        </pc:spChg>
        <pc:spChg chg="mod">
          <ac:chgData name="丁野 光理" userId="53361c9a-10d0-4268-b39c-a1f4044b33f4" providerId="ADAL" clId="{5FE0A016-0A93-4063-8F08-CD48630E8DBB}" dt="2025-02-06T16:46:59.316" v="13982"/>
          <ac:spMkLst>
            <pc:docMk/>
            <pc:sldMk cId="3772405785" sldId="2147378747"/>
            <ac:spMk id="38" creationId="{84738C85-2E4B-917A-4C4B-FE0EF43AE5B6}"/>
          </ac:spMkLst>
        </pc:spChg>
        <pc:spChg chg="add mod">
          <ac:chgData name="丁野 光理" userId="53361c9a-10d0-4268-b39c-a1f4044b33f4" providerId="ADAL" clId="{5FE0A016-0A93-4063-8F08-CD48630E8DBB}" dt="2025-02-06T16:49:31.005" v="14238"/>
          <ac:spMkLst>
            <pc:docMk/>
            <pc:sldMk cId="3772405785" sldId="2147378747"/>
            <ac:spMk id="40" creationId="{236E40F9-2DAA-3245-0865-4EE68915C6F1}"/>
          </ac:spMkLst>
        </pc:spChg>
        <pc:spChg chg="add mod">
          <ac:chgData name="丁野 光理" userId="53361c9a-10d0-4268-b39c-a1f4044b33f4" providerId="ADAL" clId="{5FE0A016-0A93-4063-8F08-CD48630E8DBB}" dt="2025-02-06T16:49:35.803" v="14240" actId="1076"/>
          <ac:spMkLst>
            <pc:docMk/>
            <pc:sldMk cId="3772405785" sldId="2147378747"/>
            <ac:spMk id="41" creationId="{B2FA0C27-AD91-26E0-AEDD-2BA9A0C5F7A2}"/>
          </ac:spMkLst>
        </pc:spChg>
        <pc:spChg chg="del">
          <ac:chgData name="丁野 光理" userId="53361c9a-10d0-4268-b39c-a1f4044b33f4" providerId="ADAL" clId="{5FE0A016-0A93-4063-8F08-CD48630E8DBB}" dt="2025-02-06T16:44:42.632" v="13892" actId="478"/>
          <ac:spMkLst>
            <pc:docMk/>
            <pc:sldMk cId="3772405785" sldId="2147378747"/>
            <ac:spMk id="50" creationId="{5B635FEA-2811-3A33-A6E6-95440B42D811}"/>
          </ac:spMkLst>
        </pc:spChg>
        <pc:spChg chg="del">
          <ac:chgData name="丁野 光理" userId="53361c9a-10d0-4268-b39c-a1f4044b33f4" providerId="ADAL" clId="{5FE0A016-0A93-4063-8F08-CD48630E8DBB}" dt="2025-02-06T16:44:43.691" v="13893" actId="478"/>
          <ac:spMkLst>
            <pc:docMk/>
            <pc:sldMk cId="3772405785" sldId="2147378747"/>
            <ac:spMk id="53" creationId="{600AE28E-2F7C-E1F6-5796-97DD1A8A0830}"/>
          </ac:spMkLst>
        </pc:spChg>
        <pc:grpChg chg="del">
          <ac:chgData name="丁野 光理" userId="53361c9a-10d0-4268-b39c-a1f4044b33f4" providerId="ADAL" clId="{5FE0A016-0A93-4063-8F08-CD48630E8DBB}" dt="2025-02-06T16:44:42.632" v="13892" actId="478"/>
          <ac:grpSpMkLst>
            <pc:docMk/>
            <pc:sldMk cId="3772405785" sldId="2147378747"/>
            <ac:grpSpMk id="3" creationId="{EBC23DA4-F36B-555D-CA5C-39F94E08823F}"/>
          </ac:grpSpMkLst>
        </pc:grpChg>
        <pc:grpChg chg="add del mod">
          <ac:chgData name="丁野 光理" userId="53361c9a-10d0-4268-b39c-a1f4044b33f4" providerId="ADAL" clId="{5FE0A016-0A93-4063-8F08-CD48630E8DBB}" dt="2025-02-06T16:46:40.706" v="13966" actId="478"/>
          <ac:grpSpMkLst>
            <pc:docMk/>
            <pc:sldMk cId="3772405785" sldId="2147378747"/>
            <ac:grpSpMk id="26" creationId="{1F39F4F4-FCE8-EF56-1B1E-A66C769F61C0}"/>
          </ac:grpSpMkLst>
        </pc:grpChg>
        <pc:grpChg chg="mod">
          <ac:chgData name="丁野 光理" userId="53361c9a-10d0-4268-b39c-a1f4044b33f4" providerId="ADAL" clId="{5FE0A016-0A93-4063-8F08-CD48630E8DBB}" dt="2025-02-06T16:46:22.438" v="13928" actId="1076"/>
          <ac:grpSpMkLst>
            <pc:docMk/>
            <pc:sldMk cId="3772405785" sldId="2147378747"/>
            <ac:grpSpMk id="27" creationId="{F4A68F2B-E4E9-07CF-1635-FC49C8B41475}"/>
          </ac:grpSpMkLst>
        </pc:grpChg>
        <pc:grpChg chg="mod">
          <ac:chgData name="丁野 光理" userId="53361c9a-10d0-4268-b39c-a1f4044b33f4" providerId="ADAL" clId="{5FE0A016-0A93-4063-8F08-CD48630E8DBB}" dt="2025-02-06T16:46:22.438" v="13928" actId="1076"/>
          <ac:grpSpMkLst>
            <pc:docMk/>
            <pc:sldMk cId="3772405785" sldId="2147378747"/>
            <ac:grpSpMk id="28" creationId="{7FBD28B9-CD06-F4C2-E65B-CECD920493A2}"/>
          </ac:grpSpMkLst>
        </pc:grpChg>
        <pc:grpChg chg="add mod">
          <ac:chgData name="丁野 光理" userId="53361c9a-10d0-4268-b39c-a1f4044b33f4" providerId="ADAL" clId="{5FE0A016-0A93-4063-8F08-CD48630E8DBB}" dt="2025-02-06T16:46:55.806" v="13967"/>
          <ac:grpSpMkLst>
            <pc:docMk/>
            <pc:sldMk cId="3772405785" sldId="2147378747"/>
            <ac:grpSpMk id="33" creationId="{47629CB3-B09F-D398-F612-07DF97174A01}"/>
          </ac:grpSpMkLst>
        </pc:grpChg>
        <pc:grpChg chg="mod">
          <ac:chgData name="丁野 光理" userId="53361c9a-10d0-4268-b39c-a1f4044b33f4" providerId="ADAL" clId="{5FE0A016-0A93-4063-8F08-CD48630E8DBB}" dt="2025-02-06T16:46:55.806" v="13967"/>
          <ac:grpSpMkLst>
            <pc:docMk/>
            <pc:sldMk cId="3772405785" sldId="2147378747"/>
            <ac:grpSpMk id="34" creationId="{D1F389CF-C470-6BC8-F1AA-01ED41186FE9}"/>
          </ac:grpSpMkLst>
        </pc:grpChg>
        <pc:grpChg chg="mod">
          <ac:chgData name="丁野 光理" userId="53361c9a-10d0-4268-b39c-a1f4044b33f4" providerId="ADAL" clId="{5FE0A016-0A93-4063-8F08-CD48630E8DBB}" dt="2025-02-06T16:46:55.806" v="13967"/>
          <ac:grpSpMkLst>
            <pc:docMk/>
            <pc:sldMk cId="3772405785" sldId="2147378747"/>
            <ac:grpSpMk id="35" creationId="{7E52A83E-3662-7757-45C6-D61980534820}"/>
          </ac:grpSpMkLst>
        </pc:grpChg>
        <pc:cxnChg chg="add del mod">
          <ac:chgData name="丁野 光理" userId="53361c9a-10d0-4268-b39c-a1f4044b33f4" providerId="ADAL" clId="{5FE0A016-0A93-4063-8F08-CD48630E8DBB}" dt="2025-02-06T16:45:48.762" v="13906" actId="478"/>
          <ac:cxnSpMkLst>
            <pc:docMk/>
            <pc:sldMk cId="3772405785" sldId="2147378747"/>
            <ac:cxnSpMk id="20" creationId="{BD41BBC5-DA3B-C500-407E-CA6F984DF787}"/>
          </ac:cxnSpMkLst>
        </pc:cxnChg>
        <pc:cxnChg chg="add del mod">
          <ac:chgData name="丁野 光理" userId="53361c9a-10d0-4268-b39c-a1f4044b33f4" providerId="ADAL" clId="{5FE0A016-0A93-4063-8F08-CD48630E8DBB}" dt="2025-02-06T16:45:48.762" v="13906" actId="478"/>
          <ac:cxnSpMkLst>
            <pc:docMk/>
            <pc:sldMk cId="3772405785" sldId="2147378747"/>
            <ac:cxnSpMk id="22" creationId="{22128DA8-11F8-E78A-C17D-923CB90BA4E5}"/>
          </ac:cxnSpMkLst>
        </pc:cxnChg>
        <pc:cxnChg chg="mod">
          <ac:chgData name="丁野 光理" userId="53361c9a-10d0-4268-b39c-a1f4044b33f4" providerId="ADAL" clId="{5FE0A016-0A93-4063-8F08-CD48630E8DBB}" dt="2025-02-06T16:46:22.438" v="13928" actId="1076"/>
          <ac:cxnSpMkLst>
            <pc:docMk/>
            <pc:sldMk cId="3772405785" sldId="2147378747"/>
            <ac:cxnSpMk id="30" creationId="{41B0F580-B261-1473-E1CA-FFCC437B00D0}"/>
          </ac:cxnSpMkLst>
        </pc:cxnChg>
        <pc:cxnChg chg="mod">
          <ac:chgData name="丁野 光理" userId="53361c9a-10d0-4268-b39c-a1f4044b33f4" providerId="ADAL" clId="{5FE0A016-0A93-4063-8F08-CD48630E8DBB}" dt="2025-02-06T16:46:22.438" v="13928" actId="1076"/>
          <ac:cxnSpMkLst>
            <pc:docMk/>
            <pc:sldMk cId="3772405785" sldId="2147378747"/>
            <ac:cxnSpMk id="32" creationId="{5DBF1AA5-9CAD-AF71-7843-BA314D48436D}"/>
          </ac:cxnSpMkLst>
        </pc:cxnChg>
        <pc:cxnChg chg="mod">
          <ac:chgData name="丁野 光理" userId="53361c9a-10d0-4268-b39c-a1f4044b33f4" providerId="ADAL" clId="{5FE0A016-0A93-4063-8F08-CD48630E8DBB}" dt="2025-02-06T16:46:55.806" v="13967"/>
          <ac:cxnSpMkLst>
            <pc:docMk/>
            <pc:sldMk cId="3772405785" sldId="2147378747"/>
            <ac:cxnSpMk id="37" creationId="{B3ACFFB4-6028-1816-9409-A5A10E8F1A67}"/>
          </ac:cxnSpMkLst>
        </pc:cxnChg>
        <pc:cxnChg chg="mod">
          <ac:chgData name="丁野 光理" userId="53361c9a-10d0-4268-b39c-a1f4044b33f4" providerId="ADAL" clId="{5FE0A016-0A93-4063-8F08-CD48630E8DBB}" dt="2025-02-06T16:46:55.806" v="13967"/>
          <ac:cxnSpMkLst>
            <pc:docMk/>
            <pc:sldMk cId="3772405785" sldId="2147378747"/>
            <ac:cxnSpMk id="39" creationId="{5B6203B4-15C4-4045-FF39-4F895CD46FD7}"/>
          </ac:cxnSpMkLst>
        </pc:cxn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7T10:24:26.243" v="22936"/>
              <pc2:cmMkLst xmlns:pc2="http://schemas.microsoft.com/office/powerpoint/2019/9/main/command">
                <pc:docMk/>
                <pc:sldMk cId="3772405785" sldId="2147378747"/>
                <pc2:cmMk id="{92472441-99FB-499C-A0DD-797D7D3F58C4}"/>
              </pc2:cmMkLst>
            </pc226:cmChg>
            <pc226:cmChg xmlns:pc226="http://schemas.microsoft.com/office/powerpoint/2022/06/main/command" chg="del">
              <pc226:chgData name="丁野 光理" userId="53361c9a-10d0-4268-b39c-a1f4044b33f4" providerId="ADAL" clId="{5FE0A016-0A93-4063-8F08-CD48630E8DBB}" dt="2025-02-07T10:24:25.084" v="22935"/>
              <pc2:cmMkLst xmlns:pc2="http://schemas.microsoft.com/office/powerpoint/2019/9/main/command">
                <pc:docMk/>
                <pc:sldMk cId="3772405785" sldId="2147378747"/>
                <pc2:cmMk id="{6CD630C0-F5F4-4C83-A53E-474A29FD2A36}"/>
              </pc2:cmMkLst>
            </pc226:cmChg>
          </p:ext>
        </pc:extLst>
      </pc:sldChg>
      <pc:sldChg chg="addSp delSp modSp add mod ord delCm">
        <pc:chgData name="丁野 光理" userId="53361c9a-10d0-4268-b39c-a1f4044b33f4" providerId="ADAL" clId="{5FE0A016-0A93-4063-8F08-CD48630E8DBB}" dt="2025-02-07T11:18:28.618" v="24471" actId="14100"/>
        <pc:sldMkLst>
          <pc:docMk/>
          <pc:sldMk cId="177420526" sldId="2147378748"/>
        </pc:sldMkLst>
        <pc:spChg chg="mod">
          <ac:chgData name="丁野 光理" userId="53361c9a-10d0-4268-b39c-a1f4044b33f4" providerId="ADAL" clId="{5FE0A016-0A93-4063-8F08-CD48630E8DBB}" dt="2025-02-07T11:10:57.802" v="23941"/>
          <ac:spMkLst>
            <pc:docMk/>
            <pc:sldMk cId="177420526" sldId="2147378748"/>
            <ac:spMk id="2" creationId="{A45FDDD5-9A42-423D-9ED3-F19DD3567786}"/>
          </ac:spMkLst>
        </pc:spChg>
        <pc:spChg chg="mod ord">
          <ac:chgData name="丁野 光理" userId="53361c9a-10d0-4268-b39c-a1f4044b33f4" providerId="ADAL" clId="{5FE0A016-0A93-4063-8F08-CD48630E8DBB}" dt="2025-02-07T11:18:28.618" v="24471" actId="14100"/>
          <ac:spMkLst>
            <pc:docMk/>
            <pc:sldMk cId="177420526" sldId="2147378748"/>
            <ac:spMk id="7" creationId="{CD57A09D-0FAB-DCC5-4D8A-39E21554BE47}"/>
          </ac:spMkLst>
        </pc:spChg>
        <pc:spChg chg="mod">
          <ac:chgData name="丁野 光理" userId="53361c9a-10d0-4268-b39c-a1f4044b33f4" providerId="ADAL" clId="{5FE0A016-0A93-4063-8F08-CD48630E8DBB}" dt="2025-02-07T11:11:25.329" v="24015" actId="6549"/>
          <ac:spMkLst>
            <pc:docMk/>
            <pc:sldMk cId="177420526" sldId="2147378748"/>
            <ac:spMk id="9" creationId="{D22A0A06-D5A8-4A1A-B66F-2A8EDBD644F1}"/>
          </ac:spMkLst>
        </pc:spChg>
        <pc:graphicFrameChg chg="add mod modGraphic">
          <ac:chgData name="丁野 光理" userId="53361c9a-10d0-4268-b39c-a1f4044b33f4" providerId="ADAL" clId="{5FE0A016-0A93-4063-8F08-CD48630E8DBB}" dt="2025-02-07T11:13:18.733" v="24035" actId="20577"/>
          <ac:graphicFrameMkLst>
            <pc:docMk/>
            <pc:sldMk cId="177420526" sldId="2147378748"/>
            <ac:graphicFrameMk id="3" creationId="{0139FA52-E814-0893-51E5-B6600FD310C4}"/>
          </ac:graphicFrameMkLst>
        </pc:graphicFrameChg>
        <pc:graphicFrameChg chg="del">
          <ac:chgData name="丁野 光理" userId="53361c9a-10d0-4268-b39c-a1f4044b33f4" providerId="ADAL" clId="{5FE0A016-0A93-4063-8F08-CD48630E8DBB}" dt="2025-02-06T16:21:33.887" v="11795" actId="478"/>
          <ac:graphicFrameMkLst>
            <pc:docMk/>
            <pc:sldMk cId="177420526" sldId="2147378748"/>
            <ac:graphicFrameMk id="3" creationId="{789DCD94-CACD-CC79-48EF-F13A5ACFBD8A}"/>
          </ac:graphicFrameMkLst>
        </pc:graphicFrameChg>
        <pc:graphicFrameChg chg="del">
          <ac:chgData name="丁野 光理" userId="53361c9a-10d0-4268-b39c-a1f4044b33f4" providerId="ADAL" clId="{5FE0A016-0A93-4063-8F08-CD48630E8DBB}" dt="2025-02-06T16:21:35.266" v="11796" actId="478"/>
          <ac:graphicFrameMkLst>
            <pc:docMk/>
            <pc:sldMk cId="177420526" sldId="2147378748"/>
            <ac:graphicFrameMk id="4" creationId="{0AC9AF1A-4093-8482-B4CC-792FFBA09FD4}"/>
          </ac:graphicFrameMkLst>
        </pc:graphicFrameChg>
        <pc:graphicFrameChg chg="add mod ord modGraphic">
          <ac:chgData name="丁野 光理" userId="53361c9a-10d0-4268-b39c-a1f4044b33f4" providerId="ADAL" clId="{5FE0A016-0A93-4063-8F08-CD48630E8DBB}" dt="2025-02-07T11:17:27.306" v="24214" actId="20577"/>
          <ac:graphicFrameMkLst>
            <pc:docMk/>
            <pc:sldMk cId="177420526" sldId="2147378748"/>
            <ac:graphicFrameMk id="4" creationId="{E4CC0A9E-C092-35B3-805A-BF072145F524}"/>
          </ac:graphicFrameMkLst>
        </pc:graphicFrameChg>
        <pc:graphicFrameChg chg="add del mod modGraphic">
          <ac:chgData name="丁野 光理" userId="53361c9a-10d0-4268-b39c-a1f4044b33f4" providerId="ADAL" clId="{5FE0A016-0A93-4063-8F08-CD48630E8DBB}" dt="2025-02-07T11:16:21.536" v="24193" actId="478"/>
          <ac:graphicFrameMkLst>
            <pc:docMk/>
            <pc:sldMk cId="177420526" sldId="2147378748"/>
            <ac:graphicFrameMk id="6" creationId="{229A7317-BD2F-21BE-EEFD-59FE6CD46E9E}"/>
          </ac:graphicFrameMkLst>
        </pc:graphicFrame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7T10:24:35.728" v="22937"/>
              <pc2:cmMkLst xmlns:pc2="http://schemas.microsoft.com/office/powerpoint/2019/9/main/command">
                <pc:docMk/>
                <pc:sldMk cId="177420526" sldId="2147378748"/>
                <pc2:cmMk id="{AB1F0F51-11A3-4DB5-A727-67E669C4B72A}"/>
              </pc2:cmMkLst>
            </pc226:cmChg>
          </p:ext>
        </pc:extLst>
      </pc:sldChg>
      <pc:sldChg chg="delSp modSp add mod">
        <pc:chgData name="丁野 光理" userId="53361c9a-10d0-4268-b39c-a1f4044b33f4" providerId="ADAL" clId="{5FE0A016-0A93-4063-8F08-CD48630E8DBB}" dt="2025-02-07T11:26:08.201" v="24538" actId="20577"/>
        <pc:sldMkLst>
          <pc:docMk/>
          <pc:sldMk cId="2929259541" sldId="2147378749"/>
        </pc:sldMkLst>
        <pc:spChg chg="mod">
          <ac:chgData name="丁野 光理" userId="53361c9a-10d0-4268-b39c-a1f4044b33f4" providerId="ADAL" clId="{5FE0A016-0A93-4063-8F08-CD48630E8DBB}" dt="2025-02-06T16:02:25.897" v="10748"/>
          <ac:spMkLst>
            <pc:docMk/>
            <pc:sldMk cId="2929259541" sldId="2147378749"/>
            <ac:spMk id="2" creationId="{A45FDDD5-9A42-423D-9ED3-F19DD3567786}"/>
          </ac:spMkLst>
        </pc:spChg>
        <pc:spChg chg="del">
          <ac:chgData name="丁野 光理" userId="53361c9a-10d0-4268-b39c-a1f4044b33f4" providerId="ADAL" clId="{5FE0A016-0A93-4063-8F08-CD48630E8DBB}" dt="2025-02-07T11:03:11.733" v="23738" actId="478"/>
          <ac:spMkLst>
            <pc:docMk/>
            <pc:sldMk cId="2929259541" sldId="2147378749"/>
            <ac:spMk id="8" creationId="{1E2378D2-462D-DC21-377B-1F2BE4C99A33}"/>
          </ac:spMkLst>
        </pc:spChg>
        <pc:spChg chg="mod">
          <ac:chgData name="丁野 光理" userId="53361c9a-10d0-4268-b39c-a1f4044b33f4" providerId="ADAL" clId="{5FE0A016-0A93-4063-8F08-CD48630E8DBB}" dt="2025-02-07T11:26:08.201" v="24538" actId="20577"/>
          <ac:spMkLst>
            <pc:docMk/>
            <pc:sldMk cId="2929259541" sldId="2147378749"/>
            <ac:spMk id="9" creationId="{D22A0A06-D5A8-4A1A-B66F-2A8EDBD644F1}"/>
          </ac:spMkLst>
        </pc:spChg>
        <pc:spChg chg="del">
          <ac:chgData name="丁野 光理" userId="53361c9a-10d0-4268-b39c-a1f4044b33f4" providerId="ADAL" clId="{5FE0A016-0A93-4063-8F08-CD48630E8DBB}" dt="2025-02-07T11:03:12.506" v="23739" actId="478"/>
          <ac:spMkLst>
            <pc:docMk/>
            <pc:sldMk cId="2929259541" sldId="2147378749"/>
            <ac:spMk id="11" creationId="{D9546854-B4CE-1F65-2F6D-8A404DD40BB1}"/>
          </ac:spMkLst>
        </pc:spChg>
        <pc:spChg chg="mod">
          <ac:chgData name="丁野 光理" userId="53361c9a-10d0-4268-b39c-a1f4044b33f4" providerId="ADAL" clId="{5FE0A016-0A93-4063-8F08-CD48630E8DBB}" dt="2025-02-07T11:04:12.064" v="23915" actId="20577"/>
          <ac:spMkLst>
            <pc:docMk/>
            <pc:sldMk cId="2929259541" sldId="2147378749"/>
            <ac:spMk id="17" creationId="{159BE264-9942-E766-987F-6CA378A61798}"/>
          </ac:spMkLst>
        </pc:spChg>
        <pc:spChg chg="mod">
          <ac:chgData name="丁野 光理" userId="53361c9a-10d0-4268-b39c-a1f4044b33f4" providerId="ADAL" clId="{5FE0A016-0A93-4063-8F08-CD48630E8DBB}" dt="2025-02-06T16:27:18.942" v="12605"/>
          <ac:spMkLst>
            <pc:docMk/>
            <pc:sldMk cId="2929259541" sldId="2147378749"/>
            <ac:spMk id="19" creationId="{F4F6AADC-220D-BFC7-4F32-89892ED6B785}"/>
          </ac:spMkLst>
        </pc:spChg>
        <pc:graphicFrameChg chg="mod modGraphic">
          <ac:chgData name="丁野 光理" userId="53361c9a-10d0-4268-b39c-a1f4044b33f4" providerId="ADAL" clId="{5FE0A016-0A93-4063-8F08-CD48630E8DBB}" dt="2025-02-07T11:02:55.090" v="23737" actId="207"/>
          <ac:graphicFrameMkLst>
            <pc:docMk/>
            <pc:sldMk cId="2929259541" sldId="2147378749"/>
            <ac:graphicFrameMk id="15" creationId="{6BA7322B-8E83-4959-AED5-CDCB2DC09E66}"/>
          </ac:graphicFrameMkLst>
        </pc:graphicFrameChg>
        <pc:cxnChg chg="mod">
          <ac:chgData name="丁野 光理" userId="53361c9a-10d0-4268-b39c-a1f4044b33f4" providerId="ADAL" clId="{5FE0A016-0A93-4063-8F08-CD48630E8DBB}" dt="2025-02-07T11:03:12.506" v="23739" actId="478"/>
          <ac:cxnSpMkLst>
            <pc:docMk/>
            <pc:sldMk cId="2929259541" sldId="2147378749"/>
            <ac:cxnSpMk id="12" creationId="{36894EAB-405F-0998-1890-37C962DD7CF6}"/>
          </ac:cxnSpMkLst>
        </pc:cxnChg>
      </pc:sldChg>
      <pc:sldChg chg="addSp delSp modSp add mod ord delCm">
        <pc:chgData name="丁野 光理" userId="53361c9a-10d0-4268-b39c-a1f4044b33f4" providerId="ADAL" clId="{5FE0A016-0A93-4063-8F08-CD48630E8DBB}" dt="2025-02-07T11:27:26.253" v="24599" actId="20577"/>
        <pc:sldMkLst>
          <pc:docMk/>
          <pc:sldMk cId="4044403005" sldId="2147378750"/>
        </pc:sldMkLst>
        <pc:spChg chg="mod">
          <ac:chgData name="丁野 光理" userId="53361c9a-10d0-4268-b39c-a1f4044b33f4" providerId="ADAL" clId="{5FE0A016-0A93-4063-8F08-CD48630E8DBB}" dt="2025-02-06T16:02:33.520" v="10749"/>
          <ac:spMkLst>
            <pc:docMk/>
            <pc:sldMk cId="4044403005" sldId="2147378750"/>
            <ac:spMk id="3" creationId="{6247E137-868B-539C-2D6E-DC37708CAC30}"/>
          </ac:spMkLst>
        </pc:spChg>
        <pc:spChg chg="mod">
          <ac:chgData name="丁野 光理" userId="53361c9a-10d0-4268-b39c-a1f4044b33f4" providerId="ADAL" clId="{5FE0A016-0A93-4063-8F08-CD48630E8DBB}" dt="2025-02-07T11:27:26.253" v="24599" actId="20577"/>
          <ac:spMkLst>
            <pc:docMk/>
            <pc:sldMk cId="4044403005" sldId="2147378750"/>
            <ac:spMk id="4" creationId="{2C3BBDD6-C18E-A8D5-D35C-ABB97297C5DD}"/>
          </ac:spMkLst>
        </pc:spChg>
        <pc:spChg chg="mod">
          <ac:chgData name="丁野 光理" userId="53361c9a-10d0-4268-b39c-a1f4044b33f4" providerId="ADAL" clId="{5FE0A016-0A93-4063-8F08-CD48630E8DBB}" dt="2025-02-07T11:01:17.784" v="23637" actId="1076"/>
          <ac:spMkLst>
            <pc:docMk/>
            <pc:sldMk cId="4044403005" sldId="2147378750"/>
            <ac:spMk id="7" creationId="{79070467-F16A-2561-6732-C9883A64F9FC}"/>
          </ac:spMkLst>
        </pc:spChg>
        <pc:graphicFrameChg chg="del">
          <ac:chgData name="丁野 光理" userId="53361c9a-10d0-4268-b39c-a1f4044b33f4" providerId="ADAL" clId="{5FE0A016-0A93-4063-8F08-CD48630E8DBB}" dt="2025-02-06T16:13:11.162" v="11027" actId="478"/>
          <ac:graphicFrameMkLst>
            <pc:docMk/>
            <pc:sldMk cId="4044403005" sldId="2147378750"/>
            <ac:graphicFrameMk id="2" creationId="{12ACD507-CDCD-7967-B093-33A8EA8B50AD}"/>
          </ac:graphicFrameMkLst>
        </pc:graphicFrameChg>
        <pc:graphicFrameChg chg="add mod modGraphic">
          <ac:chgData name="丁野 光理" userId="53361c9a-10d0-4268-b39c-a1f4044b33f4" providerId="ADAL" clId="{5FE0A016-0A93-4063-8F08-CD48630E8DBB}" dt="2025-02-07T11:01:14.148" v="23636" actId="20577"/>
          <ac:graphicFrameMkLst>
            <pc:docMk/>
            <pc:sldMk cId="4044403005" sldId="2147378750"/>
            <ac:graphicFrameMk id="6" creationId="{310C28F0-2996-A4FE-AD73-2193C8A58EAD}"/>
          </ac:graphicFrameMkLst>
        </pc:graphicFrame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7T10:57:58.230" v="23084"/>
              <pc2:cmMkLst xmlns:pc2="http://schemas.microsoft.com/office/powerpoint/2019/9/main/command">
                <pc:docMk/>
                <pc:sldMk cId="4044403005" sldId="2147378750"/>
                <pc2:cmMk id="{F32683F8-48FE-4672-995E-DAFBDA98DFF5}"/>
              </pc2:cmMkLst>
            </pc226:cmChg>
          </p:ext>
        </pc:extLst>
      </pc:sldChg>
      <pc:sldChg chg="modSp add mod">
        <pc:chgData name="丁野 光理" userId="53361c9a-10d0-4268-b39c-a1f4044b33f4" providerId="ADAL" clId="{5FE0A016-0A93-4063-8F08-CD48630E8DBB}" dt="2025-02-07T11:26:11.381" v="24541" actId="20577"/>
        <pc:sldMkLst>
          <pc:docMk/>
          <pc:sldMk cId="1641424686" sldId="2147378751"/>
        </pc:sldMkLst>
        <pc:spChg chg="mod">
          <ac:chgData name="丁野 光理" userId="53361c9a-10d0-4268-b39c-a1f4044b33f4" providerId="ADAL" clId="{5FE0A016-0A93-4063-8F08-CD48630E8DBB}" dt="2025-02-06T16:02:36.925" v="10750"/>
          <ac:spMkLst>
            <pc:docMk/>
            <pc:sldMk cId="1641424686" sldId="2147378751"/>
            <ac:spMk id="2" creationId="{CBF10691-58CC-75D5-EA23-B36D933D90D3}"/>
          </ac:spMkLst>
        </pc:spChg>
        <pc:spChg chg="mod">
          <ac:chgData name="丁野 光理" userId="53361c9a-10d0-4268-b39c-a1f4044b33f4" providerId="ADAL" clId="{5FE0A016-0A93-4063-8F08-CD48630E8DBB}" dt="2025-02-07T11:26:11.381" v="24541" actId="20577"/>
          <ac:spMkLst>
            <pc:docMk/>
            <pc:sldMk cId="1641424686" sldId="2147378751"/>
            <ac:spMk id="9" creationId="{F7DA7227-3724-60C8-1F06-5A8A2F4AF1F8}"/>
          </ac:spMkLst>
        </pc:spChg>
      </pc:sldChg>
      <pc:sldChg chg="addSp delSp modSp add mod">
        <pc:chgData name="丁野 光理" userId="53361c9a-10d0-4268-b39c-a1f4044b33f4" providerId="ADAL" clId="{5FE0A016-0A93-4063-8F08-CD48630E8DBB}" dt="2025-02-07T12:33:27.034" v="26230"/>
        <pc:sldMkLst>
          <pc:docMk/>
          <pc:sldMk cId="7942078" sldId="2147378752"/>
        </pc:sldMkLst>
        <pc:spChg chg="del">
          <ac:chgData name="丁野 光理" userId="53361c9a-10d0-4268-b39c-a1f4044b33f4" providerId="ADAL" clId="{5FE0A016-0A93-4063-8F08-CD48630E8DBB}" dt="2025-02-07T12:33:26.837" v="26229" actId="478"/>
          <ac:spMkLst>
            <pc:docMk/>
            <pc:sldMk cId="7942078" sldId="2147378752"/>
            <ac:spMk id="3" creationId="{D69F45AB-97DA-86D6-7B3F-F21CC23CCBBD}"/>
          </ac:spMkLst>
        </pc:spChg>
        <pc:spChg chg="add mod">
          <ac:chgData name="丁野 光理" userId="53361c9a-10d0-4268-b39c-a1f4044b33f4" providerId="ADAL" clId="{5FE0A016-0A93-4063-8F08-CD48630E8DBB}" dt="2025-02-07T12:33:27.034" v="26230"/>
          <ac:spMkLst>
            <pc:docMk/>
            <pc:sldMk cId="7942078" sldId="2147378752"/>
            <ac:spMk id="4" creationId="{1731D214-AE99-9ED7-68E6-FB088A3E86CA}"/>
          </ac:spMkLst>
        </pc:spChg>
        <pc:spChg chg="mod">
          <ac:chgData name="丁野 光理" userId="53361c9a-10d0-4268-b39c-a1f4044b33f4" providerId="ADAL" clId="{5FE0A016-0A93-4063-8F08-CD48630E8DBB}" dt="2025-02-07T11:27:04.041" v="24579" actId="20577"/>
          <ac:spMkLst>
            <pc:docMk/>
            <pc:sldMk cId="7942078" sldId="2147378752"/>
            <ac:spMk id="9" creationId="{D22A0A06-D5A8-4A1A-B66F-2A8EDBD644F1}"/>
          </ac:spMkLst>
        </pc:spChg>
        <pc:spChg chg="mod">
          <ac:chgData name="丁野 光理" userId="53361c9a-10d0-4268-b39c-a1f4044b33f4" providerId="ADAL" clId="{5FE0A016-0A93-4063-8F08-CD48630E8DBB}" dt="2025-02-06T16:02:39.743" v="10751"/>
          <ac:spMkLst>
            <pc:docMk/>
            <pc:sldMk cId="7942078" sldId="2147378752"/>
            <ac:spMk id="14" creationId="{B82535D0-8503-64C9-D7C5-6527643FF688}"/>
          </ac:spMkLst>
        </pc:spChg>
      </pc:sldChg>
      <pc:sldChg chg="add del">
        <pc:chgData name="丁野 光理" userId="53361c9a-10d0-4268-b39c-a1f4044b33f4" providerId="ADAL" clId="{5FE0A016-0A93-4063-8F08-CD48630E8DBB}" dt="2025-02-06T15:25:11.540" v="8072" actId="47"/>
        <pc:sldMkLst>
          <pc:docMk/>
          <pc:sldMk cId="2420566039" sldId="2147378753"/>
        </pc:sldMkLst>
      </pc:sldChg>
      <pc:sldChg chg="addSp delSp modSp add mod">
        <pc:chgData name="丁野 光理" userId="53361c9a-10d0-4268-b39c-a1f4044b33f4" providerId="ADAL" clId="{5FE0A016-0A93-4063-8F08-CD48630E8DBB}" dt="2025-02-07T12:34:02.768" v="26233" actId="170"/>
        <pc:sldMkLst>
          <pc:docMk/>
          <pc:sldMk cId="3142788195" sldId="2147378754"/>
        </pc:sldMkLst>
        <pc:spChg chg="mod">
          <ac:chgData name="丁野 光理" userId="53361c9a-10d0-4268-b39c-a1f4044b33f4" providerId="ADAL" clId="{5FE0A016-0A93-4063-8F08-CD48630E8DBB}" dt="2025-02-06T16:02:45.786" v="10752"/>
          <ac:spMkLst>
            <pc:docMk/>
            <pc:sldMk cId="3142788195" sldId="2147378754"/>
            <ac:spMk id="2" creationId="{A45FDDD5-9A42-423D-9ED3-F19DD3567786}"/>
          </ac:spMkLst>
        </pc:spChg>
        <pc:spChg chg="add mod ord">
          <ac:chgData name="丁野 光理" userId="53361c9a-10d0-4268-b39c-a1f4044b33f4" providerId="ADAL" clId="{5FE0A016-0A93-4063-8F08-CD48630E8DBB}" dt="2025-02-07T12:34:02.768" v="26233" actId="170"/>
          <ac:spMkLst>
            <pc:docMk/>
            <pc:sldMk cId="3142788195" sldId="2147378754"/>
            <ac:spMk id="4" creationId="{137E167F-967C-A788-F2FB-6E0ACA20040F}"/>
          </ac:spMkLst>
        </pc:spChg>
        <pc:spChg chg="mod">
          <ac:chgData name="丁野 光理" userId="53361c9a-10d0-4268-b39c-a1f4044b33f4" providerId="ADAL" clId="{5FE0A016-0A93-4063-8F08-CD48630E8DBB}" dt="2025-02-07T11:27:06.917" v="24582" actId="20577"/>
          <ac:spMkLst>
            <pc:docMk/>
            <pc:sldMk cId="3142788195" sldId="2147378754"/>
            <ac:spMk id="9" creationId="{D22A0A06-D5A8-4A1A-B66F-2A8EDBD644F1}"/>
          </ac:spMkLst>
        </pc:spChg>
        <pc:graphicFrameChg chg="del">
          <ac:chgData name="丁野 光理" userId="53361c9a-10d0-4268-b39c-a1f4044b33f4" providerId="ADAL" clId="{5FE0A016-0A93-4063-8F08-CD48630E8DBB}" dt="2025-02-07T12:33:58.042" v="26231" actId="478"/>
          <ac:graphicFrameMkLst>
            <pc:docMk/>
            <pc:sldMk cId="3142788195" sldId="2147378754"/>
            <ac:graphicFrameMk id="3" creationId="{1E352AD7-4D05-33EE-61E0-3F07FA0F915F}"/>
          </ac:graphicFrameMkLst>
        </pc:graphicFrameChg>
        <pc:graphicFrameChg chg="add mod">
          <ac:chgData name="丁野 光理" userId="53361c9a-10d0-4268-b39c-a1f4044b33f4" providerId="ADAL" clId="{5FE0A016-0A93-4063-8F08-CD48630E8DBB}" dt="2025-02-07T12:33:58.277" v="26232"/>
          <ac:graphicFrameMkLst>
            <pc:docMk/>
            <pc:sldMk cId="3142788195" sldId="2147378754"/>
            <ac:graphicFrameMk id="7" creationId="{DF489A6D-BF99-D7E8-91F8-DEC0AF51B58C}"/>
          </ac:graphicFrameMkLst>
        </pc:graphicFrameChg>
      </pc:sldChg>
      <pc:sldChg chg="addSp delSp modSp add mod delCm">
        <pc:chgData name="丁野 光理" userId="53361c9a-10d0-4268-b39c-a1f4044b33f4" providerId="ADAL" clId="{5FE0A016-0A93-4063-8F08-CD48630E8DBB}" dt="2025-02-07T11:27:11.480" v="24585" actId="20577"/>
        <pc:sldMkLst>
          <pc:docMk/>
          <pc:sldMk cId="3278106509" sldId="2147378755"/>
        </pc:sldMkLst>
        <pc:spChg chg="mod">
          <ac:chgData name="丁野 光理" userId="53361c9a-10d0-4268-b39c-a1f4044b33f4" providerId="ADAL" clId="{5FE0A016-0A93-4063-8F08-CD48630E8DBB}" dt="2025-02-06T16:02:49.033" v="10753"/>
          <ac:spMkLst>
            <pc:docMk/>
            <pc:sldMk cId="3278106509" sldId="2147378755"/>
            <ac:spMk id="2" creationId="{A45FDDD5-9A42-423D-9ED3-F19DD3567786}"/>
          </ac:spMkLst>
        </pc:spChg>
        <pc:spChg chg="mod">
          <ac:chgData name="丁野 光理" userId="53361c9a-10d0-4268-b39c-a1f4044b33f4" providerId="ADAL" clId="{5FE0A016-0A93-4063-8F08-CD48630E8DBB}" dt="2025-02-07T11:27:11.480" v="24585" actId="20577"/>
          <ac:spMkLst>
            <pc:docMk/>
            <pc:sldMk cId="3278106509" sldId="2147378755"/>
            <ac:spMk id="9" creationId="{D22A0A06-D5A8-4A1A-B66F-2A8EDBD644F1}"/>
          </ac:spMkLst>
        </pc:spChg>
        <pc:graphicFrameChg chg="add mod modGraphic">
          <ac:chgData name="丁野 光理" userId="53361c9a-10d0-4268-b39c-a1f4044b33f4" providerId="ADAL" clId="{5FE0A016-0A93-4063-8F08-CD48630E8DBB}" dt="2025-02-06T16:04:39.455" v="10772"/>
          <ac:graphicFrameMkLst>
            <pc:docMk/>
            <pc:sldMk cId="3278106509" sldId="2147378755"/>
            <ac:graphicFrameMk id="3" creationId="{B77AD93B-2184-6E7E-991B-6FFF513314DB}"/>
          </ac:graphicFrameMkLst>
        </pc:graphicFrameChg>
        <pc:graphicFrameChg chg="del mod modGraphic">
          <ac:chgData name="丁野 光理" userId="53361c9a-10d0-4268-b39c-a1f4044b33f4" providerId="ADAL" clId="{5FE0A016-0A93-4063-8F08-CD48630E8DBB}" dt="2025-02-06T16:04:21.852" v="10760" actId="478"/>
          <ac:graphicFrameMkLst>
            <pc:docMk/>
            <pc:sldMk cId="3278106509" sldId="2147378755"/>
            <ac:graphicFrameMk id="4" creationId="{07092873-AD2F-3B69-2A42-020154D983DE}"/>
          </ac:graphicFrameMkLst>
        </pc:graphicFrame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6T16:04:54.105" v="10773"/>
              <pc2:cmMkLst xmlns:pc2="http://schemas.microsoft.com/office/powerpoint/2019/9/main/command">
                <pc:docMk/>
                <pc:sldMk cId="3278106509" sldId="2147378755"/>
                <pc2:cmMk id="{A6DFD9F8-2D62-408F-89AB-1113F685F774}"/>
              </pc2:cmMkLst>
            </pc226:cmChg>
          </p:ext>
        </pc:extLst>
      </pc:sldChg>
      <pc:sldChg chg="modSp add mod">
        <pc:chgData name="丁野 光理" userId="53361c9a-10d0-4268-b39c-a1f4044b33f4" providerId="ADAL" clId="{5FE0A016-0A93-4063-8F08-CD48630E8DBB}" dt="2025-02-07T11:24:57.132" v="24516" actId="20577"/>
        <pc:sldMkLst>
          <pc:docMk/>
          <pc:sldMk cId="1359778448" sldId="2147378756"/>
        </pc:sldMkLst>
        <pc:spChg chg="mod">
          <ac:chgData name="丁野 光理" userId="53361c9a-10d0-4268-b39c-a1f4044b33f4" providerId="ADAL" clId="{5FE0A016-0A93-4063-8F08-CD48630E8DBB}" dt="2025-02-07T01:18:02.568" v="18109"/>
          <ac:spMkLst>
            <pc:docMk/>
            <pc:sldMk cId="1359778448" sldId="2147378756"/>
            <ac:spMk id="3" creationId="{417A18CA-0059-03EF-FE57-D2DBA870D210}"/>
          </ac:spMkLst>
        </pc:spChg>
        <pc:spChg chg="mod">
          <ac:chgData name="丁野 光理" userId="53361c9a-10d0-4268-b39c-a1f4044b33f4" providerId="ADAL" clId="{5FE0A016-0A93-4063-8F08-CD48630E8DBB}" dt="2025-02-07T11:24:57.132" v="24516" actId="20577"/>
          <ac:spMkLst>
            <pc:docMk/>
            <pc:sldMk cId="1359778448" sldId="2147378756"/>
            <ac:spMk id="4" creationId="{4F1B8C31-A2AA-E8B5-6842-B8CA68666E37}"/>
          </ac:spMkLst>
        </pc:spChg>
      </pc:sldChg>
      <pc:sldChg chg="addSp delSp modSp add mod">
        <pc:chgData name="丁野 光理" userId="53361c9a-10d0-4268-b39c-a1f4044b33f4" providerId="ADAL" clId="{5FE0A016-0A93-4063-8F08-CD48630E8DBB}" dt="2025-02-07T11:25:09.448" v="24519" actId="20577"/>
        <pc:sldMkLst>
          <pc:docMk/>
          <pc:sldMk cId="1460307593" sldId="2147378757"/>
        </pc:sldMkLst>
        <pc:spChg chg="mod">
          <ac:chgData name="丁野 光理" userId="53361c9a-10d0-4268-b39c-a1f4044b33f4" providerId="ADAL" clId="{5FE0A016-0A93-4063-8F08-CD48630E8DBB}" dt="2025-02-07T01:18:05.208" v="18110"/>
          <ac:spMkLst>
            <pc:docMk/>
            <pc:sldMk cId="1460307593" sldId="2147378757"/>
            <ac:spMk id="3" creationId="{417A18CA-0059-03EF-FE57-D2DBA870D210}"/>
          </ac:spMkLst>
        </pc:spChg>
        <pc:spChg chg="mod">
          <ac:chgData name="丁野 光理" userId="53361c9a-10d0-4268-b39c-a1f4044b33f4" providerId="ADAL" clId="{5FE0A016-0A93-4063-8F08-CD48630E8DBB}" dt="2025-02-07T11:25:09.448" v="24519" actId="20577"/>
          <ac:spMkLst>
            <pc:docMk/>
            <pc:sldMk cId="1460307593" sldId="2147378757"/>
            <ac:spMk id="4" creationId="{4F1B8C31-A2AA-E8B5-6842-B8CA68666E37}"/>
          </ac:spMkLst>
        </pc:spChg>
        <pc:spChg chg="add mod">
          <ac:chgData name="丁野 光理" userId="53361c9a-10d0-4268-b39c-a1f4044b33f4" providerId="ADAL" clId="{5FE0A016-0A93-4063-8F08-CD48630E8DBB}" dt="2025-02-07T01:14:32.174" v="18081"/>
          <ac:spMkLst>
            <pc:docMk/>
            <pc:sldMk cId="1460307593" sldId="2147378757"/>
            <ac:spMk id="7" creationId="{8ACCDA4C-8810-C7E1-7188-E18006A44257}"/>
          </ac:spMkLst>
        </pc:spChg>
        <pc:graphicFrameChg chg="add mod">
          <ac:chgData name="丁野 光理" userId="53361c9a-10d0-4268-b39c-a1f4044b33f4" providerId="ADAL" clId="{5FE0A016-0A93-4063-8F08-CD48630E8DBB}" dt="2025-02-07T01:14:32.174" v="18081"/>
          <ac:graphicFrameMkLst>
            <pc:docMk/>
            <pc:sldMk cId="1460307593" sldId="2147378757"/>
            <ac:graphicFrameMk id="5" creationId="{61B29258-DA16-BE71-3B81-5C7F078688CC}"/>
          </ac:graphicFrameMkLst>
        </pc:graphicFrameChg>
        <pc:graphicFrameChg chg="del">
          <ac:chgData name="丁野 光理" userId="53361c9a-10d0-4268-b39c-a1f4044b33f4" providerId="ADAL" clId="{5FE0A016-0A93-4063-8F08-CD48630E8DBB}" dt="2025-02-07T01:14:31.973" v="18080" actId="478"/>
          <ac:graphicFrameMkLst>
            <pc:docMk/>
            <pc:sldMk cId="1460307593" sldId="2147378757"/>
            <ac:graphicFrameMk id="8" creationId="{1E5897B3-2F6F-760C-55F3-ADE995C99D64}"/>
          </ac:graphicFrameMkLst>
        </pc:graphicFrameChg>
      </pc:sldChg>
      <pc:sldChg chg="add del">
        <pc:chgData name="丁野 光理" userId="53361c9a-10d0-4268-b39c-a1f4044b33f4" providerId="ADAL" clId="{5FE0A016-0A93-4063-8F08-CD48630E8DBB}" dt="2025-02-06T15:26:58.188" v="8090" actId="47"/>
        <pc:sldMkLst>
          <pc:docMk/>
          <pc:sldMk cId="1928166185" sldId="2147378758"/>
        </pc:sldMkLst>
      </pc:sldChg>
      <pc:sldChg chg="modSp add del mod">
        <pc:chgData name="丁野 光理" userId="53361c9a-10d0-4268-b39c-a1f4044b33f4" providerId="ADAL" clId="{5FE0A016-0A93-4063-8F08-CD48630E8DBB}" dt="2025-02-06T15:26:54.725" v="8088" actId="47"/>
        <pc:sldMkLst>
          <pc:docMk/>
          <pc:sldMk cId="2710205757" sldId="2147378758"/>
        </pc:sldMkLst>
        <pc:spChg chg="mod">
          <ac:chgData name="丁野 光理" userId="53361c9a-10d0-4268-b39c-a1f4044b33f4" providerId="ADAL" clId="{5FE0A016-0A93-4063-8F08-CD48630E8DBB}" dt="2025-02-06T15:25:48.254" v="8087" actId="20577"/>
          <ac:spMkLst>
            <pc:docMk/>
            <pc:sldMk cId="2710205757" sldId="2147378758"/>
            <ac:spMk id="9" creationId="{D22A0A06-D5A8-4A1A-B66F-2A8EDBD644F1}"/>
          </ac:spMkLst>
        </pc:spChg>
      </pc:sldChg>
      <pc:sldChg chg="add del">
        <pc:chgData name="丁野 光理" userId="53361c9a-10d0-4268-b39c-a1f4044b33f4" providerId="ADAL" clId="{5FE0A016-0A93-4063-8F08-CD48630E8DBB}" dt="2025-02-07T01:21:55.283" v="18381" actId="47"/>
        <pc:sldMkLst>
          <pc:docMk/>
          <pc:sldMk cId="3371037928" sldId="2147378758"/>
        </pc:sldMkLst>
      </pc:sldChg>
      <pc:sldChg chg="addSp delSp modSp add mod delCm">
        <pc:chgData name="丁野 光理" userId="53361c9a-10d0-4268-b39c-a1f4044b33f4" providerId="ADAL" clId="{5FE0A016-0A93-4063-8F08-CD48630E8DBB}" dt="2025-02-07T10:25:17.511" v="22939"/>
        <pc:sldMkLst>
          <pc:docMk/>
          <pc:sldMk cId="2766661592" sldId="2147378759"/>
        </pc:sldMkLst>
        <pc:spChg chg="mod">
          <ac:chgData name="丁野 光理" userId="53361c9a-10d0-4268-b39c-a1f4044b33f4" providerId="ADAL" clId="{5FE0A016-0A93-4063-8F08-CD48630E8DBB}" dt="2025-02-06T15:46:47.455" v="9511"/>
          <ac:spMkLst>
            <pc:docMk/>
            <pc:sldMk cId="2766661592" sldId="2147378759"/>
            <ac:spMk id="2" creationId="{BDE63369-EA7E-4802-A4A3-D4010A333C66}"/>
          </ac:spMkLst>
        </pc:spChg>
        <pc:spChg chg="del">
          <ac:chgData name="丁野 光理" userId="53361c9a-10d0-4268-b39c-a1f4044b33f4" providerId="ADAL" clId="{5FE0A016-0A93-4063-8F08-CD48630E8DBB}" dt="2025-02-06T15:51:25.201" v="9804" actId="478"/>
          <ac:spMkLst>
            <pc:docMk/>
            <pc:sldMk cId="2766661592" sldId="2147378759"/>
            <ac:spMk id="6" creationId="{95B7D5A6-3733-419F-5F47-1323A3D8D852}"/>
          </ac:spMkLst>
        </pc:spChg>
        <pc:spChg chg="mod">
          <ac:chgData name="丁野 光理" userId="53361c9a-10d0-4268-b39c-a1f4044b33f4" providerId="ADAL" clId="{5FE0A016-0A93-4063-8F08-CD48630E8DBB}" dt="2025-02-06T15:50:26.584" v="9722"/>
          <ac:spMkLst>
            <pc:docMk/>
            <pc:sldMk cId="2766661592" sldId="2147378759"/>
            <ac:spMk id="9" creationId="{D22A0A06-D5A8-4A1A-B66F-2A8EDBD644F1}"/>
          </ac:spMkLst>
        </pc:spChg>
        <pc:spChg chg="del">
          <ac:chgData name="丁野 光理" userId="53361c9a-10d0-4268-b39c-a1f4044b33f4" providerId="ADAL" clId="{5FE0A016-0A93-4063-8F08-CD48630E8DBB}" dt="2025-02-06T15:51:20.150" v="9803" actId="478"/>
          <ac:spMkLst>
            <pc:docMk/>
            <pc:sldMk cId="2766661592" sldId="2147378759"/>
            <ac:spMk id="50" creationId="{5B635FEA-2811-3A33-A6E6-95440B42D811}"/>
          </ac:spMkLst>
        </pc:spChg>
        <pc:spChg chg="del">
          <ac:chgData name="丁野 光理" userId="53361c9a-10d0-4268-b39c-a1f4044b33f4" providerId="ADAL" clId="{5FE0A016-0A93-4063-8F08-CD48630E8DBB}" dt="2025-02-06T15:51:20.150" v="9803" actId="478"/>
          <ac:spMkLst>
            <pc:docMk/>
            <pc:sldMk cId="2766661592" sldId="2147378759"/>
            <ac:spMk id="53" creationId="{600AE28E-2F7C-E1F6-5796-97DD1A8A0830}"/>
          </ac:spMkLst>
        </pc:spChg>
        <pc:grpChg chg="del">
          <ac:chgData name="丁野 光理" userId="53361c9a-10d0-4268-b39c-a1f4044b33f4" providerId="ADAL" clId="{5FE0A016-0A93-4063-8F08-CD48630E8DBB}" dt="2025-02-06T15:51:20.150" v="9803" actId="478"/>
          <ac:grpSpMkLst>
            <pc:docMk/>
            <pc:sldMk cId="2766661592" sldId="2147378759"/>
            <ac:grpSpMk id="3" creationId="{EBC23DA4-F36B-555D-CA5C-39F94E08823F}"/>
          </ac:grpSpMkLst>
        </pc:grpChg>
        <pc:graphicFrameChg chg="add mod modGraphic">
          <ac:chgData name="丁野 光理" userId="53361c9a-10d0-4268-b39c-a1f4044b33f4" providerId="ADAL" clId="{5FE0A016-0A93-4063-8F08-CD48630E8DBB}" dt="2025-02-06T15:51:49.533" v="9809" actId="14100"/>
          <ac:graphicFrameMkLst>
            <pc:docMk/>
            <pc:sldMk cId="2766661592" sldId="2147378759"/>
            <ac:graphicFrameMk id="11" creationId="{D3EFA518-F851-3DE6-5704-6623452E81EC}"/>
          </ac:graphicFrameMkLst>
        </pc:graphicFrame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7T10:25:16.347" v="22938"/>
              <pc2:cmMkLst xmlns:pc2="http://schemas.microsoft.com/office/powerpoint/2019/9/main/command">
                <pc:docMk/>
                <pc:sldMk cId="2766661592" sldId="2147378759"/>
                <pc2:cmMk id="{361E8F82-2309-4FA7-BDDE-DB01D74ECBFB}"/>
              </pc2:cmMkLst>
            </pc226:cmChg>
            <pc226:cmChg xmlns:pc226="http://schemas.microsoft.com/office/powerpoint/2022/06/main/command" chg="del">
              <pc226:chgData name="丁野 光理" userId="53361c9a-10d0-4268-b39c-a1f4044b33f4" providerId="ADAL" clId="{5FE0A016-0A93-4063-8F08-CD48630E8DBB}" dt="2025-02-07T10:25:17.511" v="22939"/>
              <pc2:cmMkLst xmlns:pc2="http://schemas.microsoft.com/office/powerpoint/2019/9/main/command">
                <pc:docMk/>
                <pc:sldMk cId="2766661592" sldId="2147378759"/>
                <pc2:cmMk id="{98A197F4-CC3B-4A45-B0CF-ECFB77ACE528}"/>
              </pc2:cmMkLst>
            </pc226:cmChg>
          </p:ext>
        </pc:extLst>
      </pc:sldChg>
      <pc:sldChg chg="add del">
        <pc:chgData name="丁野 光理" userId="53361c9a-10d0-4268-b39c-a1f4044b33f4" providerId="ADAL" clId="{5FE0A016-0A93-4063-8F08-CD48630E8DBB}" dt="2025-02-06T15:45:56.679" v="9471" actId="47"/>
        <pc:sldMkLst>
          <pc:docMk/>
          <pc:sldMk cId="3109339401" sldId="2147378760"/>
        </pc:sldMkLst>
      </pc:sldChg>
      <pc:sldChg chg="add del">
        <pc:chgData name="丁野 光理" userId="53361c9a-10d0-4268-b39c-a1f4044b33f4" providerId="ADAL" clId="{5FE0A016-0A93-4063-8F08-CD48630E8DBB}" dt="2025-02-06T15:45:52.952" v="9470" actId="47"/>
        <pc:sldMkLst>
          <pc:docMk/>
          <pc:sldMk cId="2785834007" sldId="2147378761"/>
        </pc:sldMkLst>
      </pc:sldChg>
      <pc:sldChg chg="modSp add del mod">
        <pc:chgData name="丁野 光理" userId="53361c9a-10d0-4268-b39c-a1f4044b33f4" providerId="ADAL" clId="{5FE0A016-0A93-4063-8F08-CD48630E8DBB}" dt="2025-02-06T15:47:18.281" v="9514" actId="47"/>
        <pc:sldMkLst>
          <pc:docMk/>
          <pc:sldMk cId="1020202341" sldId="2147378762"/>
        </pc:sldMkLst>
        <pc:spChg chg="mod">
          <ac:chgData name="丁野 光理" userId="53361c9a-10d0-4268-b39c-a1f4044b33f4" providerId="ADAL" clId="{5FE0A016-0A93-4063-8F08-CD48630E8DBB}" dt="2025-02-06T15:46:52.848" v="9512"/>
          <ac:spMkLst>
            <pc:docMk/>
            <pc:sldMk cId="1020202341" sldId="2147378762"/>
            <ac:spMk id="2" creationId="{BDE63369-EA7E-4802-A4A3-D4010A333C66}"/>
          </ac:spMkLst>
        </pc:spChg>
      </pc:sldChg>
      <pc:sldChg chg="add del">
        <pc:chgData name="丁野 光理" userId="53361c9a-10d0-4268-b39c-a1f4044b33f4" providerId="ADAL" clId="{5FE0A016-0A93-4063-8F08-CD48630E8DBB}" dt="2025-02-06T15:46:57.569" v="9513" actId="47"/>
        <pc:sldMkLst>
          <pc:docMk/>
          <pc:sldMk cId="2409503255" sldId="2147378763"/>
        </pc:sldMkLst>
      </pc:sldChg>
      <pc:sldChg chg="add del">
        <pc:chgData name="丁野 光理" userId="53361c9a-10d0-4268-b39c-a1f4044b33f4" providerId="ADAL" clId="{5FE0A016-0A93-4063-8F08-CD48630E8DBB}" dt="2025-02-06T15:50:30.166" v="9724" actId="47"/>
        <pc:sldMkLst>
          <pc:docMk/>
          <pc:sldMk cId="2073530403" sldId="2147378764"/>
        </pc:sldMkLst>
      </pc:sldChg>
      <pc:sldChg chg="add del">
        <pc:chgData name="丁野 光理" userId="53361c9a-10d0-4268-b39c-a1f4044b33f4" providerId="ADAL" clId="{5FE0A016-0A93-4063-8F08-CD48630E8DBB}" dt="2025-02-06T15:47:30.874" v="9515" actId="47"/>
        <pc:sldMkLst>
          <pc:docMk/>
          <pc:sldMk cId="1525964530" sldId="2147378765"/>
        </pc:sldMkLst>
      </pc:sldChg>
      <pc:sldChg chg="add del">
        <pc:chgData name="丁野 光理" userId="53361c9a-10d0-4268-b39c-a1f4044b33f4" providerId="ADAL" clId="{5FE0A016-0A93-4063-8F08-CD48630E8DBB}" dt="2025-02-06T15:47:33.868" v="9516" actId="47"/>
        <pc:sldMkLst>
          <pc:docMk/>
          <pc:sldMk cId="3846168915" sldId="2147378766"/>
        </pc:sldMkLst>
      </pc:sldChg>
      <pc:sldChg chg="addSp delSp modSp add mod delCm">
        <pc:chgData name="丁野 光理" userId="53361c9a-10d0-4268-b39c-a1f4044b33f4" providerId="ADAL" clId="{5FE0A016-0A93-4063-8F08-CD48630E8DBB}" dt="2025-02-07T12:35:42.641" v="26244" actId="20577"/>
        <pc:sldMkLst>
          <pc:docMk/>
          <pc:sldMk cId="3009745310" sldId="2147378767"/>
        </pc:sldMkLst>
        <pc:spChg chg="mod">
          <ac:chgData name="丁野 光理" userId="53361c9a-10d0-4268-b39c-a1f4044b33f4" providerId="ADAL" clId="{5FE0A016-0A93-4063-8F08-CD48630E8DBB}" dt="2025-02-06T15:48:31.486" v="9601"/>
          <ac:spMkLst>
            <pc:docMk/>
            <pc:sldMk cId="3009745310" sldId="2147378767"/>
            <ac:spMk id="3" creationId="{6247E137-868B-539C-2D6E-DC37708CAC30}"/>
          </ac:spMkLst>
        </pc:spChg>
        <pc:spChg chg="mod">
          <ac:chgData name="丁野 光理" userId="53361c9a-10d0-4268-b39c-a1f4044b33f4" providerId="ADAL" clId="{5FE0A016-0A93-4063-8F08-CD48630E8DBB}" dt="2025-02-06T15:48:34.675" v="9608"/>
          <ac:spMkLst>
            <pc:docMk/>
            <pc:sldMk cId="3009745310" sldId="2147378767"/>
            <ac:spMk id="4" creationId="{2C3BBDD6-C18E-A8D5-D35C-ABB97297C5DD}"/>
          </ac:spMkLst>
        </pc:spChg>
        <pc:spChg chg="mod">
          <ac:chgData name="丁野 光理" userId="53361c9a-10d0-4268-b39c-a1f4044b33f4" providerId="ADAL" clId="{5FE0A016-0A93-4063-8F08-CD48630E8DBB}" dt="2025-02-07T12:35:42.641" v="26244" actId="20577"/>
          <ac:spMkLst>
            <pc:docMk/>
            <pc:sldMk cId="3009745310" sldId="2147378767"/>
            <ac:spMk id="7" creationId="{22EDA371-0AEA-5966-0D9B-D47542A057F7}"/>
          </ac:spMkLst>
        </pc:spChg>
        <pc:graphicFrameChg chg="del">
          <ac:chgData name="丁野 光理" userId="53361c9a-10d0-4268-b39c-a1f4044b33f4" providerId="ADAL" clId="{5FE0A016-0A93-4063-8F08-CD48630E8DBB}" dt="2025-02-06T16:13:18.358" v="11029" actId="478"/>
          <ac:graphicFrameMkLst>
            <pc:docMk/>
            <pc:sldMk cId="3009745310" sldId="2147378767"/>
            <ac:graphicFrameMk id="2" creationId="{12ACD507-CDCD-7967-B093-33A8EA8B50AD}"/>
          </ac:graphicFrameMkLst>
        </pc:graphicFrameChg>
        <pc:graphicFrameChg chg="add mod modGraphic">
          <ac:chgData name="丁野 光理" userId="53361c9a-10d0-4268-b39c-a1f4044b33f4" providerId="ADAL" clId="{5FE0A016-0A93-4063-8F08-CD48630E8DBB}" dt="2025-02-07T10:57:06.252" v="23083" actId="20577"/>
          <ac:graphicFrameMkLst>
            <pc:docMk/>
            <pc:sldMk cId="3009745310" sldId="2147378767"/>
            <ac:graphicFrameMk id="6" creationId="{1AC735CC-12F1-C6D2-FB98-42B302ECAD5B}"/>
          </ac:graphicFrameMkLst>
        </pc:graphicFrame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7T10:54:06.121" v="22954"/>
              <pc2:cmMkLst xmlns:pc2="http://schemas.microsoft.com/office/powerpoint/2019/9/main/command">
                <pc:docMk/>
                <pc:sldMk cId="3009745310" sldId="2147378767"/>
                <pc2:cmMk id="{5A384D02-4455-41B4-A146-513027FA5C59}"/>
              </pc2:cmMkLst>
            </pc226:cmChg>
          </p:ext>
        </pc:extLst>
      </pc:sldChg>
      <pc:sldChg chg="modSp add del mod">
        <pc:chgData name="丁野 光理" userId="53361c9a-10d0-4268-b39c-a1f4044b33f4" providerId="ADAL" clId="{5FE0A016-0A93-4063-8F08-CD48630E8DBB}" dt="2025-02-06T15:48:56.721" v="9664" actId="20577"/>
        <pc:sldMkLst>
          <pc:docMk/>
          <pc:sldMk cId="1343814349" sldId="2147378768"/>
        </pc:sldMkLst>
        <pc:spChg chg="mod">
          <ac:chgData name="丁野 光理" userId="53361c9a-10d0-4268-b39c-a1f4044b33f4" providerId="ADAL" clId="{5FE0A016-0A93-4063-8F08-CD48630E8DBB}" dt="2025-02-06T15:48:44.833" v="9609"/>
          <ac:spMkLst>
            <pc:docMk/>
            <pc:sldMk cId="1343814349" sldId="2147378768"/>
            <ac:spMk id="2" creationId="{CBF10691-58CC-75D5-EA23-B36D933D90D3}"/>
          </ac:spMkLst>
        </pc:spChg>
        <pc:spChg chg="mod">
          <ac:chgData name="丁野 光理" userId="53361c9a-10d0-4268-b39c-a1f4044b33f4" providerId="ADAL" clId="{5FE0A016-0A93-4063-8F08-CD48630E8DBB}" dt="2025-02-06T15:48:56.721" v="9664" actId="20577"/>
          <ac:spMkLst>
            <pc:docMk/>
            <pc:sldMk cId="1343814349" sldId="2147378768"/>
            <ac:spMk id="4" creationId="{2D0F773D-7F31-6F9D-4700-F8F75C3164F8}"/>
          </ac:spMkLst>
        </pc:spChg>
        <pc:spChg chg="mod">
          <ac:chgData name="丁野 光理" userId="53361c9a-10d0-4268-b39c-a1f4044b33f4" providerId="ADAL" clId="{5FE0A016-0A93-4063-8F08-CD48630E8DBB}" dt="2025-02-06T15:48:46.937" v="9614"/>
          <ac:spMkLst>
            <pc:docMk/>
            <pc:sldMk cId="1343814349" sldId="2147378768"/>
            <ac:spMk id="9" creationId="{F7DA7227-3724-60C8-1F06-5A8A2F4AF1F8}"/>
          </ac:spMkLst>
        </pc:spChg>
      </pc:sldChg>
      <pc:sldChg chg="add del">
        <pc:chgData name="丁野 光理" userId="53361c9a-10d0-4268-b39c-a1f4044b33f4" providerId="ADAL" clId="{5FE0A016-0A93-4063-8F08-CD48630E8DBB}" dt="2025-02-06T15:47:40.112" v="9517" actId="47"/>
        <pc:sldMkLst>
          <pc:docMk/>
          <pc:sldMk cId="1912398154" sldId="2147378769"/>
        </pc:sldMkLst>
      </pc:sldChg>
      <pc:sldChg chg="modSp add mod delCm">
        <pc:chgData name="丁野 光理" userId="53361c9a-10d0-4268-b39c-a1f4044b33f4" providerId="ADAL" clId="{5FE0A016-0A93-4063-8F08-CD48630E8DBB}" dt="2025-02-07T10:25:23.136" v="22941"/>
        <pc:sldMkLst>
          <pc:docMk/>
          <pc:sldMk cId="4268087364" sldId="2147378769"/>
        </pc:sldMkLst>
        <pc:spChg chg="mod">
          <ac:chgData name="丁野 光理" userId="53361c9a-10d0-4268-b39c-a1f4044b33f4" providerId="ADAL" clId="{5FE0A016-0A93-4063-8F08-CD48630E8DBB}" dt="2025-02-06T16:01:11.785" v="10649"/>
          <ac:spMkLst>
            <pc:docMk/>
            <pc:sldMk cId="4268087364" sldId="2147378769"/>
            <ac:spMk id="6" creationId="{95B7D5A6-3733-419F-5F47-1323A3D8D852}"/>
          </ac:spMkLst>
        </pc:spChg>
        <pc:spChg chg="mod">
          <ac:chgData name="丁野 光理" userId="53361c9a-10d0-4268-b39c-a1f4044b33f4" providerId="ADAL" clId="{5FE0A016-0A93-4063-8F08-CD48630E8DBB}" dt="2025-02-06T15:50:56.467" v="9802"/>
          <ac:spMkLst>
            <pc:docMk/>
            <pc:sldMk cId="4268087364" sldId="2147378769"/>
            <ac:spMk id="9" creationId="{D22A0A06-D5A8-4A1A-B66F-2A8EDBD644F1}"/>
          </ac:spMkLst>
        </pc:spChg>
        <pc:spChg chg="mod">
          <ac:chgData name="丁野 光理" userId="53361c9a-10d0-4268-b39c-a1f4044b33f4" providerId="ADAL" clId="{5FE0A016-0A93-4063-8F08-CD48630E8DBB}" dt="2025-02-06T15:57:24.984" v="9882"/>
          <ac:spMkLst>
            <pc:docMk/>
            <pc:sldMk cId="4268087364" sldId="2147378769"/>
            <ac:spMk id="12" creationId="{0885EF34-1A86-AA39-1A1A-5F99ABF6B7EF}"/>
          </ac:spMkLst>
        </pc:spChg>
        <pc:spChg chg="mod">
          <ac:chgData name="丁野 光理" userId="53361c9a-10d0-4268-b39c-a1f4044b33f4" providerId="ADAL" clId="{5FE0A016-0A93-4063-8F08-CD48630E8DBB}" dt="2025-02-06T15:57:34.122" v="9885" actId="6549"/>
          <ac:spMkLst>
            <pc:docMk/>
            <pc:sldMk cId="4268087364" sldId="2147378769"/>
            <ac:spMk id="50" creationId="{5B635FEA-2811-3A33-A6E6-95440B42D811}"/>
          </ac:spMkLst>
        </pc:spChg>
        <pc:spChg chg="mod">
          <ac:chgData name="丁野 光理" userId="53361c9a-10d0-4268-b39c-a1f4044b33f4" providerId="ADAL" clId="{5FE0A016-0A93-4063-8F08-CD48630E8DBB}" dt="2025-02-06T16:00:58.443" v="10629"/>
          <ac:spMkLst>
            <pc:docMk/>
            <pc:sldMk cId="4268087364" sldId="2147378769"/>
            <ac:spMk id="53" creationId="{600AE28E-2F7C-E1F6-5796-97DD1A8A0830}"/>
          </ac:spMkLst>
        </pc:sp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7T10:25:21.920" v="22940"/>
              <pc2:cmMkLst xmlns:pc2="http://schemas.microsoft.com/office/powerpoint/2019/9/main/command">
                <pc:docMk/>
                <pc:sldMk cId="4268087364" sldId="2147378769"/>
                <pc2:cmMk id="{2FC0E86E-4515-4927-B6E9-F47626427BF0}"/>
              </pc2:cmMkLst>
            </pc226:cmChg>
            <pc226:cmChg xmlns:pc226="http://schemas.microsoft.com/office/powerpoint/2022/06/main/command" chg="del">
              <pc226:chgData name="丁野 光理" userId="53361c9a-10d0-4268-b39c-a1f4044b33f4" providerId="ADAL" clId="{5FE0A016-0A93-4063-8F08-CD48630E8DBB}" dt="2025-02-07T10:25:23.136" v="22941"/>
              <pc2:cmMkLst xmlns:pc2="http://schemas.microsoft.com/office/powerpoint/2019/9/main/command">
                <pc:docMk/>
                <pc:sldMk cId="4268087364" sldId="2147378769"/>
                <pc2:cmMk id="{B955A1F7-76BA-4842-9821-06FE72D3ED76}"/>
              </pc2:cmMkLst>
            </pc226:cmChg>
          </p:ext>
        </pc:extLst>
      </pc:sldChg>
      <pc:sldChg chg="add del">
        <pc:chgData name="丁野 光理" userId="53361c9a-10d0-4268-b39c-a1f4044b33f4" providerId="ADAL" clId="{5FE0A016-0A93-4063-8F08-CD48630E8DBB}" dt="2025-02-06T15:45:25.543" v="9469" actId="47"/>
        <pc:sldMkLst>
          <pc:docMk/>
          <pc:sldMk cId="1947276899" sldId="2147378770"/>
        </pc:sldMkLst>
      </pc:sldChg>
      <pc:sldChg chg="addSp modSp add mod">
        <pc:chgData name="丁野 光理" userId="53361c9a-10d0-4268-b39c-a1f4044b33f4" providerId="ADAL" clId="{5FE0A016-0A93-4063-8F08-CD48630E8DBB}" dt="2025-02-07T01:56:45.511" v="19679" actId="1076"/>
        <pc:sldMkLst>
          <pc:docMk/>
          <pc:sldMk cId="2779406652" sldId="2147378770"/>
        </pc:sldMkLst>
        <pc:spChg chg="mod">
          <ac:chgData name="丁野 光理" userId="53361c9a-10d0-4268-b39c-a1f4044b33f4" providerId="ADAL" clId="{5FE0A016-0A93-4063-8F08-CD48630E8DBB}" dt="2025-02-06T16:05:54.449" v="10781"/>
          <ac:spMkLst>
            <pc:docMk/>
            <pc:sldMk cId="2779406652" sldId="2147378770"/>
            <ac:spMk id="2" creationId="{BDE63369-EA7E-4802-A4A3-D4010A333C66}"/>
          </ac:spMkLst>
        </pc:spChg>
        <pc:spChg chg="add mod">
          <ac:chgData name="丁野 光理" userId="53361c9a-10d0-4268-b39c-a1f4044b33f4" providerId="ADAL" clId="{5FE0A016-0A93-4063-8F08-CD48630E8DBB}" dt="2025-02-07T01:56:45.511" v="19679" actId="1076"/>
          <ac:spMkLst>
            <pc:docMk/>
            <pc:sldMk cId="2779406652" sldId="2147378770"/>
            <ac:spMk id="3" creationId="{64E6FBA6-9471-354D-9859-2CBBDFCF1828}"/>
          </ac:spMkLst>
        </pc:spChg>
        <pc:graphicFrameChg chg="mod modGraphic">
          <ac:chgData name="丁野 光理" userId="53361c9a-10d0-4268-b39c-a1f4044b33f4" providerId="ADAL" clId="{5FE0A016-0A93-4063-8F08-CD48630E8DBB}" dt="2025-02-06T17:25:11.037" v="15711"/>
          <ac:graphicFrameMkLst>
            <pc:docMk/>
            <pc:sldMk cId="2779406652" sldId="2147378770"/>
            <ac:graphicFrameMk id="8" creationId="{628A4627-CAA7-6C39-A2F3-3AFB41DE8AAE}"/>
          </ac:graphicFrameMkLst>
        </pc:graphicFrameChg>
      </pc:sldChg>
      <pc:sldChg chg="modSp add mod delCm">
        <pc:chgData name="丁野 光理" userId="53361c9a-10d0-4268-b39c-a1f4044b33f4" providerId="ADAL" clId="{5FE0A016-0A93-4063-8F08-CD48630E8DBB}" dt="2025-02-07T10:23:01.452" v="22926"/>
        <pc:sldMkLst>
          <pc:docMk/>
          <pc:sldMk cId="1436977306" sldId="2147378771"/>
        </pc:sldMkLst>
        <pc:spChg chg="mod">
          <ac:chgData name="丁野 光理" userId="53361c9a-10d0-4268-b39c-a1f4044b33f4" providerId="ADAL" clId="{5FE0A016-0A93-4063-8F08-CD48630E8DBB}" dt="2025-02-06T16:59:31.342" v="15322"/>
          <ac:spMkLst>
            <pc:docMk/>
            <pc:sldMk cId="1436977306" sldId="2147378771"/>
            <ac:spMk id="11" creationId="{962E5203-2DFF-C1A0-2F9F-F26700D05F5E}"/>
          </ac:spMkLst>
        </pc:spChg>
        <pc:spChg chg="mod">
          <ac:chgData name="丁野 光理" userId="53361c9a-10d0-4268-b39c-a1f4044b33f4" providerId="ADAL" clId="{5FE0A016-0A93-4063-8F08-CD48630E8DBB}" dt="2025-02-06T16:59:51.311" v="15325" actId="6549"/>
          <ac:spMkLst>
            <pc:docMk/>
            <pc:sldMk cId="1436977306" sldId="2147378771"/>
            <ac:spMk id="26" creationId="{E79CF6B0-5AD5-B0A6-5A82-B2F5A3B16A53}"/>
          </ac:spMkLst>
        </pc:sp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7T10:22:59.963" v="22925"/>
              <pc2:cmMkLst xmlns:pc2="http://schemas.microsoft.com/office/powerpoint/2019/9/main/command">
                <pc:docMk/>
                <pc:sldMk cId="1436977306" sldId="2147378771"/>
                <pc2:cmMk id="{C71D2D7E-581A-4E0C-AB26-102EE2A70250}"/>
              </pc2:cmMkLst>
            </pc226:cmChg>
            <pc226:cmChg xmlns:pc226="http://schemas.microsoft.com/office/powerpoint/2022/06/main/command" chg="del">
              <pc226:chgData name="丁野 光理" userId="53361c9a-10d0-4268-b39c-a1f4044b33f4" providerId="ADAL" clId="{5FE0A016-0A93-4063-8F08-CD48630E8DBB}" dt="2025-02-07T10:23:01.452" v="22926"/>
              <pc2:cmMkLst xmlns:pc2="http://schemas.microsoft.com/office/powerpoint/2019/9/main/command">
                <pc:docMk/>
                <pc:sldMk cId="1436977306" sldId="2147378771"/>
                <pc2:cmMk id="{AFB642FB-2918-439D-9AB9-3B728E2828C8}"/>
              </pc2:cmMkLst>
            </pc226:cmChg>
          </p:ext>
        </pc:extLst>
      </pc:sldChg>
      <pc:sldChg chg="add del">
        <pc:chgData name="丁野 光理" userId="53361c9a-10d0-4268-b39c-a1f4044b33f4" providerId="ADAL" clId="{5FE0A016-0A93-4063-8F08-CD48630E8DBB}" dt="2025-02-06T15:45:19.437" v="9468" actId="47"/>
        <pc:sldMkLst>
          <pc:docMk/>
          <pc:sldMk cId="3729949482" sldId="2147378771"/>
        </pc:sldMkLst>
      </pc:sldChg>
      <pc:sldChg chg="add del">
        <pc:chgData name="丁野 光理" userId="53361c9a-10d0-4268-b39c-a1f4044b33f4" providerId="ADAL" clId="{5FE0A016-0A93-4063-8F08-CD48630E8DBB}" dt="2025-02-06T15:47:41.863" v="9518" actId="47"/>
        <pc:sldMkLst>
          <pc:docMk/>
          <pc:sldMk cId="1116144339" sldId="2147378772"/>
        </pc:sldMkLst>
      </pc:sldChg>
      <pc:sldChg chg="addSp delSp modSp add mod delCm">
        <pc:chgData name="丁野 光理" userId="53361c9a-10d0-4268-b39c-a1f4044b33f4" providerId="ADAL" clId="{5FE0A016-0A93-4063-8F08-CD48630E8DBB}" dt="2025-02-07T10:23:12.472" v="22930"/>
        <pc:sldMkLst>
          <pc:docMk/>
          <pc:sldMk cId="3808814701" sldId="2147378772"/>
        </pc:sldMkLst>
        <pc:spChg chg="mod">
          <ac:chgData name="丁野 光理" userId="53361c9a-10d0-4268-b39c-a1f4044b33f4" providerId="ADAL" clId="{5FE0A016-0A93-4063-8F08-CD48630E8DBB}" dt="2025-02-06T17:00:05.100" v="15329"/>
          <ac:spMkLst>
            <pc:docMk/>
            <pc:sldMk cId="3808814701" sldId="2147378772"/>
            <ac:spMk id="11" creationId="{962E5203-2DFF-C1A0-2F9F-F26700D05F5E}"/>
          </ac:spMkLst>
        </pc:spChg>
        <pc:spChg chg="mod">
          <ac:chgData name="丁野 光理" userId="53361c9a-10d0-4268-b39c-a1f4044b33f4" providerId="ADAL" clId="{5FE0A016-0A93-4063-8F08-CD48630E8DBB}" dt="2025-02-06T17:00:35.071" v="15352"/>
          <ac:spMkLst>
            <pc:docMk/>
            <pc:sldMk cId="3808814701" sldId="2147378772"/>
            <ac:spMk id="26" creationId="{E79CF6B0-5AD5-B0A6-5A82-B2F5A3B16A53}"/>
          </ac:spMkLst>
        </pc:spChg>
        <pc:graphicFrameChg chg="add mod">
          <ac:chgData name="丁野 光理" userId="53361c9a-10d0-4268-b39c-a1f4044b33f4" providerId="ADAL" clId="{5FE0A016-0A93-4063-8F08-CD48630E8DBB}" dt="2025-02-07T01:05:28.175" v="16987" actId="1076"/>
          <ac:graphicFrameMkLst>
            <pc:docMk/>
            <pc:sldMk cId="3808814701" sldId="2147378772"/>
            <ac:graphicFrameMk id="3" creationId="{4B9CF8F6-B231-7F04-870D-14B3245AE835}"/>
          </ac:graphicFrameMkLst>
        </pc:graphicFrameChg>
        <pc:graphicFrameChg chg="add mod modGraphic">
          <ac:chgData name="丁野 光理" userId="53361c9a-10d0-4268-b39c-a1f4044b33f4" providerId="ADAL" clId="{5FE0A016-0A93-4063-8F08-CD48630E8DBB}" dt="2025-02-07T01:05:30.799" v="16988" actId="1076"/>
          <ac:graphicFrameMkLst>
            <pc:docMk/>
            <pc:sldMk cId="3808814701" sldId="2147378772"/>
            <ac:graphicFrameMk id="4" creationId="{E6B03505-EDB8-244C-E39B-4DFF4A9A0927}"/>
          </ac:graphicFrameMkLst>
        </pc:graphicFrameChg>
        <pc:graphicFrameChg chg="del">
          <ac:chgData name="丁野 光理" userId="53361c9a-10d0-4268-b39c-a1f4044b33f4" providerId="ADAL" clId="{5FE0A016-0A93-4063-8F08-CD48630E8DBB}" dt="2025-02-06T17:01:10.272" v="15370" actId="478"/>
          <ac:graphicFrameMkLst>
            <pc:docMk/>
            <pc:sldMk cId="3808814701" sldId="2147378772"/>
            <ac:graphicFrameMk id="32" creationId="{3B80BC24-01AA-213D-76FD-38F653AD9B7C}"/>
          </ac:graphicFrameMkLst>
        </pc:graphicFrameChg>
        <pc:graphicFrameChg chg="del">
          <ac:chgData name="丁野 光理" userId="53361c9a-10d0-4268-b39c-a1f4044b33f4" providerId="ADAL" clId="{5FE0A016-0A93-4063-8F08-CD48630E8DBB}" dt="2025-02-06T17:01:17.698" v="15372" actId="478"/>
          <ac:graphicFrameMkLst>
            <pc:docMk/>
            <pc:sldMk cId="3808814701" sldId="2147378772"/>
            <ac:graphicFrameMk id="33" creationId="{579C0925-57A0-3030-666F-7E61FE13005C}"/>
          </ac:graphicFrameMkLst>
        </pc:graphicFrame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7T10:23:12.472" v="22930"/>
              <pc2:cmMkLst xmlns:pc2="http://schemas.microsoft.com/office/powerpoint/2019/9/main/command">
                <pc:docMk/>
                <pc:sldMk cId="3808814701" sldId="2147378772"/>
                <pc2:cmMk id="{594EE242-9ED9-4222-9788-5C6B130F656E}"/>
              </pc2:cmMkLst>
            </pc226:cmChg>
            <pc226:cmChg xmlns:pc226="http://schemas.microsoft.com/office/powerpoint/2022/06/main/command" chg="del">
              <pc226:chgData name="丁野 光理" userId="53361c9a-10d0-4268-b39c-a1f4044b33f4" providerId="ADAL" clId="{5FE0A016-0A93-4063-8F08-CD48630E8DBB}" dt="2025-02-07T10:23:11.362" v="22929"/>
              <pc2:cmMkLst xmlns:pc2="http://schemas.microsoft.com/office/powerpoint/2019/9/main/command">
                <pc:docMk/>
                <pc:sldMk cId="3808814701" sldId="2147378772"/>
                <pc2:cmMk id="{43604C6A-D03E-48CA-B143-E860F35E1F30}"/>
              </pc2:cmMkLst>
            </pc226:cmChg>
          </p:ext>
        </pc:extLst>
      </pc:sldChg>
      <pc:sldChg chg="del">
        <pc:chgData name="丁野 光理" userId="53361c9a-10d0-4268-b39c-a1f4044b33f4" providerId="ADAL" clId="{5FE0A016-0A93-4063-8F08-CD48630E8DBB}" dt="2025-02-07T04:04:16.838" v="22874" actId="47"/>
        <pc:sldMkLst>
          <pc:docMk/>
          <pc:sldMk cId="2499204696" sldId="2147378773"/>
        </pc:sldMkLst>
      </pc:sldChg>
      <pc:sldChg chg="add del">
        <pc:chgData name="丁野 光理" userId="53361c9a-10d0-4268-b39c-a1f4044b33f4" providerId="ADAL" clId="{5FE0A016-0A93-4063-8F08-CD48630E8DBB}" dt="2025-02-06T15:47:47.469" v="9519" actId="47"/>
        <pc:sldMkLst>
          <pc:docMk/>
          <pc:sldMk cId="3941585102" sldId="2147378773"/>
        </pc:sldMkLst>
      </pc:sldChg>
      <pc:sldChg chg="addSp modSp add del mod">
        <pc:chgData name="丁野 光理" userId="53361c9a-10d0-4268-b39c-a1f4044b33f4" providerId="ADAL" clId="{5FE0A016-0A93-4063-8F08-CD48630E8DBB}" dt="2025-02-07T11:32:55.762" v="24761" actId="47"/>
        <pc:sldMkLst>
          <pc:docMk/>
          <pc:sldMk cId="3819594584" sldId="2147378774"/>
        </pc:sldMkLst>
        <pc:spChg chg="add">
          <ac:chgData name="丁野 光理" userId="53361c9a-10d0-4268-b39c-a1f4044b33f4" providerId="ADAL" clId="{5FE0A016-0A93-4063-8F08-CD48630E8DBB}" dt="2025-02-07T11:32:28.313" v="24758" actId="22"/>
          <ac:spMkLst>
            <pc:docMk/>
            <pc:sldMk cId="3819594584" sldId="2147378774"/>
            <ac:spMk id="4" creationId="{D9A02B08-2EF8-FDCE-C5BD-1EA14F668AD5}"/>
          </ac:spMkLst>
        </pc:spChg>
        <pc:spChg chg="add">
          <ac:chgData name="丁野 光理" userId="53361c9a-10d0-4268-b39c-a1f4044b33f4" providerId="ADAL" clId="{5FE0A016-0A93-4063-8F08-CD48630E8DBB}" dt="2025-02-07T11:32:29.763" v="24759" actId="22"/>
          <ac:spMkLst>
            <pc:docMk/>
            <pc:sldMk cId="3819594584" sldId="2147378774"/>
            <ac:spMk id="6" creationId="{26E2E535-36AC-260B-1F46-3F793A62772D}"/>
          </ac:spMkLst>
        </pc:spChg>
        <pc:spChg chg="mod">
          <ac:chgData name="丁野 光理" userId="53361c9a-10d0-4268-b39c-a1f4044b33f4" providerId="ADAL" clId="{5FE0A016-0A93-4063-8F08-CD48630E8DBB}" dt="2025-02-07T01:22:59.231" v="18399" actId="14100"/>
          <ac:spMkLst>
            <pc:docMk/>
            <pc:sldMk cId="3819594584" sldId="2147378774"/>
            <ac:spMk id="9" creationId="{67FD600D-F712-D335-9DCD-5DDA57077E60}"/>
          </ac:spMkLst>
        </pc:spChg>
        <pc:spChg chg="mod">
          <ac:chgData name="丁野 光理" userId="53361c9a-10d0-4268-b39c-a1f4044b33f4" providerId="ADAL" clId="{5FE0A016-0A93-4063-8F08-CD48630E8DBB}" dt="2025-02-07T11:30:57.672" v="24677" actId="5793"/>
          <ac:spMkLst>
            <pc:docMk/>
            <pc:sldMk cId="3819594584" sldId="2147378774"/>
            <ac:spMk id="10" creationId="{80E6EF29-A9F8-46B2-8DDE-5092A65E485F}"/>
          </ac:spMkLst>
        </pc:spChg>
      </pc:sldChg>
      <pc:sldChg chg="modSp add del mod">
        <pc:chgData name="丁野 光理" userId="53361c9a-10d0-4268-b39c-a1f4044b33f4" providerId="ADAL" clId="{5FE0A016-0A93-4063-8F08-CD48630E8DBB}" dt="2025-02-07T11:33:10.771" v="24765" actId="47"/>
        <pc:sldMkLst>
          <pc:docMk/>
          <pc:sldMk cId="688232860" sldId="2147378775"/>
        </pc:sldMkLst>
        <pc:spChg chg="mod">
          <ac:chgData name="丁野 光理" userId="53361c9a-10d0-4268-b39c-a1f4044b33f4" providerId="ADAL" clId="{5FE0A016-0A93-4063-8F08-CD48630E8DBB}" dt="2025-02-07T01:22:48.488" v="18396" actId="14100"/>
          <ac:spMkLst>
            <pc:docMk/>
            <pc:sldMk cId="688232860" sldId="2147378775"/>
            <ac:spMk id="9" creationId="{67FD600D-F712-D335-9DCD-5DDA57077E60}"/>
          </ac:spMkLst>
        </pc:spChg>
      </pc:sldChg>
      <pc:sldChg chg="modSp add del mod">
        <pc:chgData name="丁野 光理" userId="53361c9a-10d0-4268-b39c-a1f4044b33f4" providerId="ADAL" clId="{5FE0A016-0A93-4063-8F08-CD48630E8DBB}" dt="2025-02-07T11:33:22.859" v="24769" actId="47"/>
        <pc:sldMkLst>
          <pc:docMk/>
          <pc:sldMk cId="3004034253" sldId="2147378776"/>
        </pc:sldMkLst>
        <pc:spChg chg="mod">
          <ac:chgData name="丁野 光理" userId="53361c9a-10d0-4268-b39c-a1f4044b33f4" providerId="ADAL" clId="{5FE0A016-0A93-4063-8F08-CD48630E8DBB}" dt="2025-02-07T01:22:36.052" v="18393" actId="14100"/>
          <ac:spMkLst>
            <pc:docMk/>
            <pc:sldMk cId="3004034253" sldId="2147378776"/>
            <ac:spMk id="9" creationId="{67FD600D-F712-D335-9DCD-5DDA57077E60}"/>
          </ac:spMkLst>
        </pc:spChg>
      </pc:sldChg>
      <pc:sldChg chg="modSp add del mod">
        <pc:chgData name="丁野 光理" userId="53361c9a-10d0-4268-b39c-a1f4044b33f4" providerId="ADAL" clId="{5FE0A016-0A93-4063-8F08-CD48630E8DBB}" dt="2025-02-07T11:33:34.902" v="24773" actId="47"/>
        <pc:sldMkLst>
          <pc:docMk/>
          <pc:sldMk cId="2305634284" sldId="2147378777"/>
        </pc:sldMkLst>
        <pc:spChg chg="mod">
          <ac:chgData name="丁野 光理" userId="53361c9a-10d0-4268-b39c-a1f4044b33f4" providerId="ADAL" clId="{5FE0A016-0A93-4063-8F08-CD48630E8DBB}" dt="2025-02-07T01:22:28.154" v="18391" actId="14100"/>
          <ac:spMkLst>
            <pc:docMk/>
            <pc:sldMk cId="2305634284" sldId="2147378777"/>
            <ac:spMk id="9" creationId="{67FD600D-F712-D335-9DCD-5DDA57077E60}"/>
          </ac:spMkLst>
        </pc:spChg>
      </pc:sldChg>
      <pc:sldChg chg="modSp add del mod">
        <pc:chgData name="丁野 光理" userId="53361c9a-10d0-4268-b39c-a1f4044b33f4" providerId="ADAL" clId="{5FE0A016-0A93-4063-8F08-CD48630E8DBB}" dt="2025-02-07T11:33:51.022" v="24778" actId="47"/>
        <pc:sldMkLst>
          <pc:docMk/>
          <pc:sldMk cId="3829729197" sldId="2147378778"/>
        </pc:sldMkLst>
        <pc:spChg chg="mod">
          <ac:chgData name="丁野 光理" userId="53361c9a-10d0-4268-b39c-a1f4044b33f4" providerId="ADAL" clId="{5FE0A016-0A93-4063-8F08-CD48630E8DBB}" dt="2025-02-07T01:22:15.135" v="18388" actId="14100"/>
          <ac:spMkLst>
            <pc:docMk/>
            <pc:sldMk cId="3829729197" sldId="2147378778"/>
            <ac:spMk id="9" creationId="{67FD600D-F712-D335-9DCD-5DDA57077E60}"/>
          </ac:spMkLst>
        </pc:spChg>
      </pc:sldChg>
      <pc:sldChg chg="modSp mod">
        <pc:chgData name="丁野 光理" userId="53361c9a-10d0-4268-b39c-a1f4044b33f4" providerId="ADAL" clId="{5FE0A016-0A93-4063-8F08-CD48630E8DBB}" dt="2025-02-07T11:27:15.383" v="24588" actId="20577"/>
        <pc:sldMkLst>
          <pc:docMk/>
          <pc:sldMk cId="2192251413" sldId="2147483276"/>
        </pc:sldMkLst>
        <pc:spChg chg="mod">
          <ac:chgData name="丁野 光理" userId="53361c9a-10d0-4268-b39c-a1f4044b33f4" providerId="ADAL" clId="{5FE0A016-0A93-4063-8F08-CD48630E8DBB}" dt="2025-02-07T11:27:15.383" v="24588" actId="20577"/>
          <ac:spMkLst>
            <pc:docMk/>
            <pc:sldMk cId="2192251413" sldId="2147483276"/>
            <ac:spMk id="9" creationId="{D22A0A06-D5A8-4A1A-B66F-2A8EDBD644F1}"/>
          </ac:spMkLst>
        </pc:spChg>
      </pc:sldChg>
      <pc:sldChg chg="add del">
        <pc:chgData name="丁野 光理" userId="53361c9a-10d0-4268-b39c-a1f4044b33f4" providerId="ADAL" clId="{5FE0A016-0A93-4063-8F08-CD48630E8DBB}" dt="2025-02-07T04:04:18.941" v="22875" actId="47"/>
        <pc:sldMkLst>
          <pc:docMk/>
          <pc:sldMk cId="2291176984" sldId="2147483276"/>
        </pc:sldMkLst>
      </pc:sldChg>
      <pc:sldChg chg="modSp mod">
        <pc:chgData name="丁野 光理" userId="53361c9a-10d0-4268-b39c-a1f4044b33f4" providerId="ADAL" clId="{5FE0A016-0A93-4063-8F08-CD48630E8DBB}" dt="2025-02-07T11:27:00.953" v="24576" actId="20577"/>
        <pc:sldMkLst>
          <pc:docMk/>
          <pc:sldMk cId="3516192024" sldId="2147483277"/>
        </pc:sldMkLst>
        <pc:spChg chg="mod">
          <ac:chgData name="丁野 光理" userId="53361c9a-10d0-4268-b39c-a1f4044b33f4" providerId="ADAL" clId="{5FE0A016-0A93-4063-8F08-CD48630E8DBB}" dt="2025-02-07T11:27:00.953" v="24576" actId="20577"/>
          <ac:spMkLst>
            <pc:docMk/>
            <pc:sldMk cId="3516192024" sldId="2147483277"/>
            <ac:spMk id="9" creationId="{F7DA7227-3724-60C8-1F06-5A8A2F4AF1F8}"/>
          </ac:spMkLst>
        </pc:spChg>
      </pc:sldChg>
      <pc:sldChg chg="modSp add del mod">
        <pc:chgData name="丁野 光理" userId="53361c9a-10d0-4268-b39c-a1f4044b33f4" providerId="ADAL" clId="{5FE0A016-0A93-4063-8F08-CD48630E8DBB}" dt="2025-02-07T11:43:31.940" v="25003" actId="47"/>
        <pc:sldMkLst>
          <pc:docMk/>
          <pc:sldMk cId="2068695467" sldId="2147483278"/>
        </pc:sldMkLst>
        <pc:spChg chg="mod">
          <ac:chgData name="丁野 光理" userId="53361c9a-10d0-4268-b39c-a1f4044b33f4" providerId="ADAL" clId="{5FE0A016-0A93-4063-8F08-CD48630E8DBB}" dt="2025-02-07T11:33:02.437" v="24763" actId="14100"/>
          <ac:spMkLst>
            <pc:docMk/>
            <pc:sldMk cId="2068695467" sldId="2147483278"/>
            <ac:spMk id="9" creationId="{67FD600D-F712-D335-9DCD-5DDA57077E60}"/>
          </ac:spMkLst>
        </pc:spChg>
        <pc:spChg chg="mod">
          <ac:chgData name="丁野 光理" userId="53361c9a-10d0-4268-b39c-a1f4044b33f4" providerId="ADAL" clId="{5FE0A016-0A93-4063-8F08-CD48630E8DBB}" dt="2025-02-07T11:38:18.967" v="24898" actId="20577"/>
          <ac:spMkLst>
            <pc:docMk/>
            <pc:sldMk cId="2068695467" sldId="2147483278"/>
            <ac:spMk id="10" creationId="{80E6EF29-A9F8-46B2-8DDE-5092A65E485F}"/>
          </ac:spMkLst>
        </pc:spChg>
      </pc:sldChg>
      <pc:sldChg chg="modSp add del mod">
        <pc:chgData name="丁野 光理" userId="53361c9a-10d0-4268-b39c-a1f4044b33f4" providerId="ADAL" clId="{5FE0A016-0A93-4063-8F08-CD48630E8DBB}" dt="2025-02-07T11:43:15.120" v="25000" actId="47"/>
        <pc:sldMkLst>
          <pc:docMk/>
          <pc:sldMk cId="1118927534" sldId="2147483279"/>
        </pc:sldMkLst>
        <pc:spChg chg="mod">
          <ac:chgData name="丁野 光理" userId="53361c9a-10d0-4268-b39c-a1f4044b33f4" providerId="ADAL" clId="{5FE0A016-0A93-4063-8F08-CD48630E8DBB}" dt="2025-02-07T11:33:16.759" v="24767" actId="14100"/>
          <ac:spMkLst>
            <pc:docMk/>
            <pc:sldMk cId="1118927534" sldId="2147483279"/>
            <ac:spMk id="9" creationId="{67FD600D-F712-D335-9DCD-5DDA57077E60}"/>
          </ac:spMkLst>
        </pc:spChg>
        <pc:spChg chg="mod">
          <ac:chgData name="丁野 光理" userId="53361c9a-10d0-4268-b39c-a1f4044b33f4" providerId="ADAL" clId="{5FE0A016-0A93-4063-8F08-CD48630E8DBB}" dt="2025-02-07T11:37:46.921" v="24818" actId="20577"/>
          <ac:spMkLst>
            <pc:docMk/>
            <pc:sldMk cId="1118927534" sldId="2147483279"/>
            <ac:spMk id="10" creationId="{80E6EF29-A9F8-46B2-8DDE-5092A65E485F}"/>
          </ac:spMkLst>
        </pc:spChg>
      </pc:sldChg>
      <pc:sldChg chg="modSp add del mod">
        <pc:chgData name="丁野 光理" userId="53361c9a-10d0-4268-b39c-a1f4044b33f4" providerId="ADAL" clId="{5FE0A016-0A93-4063-8F08-CD48630E8DBB}" dt="2025-02-07T11:42:39.732" v="24993" actId="47"/>
        <pc:sldMkLst>
          <pc:docMk/>
          <pc:sldMk cId="67216973" sldId="2147483280"/>
        </pc:sldMkLst>
        <pc:spChg chg="mod">
          <ac:chgData name="丁野 光理" userId="53361c9a-10d0-4268-b39c-a1f4044b33f4" providerId="ADAL" clId="{5FE0A016-0A93-4063-8F08-CD48630E8DBB}" dt="2025-02-07T11:33:28.323" v="24771" actId="14100"/>
          <ac:spMkLst>
            <pc:docMk/>
            <pc:sldMk cId="67216973" sldId="2147483280"/>
            <ac:spMk id="9" creationId="{67FD600D-F712-D335-9DCD-5DDA57077E60}"/>
          </ac:spMkLst>
        </pc:spChg>
        <pc:spChg chg="mod">
          <ac:chgData name="丁野 光理" userId="53361c9a-10d0-4268-b39c-a1f4044b33f4" providerId="ADAL" clId="{5FE0A016-0A93-4063-8F08-CD48630E8DBB}" dt="2025-02-07T11:37:55.123" v="24838" actId="20577"/>
          <ac:spMkLst>
            <pc:docMk/>
            <pc:sldMk cId="67216973" sldId="2147483280"/>
            <ac:spMk id="10" creationId="{80E6EF29-A9F8-46B2-8DDE-5092A65E485F}"/>
          </ac:spMkLst>
        </pc:spChg>
      </pc:sldChg>
      <pc:sldChg chg="modSp add del mod">
        <pc:chgData name="丁野 光理" userId="53361c9a-10d0-4268-b39c-a1f4044b33f4" providerId="ADAL" clId="{5FE0A016-0A93-4063-8F08-CD48630E8DBB}" dt="2025-02-07T11:42:23.689" v="24987" actId="47"/>
        <pc:sldMkLst>
          <pc:docMk/>
          <pc:sldMk cId="3849616003" sldId="2147483281"/>
        </pc:sldMkLst>
        <pc:spChg chg="mod">
          <ac:chgData name="丁野 光理" userId="53361c9a-10d0-4268-b39c-a1f4044b33f4" providerId="ADAL" clId="{5FE0A016-0A93-4063-8F08-CD48630E8DBB}" dt="2025-02-07T11:33:45.467" v="24776" actId="14100"/>
          <ac:spMkLst>
            <pc:docMk/>
            <pc:sldMk cId="3849616003" sldId="2147483281"/>
            <ac:spMk id="9" creationId="{67FD600D-F712-D335-9DCD-5DDA57077E60}"/>
          </ac:spMkLst>
        </pc:spChg>
        <pc:spChg chg="mod">
          <ac:chgData name="丁野 光理" userId="53361c9a-10d0-4268-b39c-a1f4044b33f4" providerId="ADAL" clId="{5FE0A016-0A93-4063-8F08-CD48630E8DBB}" dt="2025-02-07T11:38:00.955" v="24858" actId="20577"/>
          <ac:spMkLst>
            <pc:docMk/>
            <pc:sldMk cId="3849616003" sldId="2147483281"/>
            <ac:spMk id="10" creationId="{80E6EF29-A9F8-46B2-8DDE-5092A65E485F}"/>
          </ac:spMkLst>
        </pc:spChg>
      </pc:sldChg>
      <pc:sldChg chg="modSp add mod">
        <pc:chgData name="丁野 光理" userId="53361c9a-10d0-4268-b39c-a1f4044b33f4" providerId="ADAL" clId="{5FE0A016-0A93-4063-8F08-CD48630E8DBB}" dt="2025-02-07T11:41:40.375" v="24977" actId="20577"/>
        <pc:sldMkLst>
          <pc:docMk/>
          <pc:sldMk cId="3704562467" sldId="2147483282"/>
        </pc:sldMkLst>
        <pc:spChg chg="mod">
          <ac:chgData name="丁野 光理" userId="53361c9a-10d0-4268-b39c-a1f4044b33f4" providerId="ADAL" clId="{5FE0A016-0A93-4063-8F08-CD48630E8DBB}" dt="2025-02-07T11:34:13.573" v="24786" actId="14100"/>
          <ac:spMkLst>
            <pc:docMk/>
            <pc:sldMk cId="3704562467" sldId="2147483282"/>
            <ac:spMk id="9" creationId="{67FD600D-F712-D335-9DCD-5DDA57077E60}"/>
          </ac:spMkLst>
        </pc:spChg>
        <pc:spChg chg="mod">
          <ac:chgData name="丁野 光理" userId="53361c9a-10d0-4268-b39c-a1f4044b33f4" providerId="ADAL" clId="{5FE0A016-0A93-4063-8F08-CD48630E8DBB}" dt="2025-02-07T11:41:40.375" v="24977" actId="20577"/>
          <ac:spMkLst>
            <pc:docMk/>
            <pc:sldMk cId="3704562467" sldId="2147483282"/>
            <ac:spMk id="10" creationId="{80E6EF29-A9F8-46B2-8DDE-5092A65E485F}"/>
          </ac:spMkLst>
        </pc:spChg>
      </pc:sldChg>
      <pc:sldChg chg="modSp add mod">
        <pc:chgData name="丁野 光理" userId="53361c9a-10d0-4268-b39c-a1f4044b33f4" providerId="ADAL" clId="{5FE0A016-0A93-4063-8F08-CD48630E8DBB}" dt="2025-02-07T11:46:46.934" v="25053" actId="6549"/>
        <pc:sldMkLst>
          <pc:docMk/>
          <pc:sldMk cId="215412893" sldId="2147483283"/>
        </pc:sldMkLst>
        <pc:spChg chg="mod">
          <ac:chgData name="丁野 光理" userId="53361c9a-10d0-4268-b39c-a1f4044b33f4" providerId="ADAL" clId="{5FE0A016-0A93-4063-8F08-CD48630E8DBB}" dt="2025-02-07T11:46:46.934" v="25053" actId="6549"/>
          <ac:spMkLst>
            <pc:docMk/>
            <pc:sldMk cId="215412893" sldId="2147483283"/>
            <ac:spMk id="4" creationId="{DD1CA6AB-0B11-22AF-99A0-D4CD074A0CDA}"/>
          </ac:spMkLst>
        </pc:spChg>
      </pc:sldChg>
      <pc:sldChg chg="delSp modSp add del mod">
        <pc:chgData name="丁野 光理" userId="53361c9a-10d0-4268-b39c-a1f4044b33f4" providerId="ADAL" clId="{5FE0A016-0A93-4063-8F08-CD48630E8DBB}" dt="2025-02-07T11:46:34.235" v="25036" actId="47"/>
        <pc:sldMkLst>
          <pc:docMk/>
          <pc:sldMk cId="3580095652" sldId="2147483284"/>
        </pc:sldMkLst>
        <pc:graphicFrameChg chg="del">
          <ac:chgData name="丁野 光理" userId="53361c9a-10d0-4268-b39c-a1f4044b33f4" providerId="ADAL" clId="{5FE0A016-0A93-4063-8F08-CD48630E8DBB}" dt="2025-02-07T11:45:20.461" v="25022" actId="478"/>
          <ac:graphicFrameMkLst>
            <pc:docMk/>
            <pc:sldMk cId="3580095652" sldId="2147483284"/>
            <ac:graphicFrameMk id="5" creationId="{6F20B3C2-7932-BA1D-3A4E-18BD6D75E285}"/>
          </ac:graphicFrameMkLst>
        </pc:graphicFrameChg>
        <pc:graphicFrameChg chg="mod modGraphic">
          <ac:chgData name="丁野 光理" userId="53361c9a-10d0-4268-b39c-a1f4044b33f4" providerId="ADAL" clId="{5FE0A016-0A93-4063-8F08-CD48630E8DBB}" dt="2025-02-07T11:46:07.654" v="25033" actId="14100"/>
          <ac:graphicFrameMkLst>
            <pc:docMk/>
            <pc:sldMk cId="3580095652" sldId="2147483284"/>
            <ac:graphicFrameMk id="13" creationId="{6B84DF48-8B2E-7483-E19E-A4C36C91AA03}"/>
          </ac:graphicFrameMkLst>
        </pc:graphicFrameChg>
      </pc:sldChg>
      <pc:sldChg chg="addSp delSp modSp add mod">
        <pc:chgData name="丁野 光理" userId="53361c9a-10d0-4268-b39c-a1f4044b33f4" providerId="ADAL" clId="{5FE0A016-0A93-4063-8F08-CD48630E8DBB}" dt="2025-02-07T11:42:21.712" v="24986" actId="14100"/>
        <pc:sldMkLst>
          <pc:docMk/>
          <pc:sldMk cId="872684900" sldId="2147483285"/>
        </pc:sldMkLst>
        <pc:spChg chg="add del mod">
          <ac:chgData name="丁野 光理" userId="53361c9a-10d0-4268-b39c-a1f4044b33f4" providerId="ADAL" clId="{5FE0A016-0A93-4063-8F08-CD48630E8DBB}" dt="2025-02-07T11:41:58.406" v="24980" actId="478"/>
          <ac:spMkLst>
            <pc:docMk/>
            <pc:sldMk cId="872684900" sldId="2147483285"/>
            <ac:spMk id="3" creationId="{24671854-A083-E120-9ECE-9BA4DEE13EA9}"/>
          </ac:spMkLst>
        </pc:spChg>
        <pc:spChg chg="mod">
          <ac:chgData name="丁野 光理" userId="53361c9a-10d0-4268-b39c-a1f4044b33f4" providerId="ADAL" clId="{5FE0A016-0A93-4063-8F08-CD48630E8DBB}" dt="2025-02-07T11:42:21.712" v="24986" actId="14100"/>
          <ac:spMkLst>
            <pc:docMk/>
            <pc:sldMk cId="872684900" sldId="2147483285"/>
            <ac:spMk id="9" creationId="{67FD600D-F712-D335-9DCD-5DDA57077E60}"/>
          </ac:spMkLst>
        </pc:spChg>
        <pc:spChg chg="mod">
          <ac:chgData name="丁野 光理" userId="53361c9a-10d0-4268-b39c-a1f4044b33f4" providerId="ADAL" clId="{5FE0A016-0A93-4063-8F08-CD48630E8DBB}" dt="2025-02-07T11:42:15.430" v="24983" actId="14100"/>
          <ac:spMkLst>
            <pc:docMk/>
            <pc:sldMk cId="872684900" sldId="2147483285"/>
            <ac:spMk id="10" creationId="{80E6EF29-A9F8-46B2-8DDE-5092A65E485F}"/>
          </ac:spMkLst>
        </pc:spChg>
      </pc:sldChg>
      <pc:sldChg chg="addSp delSp modSp add mod">
        <pc:chgData name="丁野 光理" userId="53361c9a-10d0-4268-b39c-a1f4044b33f4" providerId="ADAL" clId="{5FE0A016-0A93-4063-8F08-CD48630E8DBB}" dt="2025-02-07T11:42:38.115" v="24992" actId="14100"/>
        <pc:sldMkLst>
          <pc:docMk/>
          <pc:sldMk cId="223803015" sldId="2147483286"/>
        </pc:sldMkLst>
        <pc:spChg chg="add del mod">
          <ac:chgData name="丁野 光理" userId="53361c9a-10d0-4268-b39c-a1f4044b33f4" providerId="ADAL" clId="{5FE0A016-0A93-4063-8F08-CD48630E8DBB}" dt="2025-02-07T11:42:38.115" v="24992" actId="14100"/>
          <ac:spMkLst>
            <pc:docMk/>
            <pc:sldMk cId="223803015" sldId="2147483286"/>
            <ac:spMk id="9" creationId="{67FD600D-F712-D335-9DCD-5DDA57077E60}"/>
          </ac:spMkLst>
        </pc:spChg>
      </pc:sldChg>
      <pc:sldChg chg="addSp delSp modSp add mod">
        <pc:chgData name="丁野 光理" userId="53361c9a-10d0-4268-b39c-a1f4044b33f4" providerId="ADAL" clId="{5FE0A016-0A93-4063-8F08-CD48630E8DBB}" dt="2025-02-07T11:43:11.586" v="24999" actId="167"/>
        <pc:sldMkLst>
          <pc:docMk/>
          <pc:sldMk cId="3414319613" sldId="2147483287"/>
        </pc:sldMkLst>
        <pc:spChg chg="add mod ord">
          <ac:chgData name="丁野 光理" userId="53361c9a-10d0-4268-b39c-a1f4044b33f4" providerId="ADAL" clId="{5FE0A016-0A93-4063-8F08-CD48630E8DBB}" dt="2025-02-07T11:43:11.586" v="24999" actId="167"/>
          <ac:spMkLst>
            <pc:docMk/>
            <pc:sldMk cId="3414319613" sldId="2147483287"/>
            <ac:spMk id="3" creationId="{7A908D4C-AB64-4D6C-A9D7-43C0FEFAFC61}"/>
          </ac:spMkLst>
        </pc:spChg>
        <pc:spChg chg="del">
          <ac:chgData name="丁野 光理" userId="53361c9a-10d0-4268-b39c-a1f4044b33f4" providerId="ADAL" clId="{5FE0A016-0A93-4063-8F08-CD48630E8DBB}" dt="2025-02-07T11:43:09.490" v="24998" actId="478"/>
          <ac:spMkLst>
            <pc:docMk/>
            <pc:sldMk cId="3414319613" sldId="2147483287"/>
            <ac:spMk id="9" creationId="{67FD600D-F712-D335-9DCD-5DDA57077E60}"/>
          </ac:spMkLst>
        </pc:spChg>
        <pc:spChg chg="ord">
          <ac:chgData name="丁野 光理" userId="53361c9a-10d0-4268-b39c-a1f4044b33f4" providerId="ADAL" clId="{5FE0A016-0A93-4063-8F08-CD48630E8DBB}" dt="2025-02-07T11:43:08.185" v="24997" actId="167"/>
          <ac:spMkLst>
            <pc:docMk/>
            <pc:sldMk cId="3414319613" sldId="2147483287"/>
            <ac:spMk id="10" creationId="{80E6EF29-A9F8-46B2-8DDE-5092A65E485F}"/>
          </ac:spMkLst>
        </pc:spChg>
      </pc:sldChg>
      <pc:sldChg chg="modSp add mod">
        <pc:chgData name="丁野 光理" userId="53361c9a-10d0-4268-b39c-a1f4044b33f4" providerId="ADAL" clId="{5FE0A016-0A93-4063-8F08-CD48630E8DBB}" dt="2025-02-07T11:43:29.838" v="25002" actId="1076"/>
        <pc:sldMkLst>
          <pc:docMk/>
          <pc:sldMk cId="3915455286" sldId="2147483288"/>
        </pc:sldMkLst>
        <pc:spChg chg="mod">
          <ac:chgData name="丁野 光理" userId="53361c9a-10d0-4268-b39c-a1f4044b33f4" providerId="ADAL" clId="{5FE0A016-0A93-4063-8F08-CD48630E8DBB}" dt="2025-02-07T11:43:29.838" v="25002" actId="1076"/>
          <ac:spMkLst>
            <pc:docMk/>
            <pc:sldMk cId="3915455286" sldId="2147483288"/>
            <ac:spMk id="3" creationId="{7A908D4C-AB64-4D6C-A9D7-43C0FEFAFC61}"/>
          </ac:spMkLst>
        </pc:spChg>
      </pc:sldChg>
      <pc:sldChg chg="modSp add mod">
        <pc:chgData name="丁野 光理" userId="53361c9a-10d0-4268-b39c-a1f4044b33f4" providerId="ADAL" clId="{5FE0A016-0A93-4063-8F08-CD48630E8DBB}" dt="2025-02-07T11:43:48.068" v="25009" actId="14100"/>
        <pc:sldMkLst>
          <pc:docMk/>
          <pc:sldMk cId="1777383321" sldId="2147483289"/>
        </pc:sldMkLst>
        <pc:spChg chg="mod">
          <ac:chgData name="丁野 光理" userId="53361c9a-10d0-4268-b39c-a1f4044b33f4" providerId="ADAL" clId="{5FE0A016-0A93-4063-8F08-CD48630E8DBB}" dt="2025-02-07T11:43:48.068" v="25009" actId="14100"/>
          <ac:spMkLst>
            <pc:docMk/>
            <pc:sldMk cId="1777383321" sldId="2147483289"/>
            <ac:spMk id="3" creationId="{7A908D4C-AB64-4D6C-A9D7-43C0FEFAFC61}"/>
          </ac:spMkLst>
        </pc:spChg>
      </pc:sldChg>
      <pc:sldChg chg="addSp delSp modSp add mod">
        <pc:chgData name="丁野 光理" userId="53361c9a-10d0-4268-b39c-a1f4044b33f4" providerId="ADAL" clId="{5FE0A016-0A93-4063-8F08-CD48630E8DBB}" dt="2025-02-07T12:15:53.063" v="26185" actId="6549"/>
        <pc:sldMkLst>
          <pc:docMk/>
          <pc:sldMk cId="779576324" sldId="2147483290"/>
        </pc:sldMkLst>
        <pc:spChg chg="del">
          <ac:chgData name="丁野 光理" userId="53361c9a-10d0-4268-b39c-a1f4044b33f4" providerId="ADAL" clId="{5FE0A016-0A93-4063-8F08-CD48630E8DBB}" dt="2025-02-07T11:53:53.081" v="25475" actId="478"/>
          <ac:spMkLst>
            <pc:docMk/>
            <pc:sldMk cId="779576324" sldId="2147483290"/>
            <ac:spMk id="2" creationId="{A89627E6-1381-E3A4-FE8B-A4EB0C783D38}"/>
          </ac:spMkLst>
        </pc:spChg>
        <pc:spChg chg="del mod">
          <ac:chgData name="丁野 光理" userId="53361c9a-10d0-4268-b39c-a1f4044b33f4" providerId="ADAL" clId="{5FE0A016-0A93-4063-8F08-CD48630E8DBB}" dt="2025-02-07T11:53:45.489" v="25465" actId="478"/>
          <ac:spMkLst>
            <pc:docMk/>
            <pc:sldMk cId="779576324" sldId="2147483290"/>
            <ac:spMk id="4" creationId="{DD1CA6AB-0B11-22AF-99A0-D4CD074A0CDA}"/>
          </ac:spMkLst>
        </pc:spChg>
        <pc:spChg chg="add del mod">
          <ac:chgData name="丁野 光理" userId="53361c9a-10d0-4268-b39c-a1f4044b33f4" providerId="ADAL" clId="{5FE0A016-0A93-4063-8F08-CD48630E8DBB}" dt="2025-02-07T11:53:48.285" v="25467" actId="478"/>
          <ac:spMkLst>
            <pc:docMk/>
            <pc:sldMk cId="779576324" sldId="2147483290"/>
            <ac:spMk id="7" creationId="{C7425AAB-4B2E-1B44-F343-C8345F36CD74}"/>
          </ac:spMkLst>
        </pc:spChg>
        <pc:spChg chg="add mod">
          <ac:chgData name="丁野 光理" userId="53361c9a-10d0-4268-b39c-a1f4044b33f4" providerId="ADAL" clId="{5FE0A016-0A93-4063-8F08-CD48630E8DBB}" dt="2025-02-07T11:53:50.992" v="25474" actId="20577"/>
          <ac:spMkLst>
            <pc:docMk/>
            <pc:sldMk cId="779576324" sldId="2147483290"/>
            <ac:spMk id="8" creationId="{8D9C3CC9-DEFB-340A-4AF6-A5EE3526D94E}"/>
          </ac:spMkLst>
        </pc:spChg>
        <pc:spChg chg="add mod">
          <ac:chgData name="丁野 光理" userId="53361c9a-10d0-4268-b39c-a1f4044b33f4" providerId="ADAL" clId="{5FE0A016-0A93-4063-8F08-CD48630E8DBB}" dt="2025-02-07T11:54:06.425" v="25476"/>
          <ac:spMkLst>
            <pc:docMk/>
            <pc:sldMk cId="779576324" sldId="2147483290"/>
            <ac:spMk id="9" creationId="{813AD4D0-F7E6-497C-BF37-FF66806078EB}"/>
          </ac:spMkLst>
        </pc:spChg>
        <pc:graphicFrameChg chg="add mod modGraphic">
          <ac:chgData name="丁野 光理" userId="53361c9a-10d0-4268-b39c-a1f4044b33f4" providerId="ADAL" clId="{5FE0A016-0A93-4063-8F08-CD48630E8DBB}" dt="2025-02-07T12:06:32.012" v="26038"/>
          <ac:graphicFrameMkLst>
            <pc:docMk/>
            <pc:sldMk cId="779576324" sldId="2147483290"/>
            <ac:graphicFrameMk id="10" creationId="{4FD98E72-A567-AF59-FE8F-092BF3D4BF91}"/>
          </ac:graphicFrameMkLst>
        </pc:graphicFrameChg>
        <pc:graphicFrameChg chg="add mod">
          <ac:chgData name="丁野 光理" userId="53361c9a-10d0-4268-b39c-a1f4044b33f4" providerId="ADAL" clId="{5FE0A016-0A93-4063-8F08-CD48630E8DBB}" dt="2025-02-07T12:06:45.655" v="26041"/>
          <ac:graphicFrameMkLst>
            <pc:docMk/>
            <pc:sldMk cId="779576324" sldId="2147483290"/>
            <ac:graphicFrameMk id="11" creationId="{85746AE5-8A52-70B4-EB32-F5653E74C015}"/>
          </ac:graphicFrameMkLst>
        </pc:graphicFrameChg>
        <pc:graphicFrameChg chg="add del mod">
          <ac:chgData name="丁野 光理" userId="53361c9a-10d0-4268-b39c-a1f4044b33f4" providerId="ADAL" clId="{5FE0A016-0A93-4063-8F08-CD48630E8DBB}" dt="2025-02-07T12:06:54.797" v="26044" actId="478"/>
          <ac:graphicFrameMkLst>
            <pc:docMk/>
            <pc:sldMk cId="779576324" sldId="2147483290"/>
            <ac:graphicFrameMk id="12" creationId="{EC5F654D-A3D5-6625-44E2-B2E9E1EF5369}"/>
          </ac:graphicFrameMkLst>
        </pc:graphicFrameChg>
        <pc:graphicFrameChg chg="mod modGraphic">
          <ac:chgData name="丁野 光理" userId="53361c9a-10d0-4268-b39c-a1f4044b33f4" providerId="ADAL" clId="{5FE0A016-0A93-4063-8F08-CD48630E8DBB}" dt="2025-02-07T12:15:53.063" v="26185" actId="6549"/>
          <ac:graphicFrameMkLst>
            <pc:docMk/>
            <pc:sldMk cId="779576324" sldId="2147483290"/>
            <ac:graphicFrameMk id="13" creationId="{6B84DF48-8B2E-7483-E19E-A4C36C91AA03}"/>
          </ac:graphicFrameMkLst>
        </pc:graphicFrameChg>
      </pc:sldChg>
      <pc:sldChg chg="addSp delSp modSp add mod">
        <pc:chgData name="丁野 光理" userId="53361c9a-10d0-4268-b39c-a1f4044b33f4" providerId="ADAL" clId="{5FE0A016-0A93-4063-8F08-CD48630E8DBB}" dt="2025-02-07T12:16:58.234" v="26226" actId="20577"/>
        <pc:sldMkLst>
          <pc:docMk/>
          <pc:sldMk cId="4261027216" sldId="2147483291"/>
        </pc:sldMkLst>
        <pc:spChg chg="mod">
          <ac:chgData name="丁野 光理" userId="53361c9a-10d0-4268-b39c-a1f4044b33f4" providerId="ADAL" clId="{5FE0A016-0A93-4063-8F08-CD48630E8DBB}" dt="2025-02-07T11:53:34.243" v="25463" actId="1076"/>
          <ac:spMkLst>
            <pc:docMk/>
            <pc:sldMk cId="4261027216" sldId="2147483291"/>
            <ac:spMk id="2" creationId="{A89627E6-1381-E3A4-FE8B-A4EB0C783D38}"/>
          </ac:spMkLst>
        </pc:spChg>
        <pc:spChg chg="mod">
          <ac:chgData name="丁野 光理" userId="53361c9a-10d0-4268-b39c-a1f4044b33f4" providerId="ADAL" clId="{5FE0A016-0A93-4063-8F08-CD48630E8DBB}" dt="2025-02-07T11:53:36.290" v="25464" actId="1076"/>
          <ac:spMkLst>
            <pc:docMk/>
            <pc:sldMk cId="4261027216" sldId="2147483291"/>
            <ac:spMk id="4" creationId="{DD1CA6AB-0B11-22AF-99A0-D4CD074A0CDA}"/>
          </ac:spMkLst>
        </pc:spChg>
        <pc:graphicFrameChg chg="add del mod">
          <ac:chgData name="丁野 光理" userId="53361c9a-10d0-4268-b39c-a1f4044b33f4" providerId="ADAL" clId="{5FE0A016-0A93-4063-8F08-CD48630E8DBB}" dt="2025-02-07T11:54:41.255" v="25481" actId="478"/>
          <ac:graphicFrameMkLst>
            <pc:docMk/>
            <pc:sldMk cId="4261027216" sldId="2147483291"/>
            <ac:graphicFrameMk id="5" creationId="{B2F95688-4C62-19F3-ED14-AB0E08C152D3}"/>
          </ac:graphicFrameMkLst>
        </pc:graphicFrameChg>
        <pc:graphicFrameChg chg="mod modGraphic">
          <ac:chgData name="丁野 光理" userId="53361c9a-10d0-4268-b39c-a1f4044b33f4" providerId="ADAL" clId="{5FE0A016-0A93-4063-8F08-CD48630E8DBB}" dt="2025-02-07T12:16:58.234" v="26226" actId="20577"/>
          <ac:graphicFrameMkLst>
            <pc:docMk/>
            <pc:sldMk cId="4261027216" sldId="2147483291"/>
            <ac:graphicFrameMk id="13" creationId="{6B84DF48-8B2E-7483-E19E-A4C36C91AA03}"/>
          </ac:graphicFrameMkLst>
        </pc:graphicFrameChg>
      </pc:sldChg>
      <pc:sldMasterChg chg="modSp mod modSldLayout">
        <pc:chgData name="丁野 光理" userId="53361c9a-10d0-4268-b39c-a1f4044b33f4" providerId="ADAL" clId="{5FE0A016-0A93-4063-8F08-CD48630E8DBB}" dt="2025-01-31T12:39:26.214" v="509" actId="207"/>
        <pc:sldMasterMkLst>
          <pc:docMk/>
          <pc:sldMasterMk cId="2162003807" sldId="2147483755"/>
        </pc:sldMasterMkLst>
        <pc:spChg chg="mod">
          <ac:chgData name="丁野 光理" userId="53361c9a-10d0-4268-b39c-a1f4044b33f4" providerId="ADAL" clId="{5FE0A016-0A93-4063-8F08-CD48630E8DBB}" dt="2025-01-29T13:08:59.748" v="200" actId="20577"/>
          <ac:spMkLst>
            <pc:docMk/>
            <pc:sldMasterMk cId="2162003807" sldId="2147483755"/>
            <ac:spMk id="3" creationId="{87D0FF6D-A520-87F6-851A-32670B6B9442}"/>
          </ac:spMkLst>
        </pc:spChg>
        <pc:sldLayoutChg chg="modSp mod">
          <pc:chgData name="丁野 光理" userId="53361c9a-10d0-4268-b39c-a1f4044b33f4" providerId="ADAL" clId="{5FE0A016-0A93-4063-8F08-CD48630E8DBB}" dt="2025-01-29T13:09:02.472" v="202" actId="20577"/>
          <pc:sldLayoutMkLst>
            <pc:docMk/>
            <pc:sldMasterMk cId="2162003807" sldId="2147483755"/>
            <pc:sldLayoutMk cId="291536866" sldId="2147483756"/>
          </pc:sldLayoutMkLst>
          <pc:spChg chg="mod">
            <ac:chgData name="丁野 光理" userId="53361c9a-10d0-4268-b39c-a1f4044b33f4" providerId="ADAL" clId="{5FE0A016-0A93-4063-8F08-CD48630E8DBB}" dt="2025-01-29T13:09:02.472" v="202" actId="20577"/>
            <ac:spMkLst>
              <pc:docMk/>
              <pc:sldMasterMk cId="2162003807" sldId="2147483755"/>
              <pc:sldLayoutMk cId="291536866" sldId="2147483756"/>
              <ac:spMk id="2" creationId="{A3FB6309-E751-E5DF-C7C2-D7D80856905C}"/>
            </ac:spMkLst>
          </pc:spChg>
        </pc:sldLayoutChg>
        <pc:sldLayoutChg chg="modSp">
          <pc:chgData name="丁野 光理" userId="53361c9a-10d0-4268-b39c-a1f4044b33f4" providerId="ADAL" clId="{5FE0A016-0A93-4063-8F08-CD48630E8DBB}" dt="2025-01-31T12:39:26.214" v="509" actId="207"/>
          <pc:sldLayoutMkLst>
            <pc:docMk/>
            <pc:sldMasterMk cId="2162003807" sldId="2147483755"/>
            <pc:sldLayoutMk cId="3034404116" sldId="2147483761"/>
          </pc:sldLayoutMkLst>
          <pc:spChg chg="mod">
            <ac:chgData name="丁野 光理" userId="53361c9a-10d0-4268-b39c-a1f4044b33f4" providerId="ADAL" clId="{5FE0A016-0A93-4063-8F08-CD48630E8DBB}" dt="2025-01-31T12:39:26.214" v="509" actId="207"/>
            <ac:spMkLst>
              <pc:docMk/>
              <pc:sldMasterMk cId="2162003807" sldId="2147483755"/>
              <pc:sldLayoutMk cId="3034404116" sldId="2147483761"/>
              <ac:spMk id="9" creationId="{962A254E-2854-48FA-8F65-0066AC7FF3BC}"/>
            </ac:spMkLst>
          </pc:spChg>
        </pc:sldLayoutChg>
      </pc:sldMasterChg>
    </pc:docChg>
  </pc:docChgLst>
  <pc:docChgLst>
    <pc:chgData name="丁野 光理" userId="53361c9a-10d0-4268-b39c-a1f4044b33f4" providerId="ADAL" clId="{BEA0B159-1E5E-4B76-81CB-EBA25D9989EE}"/>
    <pc:docChg chg="undo redo custSel addSld delSld modSld modSection">
      <pc:chgData name="丁野 光理" userId="53361c9a-10d0-4268-b39c-a1f4044b33f4" providerId="ADAL" clId="{BEA0B159-1E5E-4B76-81CB-EBA25D9989EE}" dt="2025-02-10T05:09:44.193" v="1101"/>
      <pc:docMkLst>
        <pc:docMk/>
      </pc:docMkLst>
      <pc:sldChg chg="delCm">
        <pc:chgData name="丁野 光理" userId="53361c9a-10d0-4268-b39c-a1f4044b33f4" providerId="ADAL" clId="{BEA0B159-1E5E-4B76-81CB-EBA25D9989EE}" dt="2025-02-10T04:29:09.803" v="106"/>
        <pc:sldMkLst>
          <pc:docMk/>
          <pc:sldMk cId="2708077593" sldId="2147378681"/>
        </pc:sldMkLst>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BEA0B159-1E5E-4B76-81CB-EBA25D9989EE}" dt="2025-02-10T04:29:09.803" v="106"/>
              <pc2:cmMkLst xmlns:pc2="http://schemas.microsoft.com/office/powerpoint/2019/9/main/command">
                <pc:docMk/>
                <pc:sldMk cId="2708077593" sldId="2147378681"/>
                <pc2:cmMk id="{10E894B6-00D4-4AA1-BC2A-40560235DEBF}"/>
              </pc2:cmMkLst>
            </pc226:cmChg>
          </p:ext>
        </pc:extLst>
      </pc:sldChg>
      <pc:sldChg chg="addCm delCm">
        <pc:chgData name="丁野 光理" userId="53361c9a-10d0-4268-b39c-a1f4044b33f4" providerId="ADAL" clId="{BEA0B159-1E5E-4B76-81CB-EBA25D9989EE}" dt="2025-02-10T04:28:32.657" v="83"/>
        <pc:sldMkLst>
          <pc:docMk/>
          <pc:sldMk cId="64176771" sldId="2147378692"/>
        </pc:sldMkLst>
        <pc:extLst>
          <p:ext xmlns:p="http://schemas.openxmlformats.org/presentationml/2006/main" uri="{D6D511B9-2390-475A-947B-AFAB55BFBCF1}">
            <pc226:cmChg xmlns:pc226="http://schemas.microsoft.com/office/powerpoint/2022/06/main/command" chg="add del">
              <pc226:chgData name="丁野 光理" userId="53361c9a-10d0-4268-b39c-a1f4044b33f4" providerId="ADAL" clId="{BEA0B159-1E5E-4B76-81CB-EBA25D9989EE}" dt="2025-02-10T04:28:32.657" v="83"/>
              <pc2:cmMkLst xmlns:pc2="http://schemas.microsoft.com/office/powerpoint/2019/9/main/command">
                <pc:docMk/>
                <pc:sldMk cId="64176771" sldId="2147378692"/>
                <pc2:cmMk id="{D6796762-19EB-467C-B000-55FD87F97E8D}"/>
              </pc2:cmMkLst>
            </pc226:cmChg>
          </p:ext>
        </pc:extLst>
      </pc:sldChg>
      <pc:sldChg chg="delCm">
        <pc:chgData name="丁野 光理" userId="53361c9a-10d0-4268-b39c-a1f4044b33f4" providerId="ADAL" clId="{BEA0B159-1E5E-4B76-81CB-EBA25D9989EE}" dt="2025-02-10T04:30:20.720" v="126"/>
        <pc:sldMkLst>
          <pc:docMk/>
          <pc:sldMk cId="2807815468" sldId="2147378693"/>
        </pc:sldMkLst>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BEA0B159-1E5E-4B76-81CB-EBA25D9989EE}" dt="2025-02-10T04:30:20.720" v="126"/>
              <pc2:cmMkLst xmlns:pc2="http://schemas.microsoft.com/office/powerpoint/2019/9/main/command">
                <pc:docMk/>
                <pc:sldMk cId="2807815468" sldId="2147378693"/>
                <pc2:cmMk id="{DA319822-DB49-452C-BF10-51188F0A2691}"/>
              </pc2:cmMkLst>
            </pc226:cmChg>
          </p:ext>
        </pc:extLst>
      </pc:sldChg>
      <pc:sldChg chg="delCm">
        <pc:chgData name="丁野 光理" userId="53361c9a-10d0-4268-b39c-a1f4044b33f4" providerId="ADAL" clId="{BEA0B159-1E5E-4B76-81CB-EBA25D9989EE}" dt="2025-02-10T04:29:04.386" v="104"/>
        <pc:sldMkLst>
          <pc:docMk/>
          <pc:sldMk cId="2848558883" sldId="2147378713"/>
        </pc:sldMkLst>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BEA0B159-1E5E-4B76-81CB-EBA25D9989EE}" dt="2025-02-10T04:29:04.386" v="104"/>
              <pc2:cmMkLst xmlns:pc2="http://schemas.microsoft.com/office/powerpoint/2019/9/main/command">
                <pc:docMk/>
                <pc:sldMk cId="2848558883" sldId="2147378713"/>
                <pc2:cmMk id="{68ED9494-673C-4555-8BE0-4A35AFF076C2}"/>
              </pc2:cmMkLst>
            </pc226:cmChg>
          </p:ext>
        </pc:extLst>
      </pc:sldChg>
      <pc:sldChg chg="delCm">
        <pc:chgData name="丁野 光理" userId="53361c9a-10d0-4268-b39c-a1f4044b33f4" providerId="ADAL" clId="{BEA0B159-1E5E-4B76-81CB-EBA25D9989EE}" dt="2025-02-10T04:29:44.801" v="118"/>
        <pc:sldMkLst>
          <pc:docMk/>
          <pc:sldMk cId="1575785639" sldId="2147378716"/>
        </pc:sldMkLst>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BEA0B159-1E5E-4B76-81CB-EBA25D9989EE}" dt="2025-02-10T04:29:44.801" v="118"/>
              <pc2:cmMkLst xmlns:pc2="http://schemas.microsoft.com/office/powerpoint/2019/9/main/command">
                <pc:docMk/>
                <pc:sldMk cId="1575785639" sldId="2147378716"/>
                <pc2:cmMk id="{AE290A45-5629-4926-8A9B-FC4444F0FB6E}"/>
              </pc2:cmMkLst>
            </pc226:cmChg>
          </p:ext>
        </pc:extLst>
      </pc:sldChg>
      <pc:sldChg chg="modSp mod">
        <pc:chgData name="丁野 光理" userId="53361c9a-10d0-4268-b39c-a1f4044b33f4" providerId="ADAL" clId="{BEA0B159-1E5E-4B76-81CB-EBA25D9989EE}" dt="2025-02-10T04:28:49.341" v="98"/>
        <pc:sldMkLst>
          <pc:docMk/>
          <pc:sldMk cId="2642190918" sldId="2147378739"/>
        </pc:sldMkLst>
        <pc:spChg chg="mod">
          <ac:chgData name="丁野 光理" userId="53361c9a-10d0-4268-b39c-a1f4044b33f4" providerId="ADAL" clId="{BEA0B159-1E5E-4B76-81CB-EBA25D9989EE}" dt="2025-02-10T04:28:49.341" v="98"/>
          <ac:spMkLst>
            <pc:docMk/>
            <pc:sldMk cId="2642190918" sldId="2147378739"/>
            <ac:spMk id="9" creationId="{F7DA7227-3724-60C8-1F06-5A8A2F4AF1F8}"/>
          </ac:spMkLst>
        </pc:spChg>
      </pc:sldChg>
      <pc:sldChg chg="add del">
        <pc:chgData name="丁野 光理" userId="53361c9a-10d0-4268-b39c-a1f4044b33f4" providerId="ADAL" clId="{BEA0B159-1E5E-4B76-81CB-EBA25D9989EE}" dt="2025-02-10T04:28:33.344" v="87" actId="47"/>
        <pc:sldMkLst>
          <pc:docMk/>
          <pc:sldMk cId="165971776" sldId="2147378740"/>
        </pc:sldMkLst>
      </pc:sldChg>
      <pc:sldChg chg="addCm delCm">
        <pc:chgData name="丁野 光理" userId="53361c9a-10d0-4268-b39c-a1f4044b33f4" providerId="ADAL" clId="{BEA0B159-1E5E-4B76-81CB-EBA25D9989EE}" dt="2025-02-10T04:28:33.180" v="86"/>
        <pc:sldMkLst>
          <pc:docMk/>
          <pc:sldMk cId="3556400781" sldId="2147378741"/>
        </pc:sldMkLst>
        <pc:extLst>
          <p:ext xmlns:p="http://schemas.openxmlformats.org/presentationml/2006/main" uri="{D6D511B9-2390-475A-947B-AFAB55BFBCF1}">
            <pc226:cmChg xmlns:pc226="http://schemas.microsoft.com/office/powerpoint/2022/06/main/command" chg="add del">
              <pc226:chgData name="丁野 光理" userId="53361c9a-10d0-4268-b39c-a1f4044b33f4" providerId="ADAL" clId="{BEA0B159-1E5E-4B76-81CB-EBA25D9989EE}" dt="2025-02-10T04:28:33.180" v="86"/>
              <pc2:cmMkLst xmlns:pc2="http://schemas.microsoft.com/office/powerpoint/2019/9/main/command">
                <pc:docMk/>
                <pc:sldMk cId="3556400781" sldId="2147378741"/>
                <pc2:cmMk id="{399B2814-BE3D-4650-98B5-90921052AAC8}"/>
              </pc2:cmMkLst>
            </pc226:cmChg>
          </p:ext>
        </pc:extLst>
      </pc:sldChg>
      <pc:sldChg chg="addCm delCm">
        <pc:chgData name="丁野 光理" userId="53361c9a-10d0-4268-b39c-a1f4044b33f4" providerId="ADAL" clId="{BEA0B159-1E5E-4B76-81CB-EBA25D9989EE}" dt="2025-02-10T04:28:32.497" v="82"/>
        <pc:sldMkLst>
          <pc:docMk/>
          <pc:sldMk cId="4237138605" sldId="2147378742"/>
        </pc:sldMkLst>
        <pc:extLst>
          <p:ext xmlns:p="http://schemas.openxmlformats.org/presentationml/2006/main" uri="{D6D511B9-2390-475A-947B-AFAB55BFBCF1}">
            <pc226:cmChg xmlns:pc226="http://schemas.microsoft.com/office/powerpoint/2022/06/main/command" chg="add del">
              <pc226:chgData name="丁野 光理" userId="53361c9a-10d0-4268-b39c-a1f4044b33f4" providerId="ADAL" clId="{BEA0B159-1E5E-4B76-81CB-EBA25D9989EE}" dt="2025-02-10T04:28:32.335" v="81"/>
              <pc2:cmMkLst xmlns:pc2="http://schemas.microsoft.com/office/powerpoint/2019/9/main/command">
                <pc:docMk/>
                <pc:sldMk cId="4237138605" sldId="2147378742"/>
                <pc2:cmMk id="{A009D21C-C179-4BF7-9895-B69F6E0AED87}"/>
              </pc2:cmMkLst>
            </pc226:cmChg>
            <pc226:cmChg xmlns:pc226="http://schemas.microsoft.com/office/powerpoint/2022/06/main/command" chg="add del">
              <pc226:chgData name="丁野 光理" userId="53361c9a-10d0-4268-b39c-a1f4044b33f4" providerId="ADAL" clId="{BEA0B159-1E5E-4B76-81CB-EBA25D9989EE}" dt="2025-02-10T04:28:32.497" v="82"/>
              <pc2:cmMkLst xmlns:pc2="http://schemas.microsoft.com/office/powerpoint/2019/9/main/command">
                <pc:docMk/>
                <pc:sldMk cId="4237138605" sldId="2147378742"/>
                <pc2:cmMk id="{77004874-076B-4049-A0E0-7BA24B50A2A9}"/>
              </pc2:cmMkLst>
            </pc226:cmChg>
          </p:ext>
        </pc:extLst>
      </pc:sldChg>
      <pc:sldChg chg="addSp delSp modSp mod addCm delCm">
        <pc:chgData name="丁野 光理" userId="53361c9a-10d0-4268-b39c-a1f4044b33f4" providerId="ADAL" clId="{BEA0B159-1E5E-4B76-81CB-EBA25D9989EE}" dt="2025-02-10T05:07:38.892" v="1064"/>
        <pc:sldMkLst>
          <pc:docMk/>
          <pc:sldMk cId="3772405785" sldId="2147378747"/>
        </pc:sldMkLst>
        <pc:spChg chg="del">
          <ac:chgData name="丁野 光理" userId="53361c9a-10d0-4268-b39c-a1f4044b33f4" providerId="ADAL" clId="{BEA0B159-1E5E-4B76-81CB-EBA25D9989EE}" dt="2025-02-10T04:31:48.788" v="270" actId="478"/>
          <ac:spMkLst>
            <pc:docMk/>
            <pc:sldMk cId="3772405785" sldId="2147378747"/>
            <ac:spMk id="3" creationId="{2DF77E87-6E2C-2B71-0508-C5B23997D182}"/>
          </ac:spMkLst>
        </pc:spChg>
        <pc:spChg chg="add mod">
          <ac:chgData name="丁野 光理" userId="53361c9a-10d0-4268-b39c-a1f4044b33f4" providerId="ADAL" clId="{BEA0B159-1E5E-4B76-81CB-EBA25D9989EE}" dt="2025-02-10T04:31:50.406" v="272"/>
          <ac:spMkLst>
            <pc:docMk/>
            <pc:sldMk cId="3772405785" sldId="2147378747"/>
            <ac:spMk id="7" creationId="{B7D895DB-DA98-CF8A-877C-396398F920BF}"/>
          </ac:spMkLst>
        </pc:spChg>
        <pc:spChg chg="add mod">
          <ac:chgData name="丁野 光理" userId="53361c9a-10d0-4268-b39c-a1f4044b33f4" providerId="ADAL" clId="{BEA0B159-1E5E-4B76-81CB-EBA25D9989EE}" dt="2025-02-10T04:31:50.406" v="272"/>
          <ac:spMkLst>
            <pc:docMk/>
            <pc:sldMk cId="3772405785" sldId="2147378747"/>
            <ac:spMk id="8" creationId="{A762EA6F-8909-D98A-525B-0FD81372790C}"/>
          </ac:spMkLst>
        </pc:spChg>
        <pc:spChg chg="add mod">
          <ac:chgData name="丁野 光理" userId="53361c9a-10d0-4268-b39c-a1f4044b33f4" providerId="ADAL" clId="{BEA0B159-1E5E-4B76-81CB-EBA25D9989EE}" dt="2025-02-10T04:44:47.013" v="896" actId="1076"/>
          <ac:spMkLst>
            <pc:docMk/>
            <pc:sldMk cId="3772405785" sldId="2147378747"/>
            <ac:spMk id="10" creationId="{267E8FB9-7E2E-A7CA-2635-871FD893E8A6}"/>
          </ac:spMkLst>
        </pc:spChg>
        <pc:spChg chg="del mod">
          <ac:chgData name="丁野 光理" userId="53361c9a-10d0-4268-b39c-a1f4044b33f4" providerId="ADAL" clId="{BEA0B159-1E5E-4B76-81CB-EBA25D9989EE}" dt="2025-02-10T04:33:22.823" v="345" actId="478"/>
          <ac:spMkLst>
            <pc:docMk/>
            <pc:sldMk cId="3772405785" sldId="2147378747"/>
            <ac:spMk id="40" creationId="{236E40F9-2DAA-3245-0865-4EE68915C6F1}"/>
          </ac:spMkLst>
        </pc:spChg>
        <pc:spChg chg="del">
          <ac:chgData name="丁野 光理" userId="53361c9a-10d0-4268-b39c-a1f4044b33f4" providerId="ADAL" clId="{BEA0B159-1E5E-4B76-81CB-EBA25D9989EE}" dt="2025-02-10T04:31:49.123" v="271" actId="478"/>
          <ac:spMkLst>
            <pc:docMk/>
            <pc:sldMk cId="3772405785" sldId="2147378747"/>
            <ac:spMk id="41" creationId="{B2FA0C27-AD91-26E0-AEDD-2BA9A0C5F7A2}"/>
          </ac:spMkLst>
        </pc:spChg>
        <pc:grpChg chg="del">
          <ac:chgData name="丁野 光理" userId="53361c9a-10d0-4268-b39c-a1f4044b33f4" providerId="ADAL" clId="{BEA0B159-1E5E-4B76-81CB-EBA25D9989EE}" dt="2025-02-10T04:31:47.732" v="269" actId="478"/>
          <ac:grpSpMkLst>
            <pc:docMk/>
            <pc:sldMk cId="3772405785" sldId="2147378747"/>
            <ac:grpSpMk id="33" creationId="{47629CB3-B09F-D398-F612-07DF97174A01}"/>
          </ac:grpSpMkLst>
        </pc:grpChg>
        <pc:graphicFrameChg chg="add mod modGraphic">
          <ac:chgData name="丁野 光理" userId="53361c9a-10d0-4268-b39c-a1f4044b33f4" providerId="ADAL" clId="{BEA0B159-1E5E-4B76-81CB-EBA25D9989EE}" dt="2025-02-10T04:45:20.279" v="1062"/>
          <ac:graphicFrameMkLst>
            <pc:docMk/>
            <pc:sldMk cId="3772405785" sldId="2147378747"/>
            <ac:graphicFrameMk id="4" creationId="{53290717-291E-FE0B-F239-8CC31B49B7AE}"/>
          </ac:graphicFrameMkLst>
        </pc:graphicFrameChg>
        <pc:graphicFrameChg chg="add mod modGraphic">
          <ac:chgData name="丁野 光理" userId="53361c9a-10d0-4268-b39c-a1f4044b33f4" providerId="ADAL" clId="{BEA0B159-1E5E-4B76-81CB-EBA25D9989EE}" dt="2025-02-10T04:43:18.138" v="384"/>
          <ac:graphicFrameMkLst>
            <pc:docMk/>
            <pc:sldMk cId="3772405785" sldId="2147378747"/>
            <ac:graphicFrameMk id="6" creationId="{5A7AFDF6-E377-1764-3320-E79733479593}"/>
          </ac:graphicFrameMkLst>
        </pc:graphicFrameChg>
        <pc:extLst>
          <p:ext xmlns:p="http://schemas.openxmlformats.org/presentationml/2006/main" uri="{D6D511B9-2390-475A-947B-AFAB55BFBCF1}">
            <pc226:cmChg xmlns:pc226="http://schemas.microsoft.com/office/powerpoint/2022/06/main/command" chg="add del">
              <pc226:chgData name="丁野 光理" userId="53361c9a-10d0-4268-b39c-a1f4044b33f4" providerId="ADAL" clId="{BEA0B159-1E5E-4B76-81CB-EBA25D9989EE}" dt="2025-02-10T05:07:38.892" v="1064"/>
              <pc2:cmMkLst xmlns:pc2="http://schemas.microsoft.com/office/powerpoint/2019/9/main/command">
                <pc:docMk/>
                <pc:sldMk cId="3772405785" sldId="2147378747"/>
                <pc2:cmMk id="{0C4BB85B-EBB3-452F-9109-0A8B26A767BF}"/>
              </pc2:cmMkLst>
            </pc226:cmChg>
          </p:ext>
        </pc:extLst>
      </pc:sldChg>
      <pc:sldChg chg="delCm">
        <pc:chgData name="丁野 光理" userId="53361c9a-10d0-4268-b39c-a1f4044b33f4" providerId="ADAL" clId="{BEA0B159-1E5E-4B76-81CB-EBA25D9989EE}" dt="2025-02-10T04:29:07.671" v="105"/>
        <pc:sldMkLst>
          <pc:docMk/>
          <pc:sldMk cId="177420526" sldId="2147378748"/>
        </pc:sldMkLst>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BEA0B159-1E5E-4B76-81CB-EBA25D9989EE}" dt="2025-02-10T04:29:07.671" v="105"/>
              <pc2:cmMkLst xmlns:pc2="http://schemas.microsoft.com/office/powerpoint/2019/9/main/command">
                <pc:docMk/>
                <pc:sldMk cId="177420526" sldId="2147378748"/>
                <pc2:cmMk id="{522C6100-0E08-46DA-936A-1FF54600C0C7}"/>
              </pc2:cmMkLst>
            </pc226:cmChg>
          </p:ext>
        </pc:extLst>
      </pc:sldChg>
      <pc:sldChg chg="addCm delCm">
        <pc:chgData name="丁野 光理" userId="53361c9a-10d0-4268-b39c-a1f4044b33f4" providerId="ADAL" clId="{BEA0B159-1E5E-4B76-81CB-EBA25D9989EE}" dt="2025-02-10T04:28:32.182" v="80"/>
        <pc:sldMkLst>
          <pc:docMk/>
          <pc:sldMk cId="2929259541" sldId="2147378749"/>
        </pc:sldMkLst>
        <pc:extLst>
          <p:ext xmlns:p="http://schemas.openxmlformats.org/presentationml/2006/main" uri="{D6D511B9-2390-475A-947B-AFAB55BFBCF1}">
            <pc226:cmChg xmlns:pc226="http://schemas.microsoft.com/office/powerpoint/2022/06/main/command" chg="add del">
              <pc226:chgData name="丁野 光理" userId="53361c9a-10d0-4268-b39c-a1f4044b33f4" providerId="ADAL" clId="{BEA0B159-1E5E-4B76-81CB-EBA25D9989EE}" dt="2025-02-10T04:28:32.182" v="80"/>
              <pc2:cmMkLst xmlns:pc2="http://schemas.microsoft.com/office/powerpoint/2019/9/main/command">
                <pc:docMk/>
                <pc:sldMk cId="2929259541" sldId="2147378749"/>
                <pc2:cmMk id="{C05411B0-08AD-4B5D-94B3-4EC875BC15B8}"/>
              </pc2:cmMkLst>
            </pc226:cmChg>
          </p:ext>
        </pc:extLst>
      </pc:sldChg>
      <pc:sldChg chg="add del">
        <pc:chgData name="丁野 光理" userId="53361c9a-10d0-4268-b39c-a1f4044b33f4" providerId="ADAL" clId="{BEA0B159-1E5E-4B76-81CB-EBA25D9989EE}" dt="2025-02-10T04:28:32.024" v="79" actId="47"/>
        <pc:sldMkLst>
          <pc:docMk/>
          <pc:sldMk cId="7942078" sldId="2147378752"/>
        </pc:sldMkLst>
      </pc:sldChg>
      <pc:sldChg chg="addCm delCm">
        <pc:chgData name="丁野 光理" userId="53361c9a-10d0-4268-b39c-a1f4044b33f4" providerId="ADAL" clId="{BEA0B159-1E5E-4B76-81CB-EBA25D9989EE}" dt="2025-02-10T04:28:33.001" v="85"/>
        <pc:sldMkLst>
          <pc:docMk/>
          <pc:sldMk cId="3278106509" sldId="2147378755"/>
        </pc:sldMkLst>
        <pc:extLst>
          <p:ext xmlns:p="http://schemas.openxmlformats.org/presentationml/2006/main" uri="{D6D511B9-2390-475A-947B-AFAB55BFBCF1}">
            <pc226:cmChg xmlns:pc226="http://schemas.microsoft.com/office/powerpoint/2022/06/main/command" chg="add del">
              <pc226:chgData name="丁野 光理" userId="53361c9a-10d0-4268-b39c-a1f4044b33f4" providerId="ADAL" clId="{BEA0B159-1E5E-4B76-81CB-EBA25D9989EE}" dt="2025-02-10T04:28:33.001" v="85"/>
              <pc2:cmMkLst xmlns:pc2="http://schemas.microsoft.com/office/powerpoint/2019/9/main/command">
                <pc:docMk/>
                <pc:sldMk cId="3278106509" sldId="2147378755"/>
                <pc2:cmMk id="{FCCEA4C0-ACE5-42D5-86FE-18AC499EE7B6}"/>
              </pc2:cmMkLst>
            </pc226:cmChg>
          </p:ext>
        </pc:extLst>
      </pc:sldChg>
      <pc:sldChg chg="addCm delCm">
        <pc:chgData name="丁野 光理" userId="53361c9a-10d0-4268-b39c-a1f4044b33f4" providerId="ADAL" clId="{BEA0B159-1E5E-4B76-81CB-EBA25D9989EE}" dt="2025-02-10T04:28:32.822" v="84"/>
        <pc:sldMkLst>
          <pc:docMk/>
          <pc:sldMk cId="2192251413" sldId="2147483276"/>
        </pc:sldMkLst>
        <pc:extLst>
          <p:ext xmlns:p="http://schemas.openxmlformats.org/presentationml/2006/main" uri="{D6D511B9-2390-475A-947B-AFAB55BFBCF1}">
            <pc226:cmChg xmlns:pc226="http://schemas.microsoft.com/office/powerpoint/2022/06/main/command" chg="add del">
              <pc226:chgData name="丁野 光理" userId="53361c9a-10d0-4268-b39c-a1f4044b33f4" providerId="ADAL" clId="{BEA0B159-1E5E-4B76-81CB-EBA25D9989EE}" dt="2025-02-10T04:28:32.822" v="84"/>
              <pc2:cmMkLst xmlns:pc2="http://schemas.microsoft.com/office/powerpoint/2019/9/main/command">
                <pc:docMk/>
                <pc:sldMk cId="2192251413" sldId="2147483276"/>
                <pc2:cmMk id="{284BFB41-0210-4B88-A047-2D8C351C36A9}"/>
              </pc2:cmMkLst>
            </pc226:cmChg>
          </p:ext>
        </pc:extLst>
      </pc:sldChg>
      <pc:sldChg chg="modSp mod delCm">
        <pc:chgData name="丁野 光理" userId="53361c9a-10d0-4268-b39c-a1f4044b33f4" providerId="ADAL" clId="{BEA0B159-1E5E-4B76-81CB-EBA25D9989EE}" dt="2025-02-10T04:28:31.864" v="78" actId="20577"/>
        <pc:sldMkLst>
          <pc:docMk/>
          <pc:sldMk cId="3516192024" sldId="2147483277"/>
        </pc:sldMkLst>
        <pc:spChg chg="mod">
          <ac:chgData name="丁野 光理" userId="53361c9a-10d0-4268-b39c-a1f4044b33f4" providerId="ADAL" clId="{BEA0B159-1E5E-4B76-81CB-EBA25D9989EE}" dt="2025-02-10T04:28:31.864" v="78" actId="20577"/>
          <ac:spMkLst>
            <pc:docMk/>
            <pc:sldMk cId="3516192024" sldId="2147483277"/>
            <ac:spMk id="9" creationId="{F7DA7227-3724-60C8-1F06-5A8A2F4AF1F8}"/>
          </ac:spMkLst>
        </pc:sp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BEA0B159-1E5E-4B76-81CB-EBA25D9989EE}" dt="2025-02-10T04:25:58.328" v="32"/>
              <pc2:cmMkLst xmlns:pc2="http://schemas.microsoft.com/office/powerpoint/2019/9/main/command">
                <pc:docMk/>
                <pc:sldMk cId="3516192024" sldId="2147483277"/>
                <pc2:cmMk id="{426A4EFF-F30E-4A23-8C5F-F935F78456BA}"/>
              </pc2:cmMkLst>
            </pc226:cmChg>
          </p:ext>
        </pc:extLst>
      </pc:sldChg>
      <pc:sldChg chg="modSp mod">
        <pc:chgData name="丁野 光理" userId="53361c9a-10d0-4268-b39c-a1f4044b33f4" providerId="ADAL" clId="{BEA0B159-1E5E-4B76-81CB-EBA25D9989EE}" dt="2025-02-10T05:09:44.193" v="1101"/>
        <pc:sldMkLst>
          <pc:docMk/>
          <pc:sldMk cId="1777383321" sldId="2147483289"/>
        </pc:sldMkLst>
        <pc:spChg chg="mod">
          <ac:chgData name="丁野 光理" userId="53361c9a-10d0-4268-b39c-a1f4044b33f4" providerId="ADAL" clId="{BEA0B159-1E5E-4B76-81CB-EBA25D9989EE}" dt="2025-02-10T05:09:44.193" v="1101"/>
          <ac:spMkLst>
            <pc:docMk/>
            <pc:sldMk cId="1777383321" sldId="2147483289"/>
            <ac:spMk id="10" creationId="{80E6EF29-A9F8-46B2-8DDE-5092A65E485F}"/>
          </ac:spMkLst>
        </pc:spChg>
      </pc:sldChg>
      <pc:sldChg chg="delCm">
        <pc:chgData name="丁野 光理" userId="53361c9a-10d0-4268-b39c-a1f4044b33f4" providerId="ADAL" clId="{BEA0B159-1E5E-4B76-81CB-EBA25D9989EE}" dt="2025-02-10T04:29:26.267" v="110"/>
        <pc:sldMkLst>
          <pc:docMk/>
          <pc:sldMk cId="2965977736" sldId="2147483292"/>
        </pc:sldMkLst>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BEA0B159-1E5E-4B76-81CB-EBA25D9989EE}" dt="2025-02-10T04:29:26.267" v="110"/>
              <pc2:cmMkLst xmlns:pc2="http://schemas.microsoft.com/office/powerpoint/2019/9/main/command">
                <pc:docMk/>
                <pc:sldMk cId="2965977736" sldId="2147483292"/>
                <pc2:cmMk id="{FBBD653C-163C-4333-9A8F-ED31F39B4803}"/>
              </pc2:cmMkLst>
            </pc226:cmChg>
          </p:ext>
        </pc:extLst>
      </pc:sldChg>
      <pc:sldChg chg="delCm">
        <pc:chgData name="丁野 光理" userId="53361c9a-10d0-4268-b39c-a1f4044b33f4" providerId="ADAL" clId="{BEA0B159-1E5E-4B76-81CB-EBA25D9989EE}" dt="2025-02-10T04:29:28.593" v="111"/>
        <pc:sldMkLst>
          <pc:docMk/>
          <pc:sldMk cId="3497061464" sldId="2147483293"/>
        </pc:sldMkLst>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BEA0B159-1E5E-4B76-81CB-EBA25D9989EE}" dt="2025-02-10T04:29:28.593" v="111"/>
              <pc2:cmMkLst xmlns:pc2="http://schemas.microsoft.com/office/powerpoint/2019/9/main/command">
                <pc:docMk/>
                <pc:sldMk cId="3497061464" sldId="2147483293"/>
                <pc2:cmMk id="{AD47694F-BDDF-4C72-85B2-9F8EFEECDDCA}"/>
              </pc2:cmMkLst>
            </pc226:cmChg>
          </p:ext>
        </pc:extLst>
      </pc:sldChg>
      <pc:sldChg chg="delCm">
        <pc:chgData name="丁野 光理" userId="53361c9a-10d0-4268-b39c-a1f4044b33f4" providerId="ADAL" clId="{BEA0B159-1E5E-4B76-81CB-EBA25D9989EE}" dt="2025-02-10T04:29:30.924" v="112"/>
        <pc:sldMkLst>
          <pc:docMk/>
          <pc:sldMk cId="1912562074" sldId="2147483294"/>
        </pc:sldMkLst>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BEA0B159-1E5E-4B76-81CB-EBA25D9989EE}" dt="2025-02-10T04:29:30.924" v="112"/>
              <pc2:cmMkLst xmlns:pc2="http://schemas.microsoft.com/office/powerpoint/2019/9/main/command">
                <pc:docMk/>
                <pc:sldMk cId="1912562074" sldId="2147483294"/>
                <pc2:cmMk id="{1B5CD6A4-5CFE-491D-AAC8-ED2A4B94D6B2}"/>
              </pc2:cmMkLst>
            </pc226:cmChg>
          </p:ext>
        </pc:extLst>
      </pc:sldChg>
      <pc:sldChg chg="delCm">
        <pc:chgData name="丁野 光理" userId="53361c9a-10d0-4268-b39c-a1f4044b33f4" providerId="ADAL" clId="{BEA0B159-1E5E-4B76-81CB-EBA25D9989EE}" dt="2025-02-10T04:29:33.126" v="113"/>
        <pc:sldMkLst>
          <pc:docMk/>
          <pc:sldMk cId="975610029" sldId="2147483295"/>
        </pc:sldMkLst>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BEA0B159-1E5E-4B76-81CB-EBA25D9989EE}" dt="2025-02-10T04:29:33.126" v="113"/>
              <pc2:cmMkLst xmlns:pc2="http://schemas.microsoft.com/office/powerpoint/2019/9/main/command">
                <pc:docMk/>
                <pc:sldMk cId="975610029" sldId="2147483295"/>
                <pc2:cmMk id="{7953D8C5-367F-485C-9268-663821B7276F}"/>
              </pc2:cmMkLst>
            </pc226:cmChg>
          </p:ext>
        </pc:extLst>
      </pc:sldChg>
      <pc:sldChg chg="delCm">
        <pc:chgData name="丁野 光理" userId="53361c9a-10d0-4268-b39c-a1f4044b33f4" providerId="ADAL" clId="{BEA0B159-1E5E-4B76-81CB-EBA25D9989EE}" dt="2025-02-10T04:29:35.211" v="114"/>
        <pc:sldMkLst>
          <pc:docMk/>
          <pc:sldMk cId="3384715002" sldId="2147483296"/>
        </pc:sldMkLst>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BEA0B159-1E5E-4B76-81CB-EBA25D9989EE}" dt="2025-02-10T04:29:35.211" v="114"/>
              <pc2:cmMkLst xmlns:pc2="http://schemas.microsoft.com/office/powerpoint/2019/9/main/command">
                <pc:docMk/>
                <pc:sldMk cId="3384715002" sldId="2147483296"/>
                <pc2:cmMk id="{0CF0D07E-01D5-4762-9C56-74A02B0B8F3D}"/>
              </pc2:cmMkLst>
            </pc226:cmChg>
          </p:ext>
        </pc:extLst>
      </pc:sldChg>
      <pc:sldChg chg="delCm">
        <pc:chgData name="丁野 光理" userId="53361c9a-10d0-4268-b39c-a1f4044b33f4" providerId="ADAL" clId="{BEA0B159-1E5E-4B76-81CB-EBA25D9989EE}" dt="2025-02-10T04:29:37.576" v="115"/>
        <pc:sldMkLst>
          <pc:docMk/>
          <pc:sldMk cId="1698894711" sldId="2147483297"/>
        </pc:sldMkLst>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BEA0B159-1E5E-4B76-81CB-EBA25D9989EE}" dt="2025-02-10T04:29:37.576" v="115"/>
              <pc2:cmMkLst xmlns:pc2="http://schemas.microsoft.com/office/powerpoint/2019/9/main/command">
                <pc:docMk/>
                <pc:sldMk cId="1698894711" sldId="2147483297"/>
                <pc2:cmMk id="{29A1B5BE-DCCA-47AD-A3E7-439A0C6EBF31}"/>
              </pc2:cmMkLst>
            </pc226:cmChg>
          </p:ext>
        </pc:extLst>
      </pc:sldChg>
      <pc:sldChg chg="delCm">
        <pc:chgData name="丁野 光理" userId="53361c9a-10d0-4268-b39c-a1f4044b33f4" providerId="ADAL" clId="{BEA0B159-1E5E-4B76-81CB-EBA25D9989EE}" dt="2025-02-10T04:29:40.160" v="116"/>
        <pc:sldMkLst>
          <pc:docMk/>
          <pc:sldMk cId="554057955" sldId="2147483299"/>
        </pc:sldMkLst>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BEA0B159-1E5E-4B76-81CB-EBA25D9989EE}" dt="2025-02-10T04:29:40.160" v="116"/>
              <pc2:cmMkLst xmlns:pc2="http://schemas.microsoft.com/office/powerpoint/2019/9/main/command">
                <pc:docMk/>
                <pc:sldMk cId="554057955" sldId="2147483299"/>
                <pc2:cmMk id="{C2A8F14C-C2AE-49A7-B643-9249229A57B2}"/>
              </pc2:cmMkLst>
            </pc226:cmChg>
          </p:ext>
        </pc:extLst>
      </pc:sldChg>
      <pc:sldChg chg="delCm">
        <pc:chgData name="丁野 光理" userId="53361c9a-10d0-4268-b39c-a1f4044b33f4" providerId="ADAL" clId="{BEA0B159-1E5E-4B76-81CB-EBA25D9989EE}" dt="2025-02-10T04:29:42.850" v="117"/>
        <pc:sldMkLst>
          <pc:docMk/>
          <pc:sldMk cId="1667285715" sldId="2147483300"/>
        </pc:sldMkLst>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BEA0B159-1E5E-4B76-81CB-EBA25D9989EE}" dt="2025-02-10T04:29:42.850" v="117"/>
              <pc2:cmMkLst xmlns:pc2="http://schemas.microsoft.com/office/powerpoint/2019/9/main/command">
                <pc:docMk/>
                <pc:sldMk cId="1667285715" sldId="2147483300"/>
                <pc2:cmMk id="{657F296F-E478-4168-AFAC-F73BBC490005}"/>
              </pc2:cmMkLst>
            </pc226:cmChg>
          </p:ext>
        </pc:extLst>
      </pc:sldChg>
      <pc:sldChg chg="add del">
        <pc:chgData name="丁野 光理" userId="53361c9a-10d0-4268-b39c-a1f4044b33f4" providerId="ADAL" clId="{BEA0B159-1E5E-4B76-81CB-EBA25D9989EE}" dt="2025-02-10T04:30:03.246" v="121" actId="47"/>
        <pc:sldMkLst>
          <pc:docMk/>
          <pc:sldMk cId="4070170115" sldId="2147483301"/>
        </pc:sldMkLst>
      </pc:sldChg>
      <pc:sldChg chg="delCm">
        <pc:chgData name="丁野 光理" userId="53361c9a-10d0-4268-b39c-a1f4044b33f4" providerId="ADAL" clId="{BEA0B159-1E5E-4B76-81CB-EBA25D9989EE}" dt="2025-02-10T04:30:07.555" v="122"/>
        <pc:sldMkLst>
          <pc:docMk/>
          <pc:sldMk cId="941489346" sldId="2147483302"/>
        </pc:sldMkLst>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BEA0B159-1E5E-4B76-81CB-EBA25D9989EE}" dt="2025-02-10T04:30:07.555" v="122"/>
              <pc2:cmMkLst xmlns:pc2="http://schemas.microsoft.com/office/powerpoint/2019/9/main/command">
                <pc:docMk/>
                <pc:sldMk cId="941489346" sldId="2147483302"/>
                <pc2:cmMk id="{9581CA82-558C-4DEF-AD3E-1C9FD1A04A1E}"/>
              </pc2:cmMkLst>
            </pc226:cmChg>
          </p:ext>
        </pc:extLst>
      </pc:sldChg>
      <pc:sldChg chg="delCm">
        <pc:chgData name="丁野 光理" userId="53361c9a-10d0-4268-b39c-a1f4044b33f4" providerId="ADAL" clId="{BEA0B159-1E5E-4B76-81CB-EBA25D9989EE}" dt="2025-02-10T04:30:10.668" v="123"/>
        <pc:sldMkLst>
          <pc:docMk/>
          <pc:sldMk cId="3407569653" sldId="2147483303"/>
        </pc:sldMkLst>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BEA0B159-1E5E-4B76-81CB-EBA25D9989EE}" dt="2025-02-10T04:30:10.668" v="123"/>
              <pc2:cmMkLst xmlns:pc2="http://schemas.microsoft.com/office/powerpoint/2019/9/main/command">
                <pc:docMk/>
                <pc:sldMk cId="3407569653" sldId="2147483303"/>
                <pc2:cmMk id="{99F074B6-B311-4413-AA67-2C08B3A6C17C}"/>
              </pc2:cmMkLst>
            </pc226:cmChg>
          </p:ext>
        </pc:extLst>
      </pc:sldChg>
      <pc:sldChg chg="delCm">
        <pc:chgData name="丁野 光理" userId="53361c9a-10d0-4268-b39c-a1f4044b33f4" providerId="ADAL" clId="{BEA0B159-1E5E-4B76-81CB-EBA25D9989EE}" dt="2025-02-10T04:30:14.211" v="124"/>
        <pc:sldMkLst>
          <pc:docMk/>
          <pc:sldMk cId="1376256369" sldId="2147483304"/>
        </pc:sldMkLst>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BEA0B159-1E5E-4B76-81CB-EBA25D9989EE}" dt="2025-02-10T04:30:14.211" v="124"/>
              <pc2:cmMkLst xmlns:pc2="http://schemas.microsoft.com/office/powerpoint/2019/9/main/command">
                <pc:docMk/>
                <pc:sldMk cId="1376256369" sldId="2147483304"/>
                <pc2:cmMk id="{DC9E00A2-63C8-4829-99B6-53052BB89D67}"/>
              </pc2:cmMkLst>
            </pc226:cmChg>
          </p:ext>
        </pc:extLst>
      </pc:sldChg>
      <pc:sldChg chg="delCm">
        <pc:chgData name="丁野 光理" userId="53361c9a-10d0-4268-b39c-a1f4044b33f4" providerId="ADAL" clId="{BEA0B159-1E5E-4B76-81CB-EBA25D9989EE}" dt="2025-02-10T04:30:17.673" v="125"/>
        <pc:sldMkLst>
          <pc:docMk/>
          <pc:sldMk cId="2188300909" sldId="2147483305"/>
        </pc:sldMkLst>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BEA0B159-1E5E-4B76-81CB-EBA25D9989EE}" dt="2025-02-10T04:30:17.673" v="125"/>
              <pc2:cmMkLst xmlns:pc2="http://schemas.microsoft.com/office/powerpoint/2019/9/main/command">
                <pc:docMk/>
                <pc:sldMk cId="2188300909" sldId="2147483305"/>
                <pc2:cmMk id="{01493EA9-CD6C-4507-99F0-8AF7219E4B5F}"/>
              </pc2:cmMkLst>
            </pc226:cmChg>
          </p:ext>
        </pc:extLst>
      </pc:sldChg>
      <pc:sldChg chg="delCm">
        <pc:chgData name="丁野 光理" userId="53361c9a-10d0-4268-b39c-a1f4044b33f4" providerId="ADAL" clId="{BEA0B159-1E5E-4B76-81CB-EBA25D9989EE}" dt="2025-02-10T04:29:17.233" v="109"/>
        <pc:sldMkLst>
          <pc:docMk/>
          <pc:sldMk cId="644493248" sldId="2147483311"/>
        </pc:sldMkLst>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BEA0B159-1E5E-4B76-81CB-EBA25D9989EE}" dt="2025-02-10T04:29:17.233" v="109"/>
              <pc2:cmMkLst xmlns:pc2="http://schemas.microsoft.com/office/powerpoint/2019/9/main/command">
                <pc:docMk/>
                <pc:sldMk cId="644493248" sldId="2147483311"/>
                <pc2:cmMk id="{736DE0C4-3851-47B1-B408-A05F89339E87}"/>
              </pc2:cmMkLst>
            </pc226:cmChg>
          </p:ext>
        </pc:extLst>
      </pc:sldChg>
      <pc:sldChg chg="delCm">
        <pc:chgData name="丁野 光理" userId="53361c9a-10d0-4268-b39c-a1f4044b33f4" providerId="ADAL" clId="{BEA0B159-1E5E-4B76-81CB-EBA25D9989EE}" dt="2025-02-10T04:29:15.144" v="108"/>
        <pc:sldMkLst>
          <pc:docMk/>
          <pc:sldMk cId="2434394258" sldId="2147483312"/>
        </pc:sldMkLst>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BEA0B159-1E5E-4B76-81CB-EBA25D9989EE}" dt="2025-02-10T04:29:15.144" v="108"/>
              <pc2:cmMkLst xmlns:pc2="http://schemas.microsoft.com/office/powerpoint/2019/9/main/command">
                <pc:docMk/>
                <pc:sldMk cId="2434394258" sldId="2147483312"/>
                <pc2:cmMk id="{F404771D-B01B-4A3E-A7E0-3B948632E280}"/>
              </pc2:cmMkLst>
            </pc226:cmChg>
          </p:ext>
        </pc:extLst>
      </pc:sldChg>
      <pc:sldChg chg="delCm">
        <pc:chgData name="丁野 光理" userId="53361c9a-10d0-4268-b39c-a1f4044b33f4" providerId="ADAL" clId="{BEA0B159-1E5E-4B76-81CB-EBA25D9989EE}" dt="2025-02-10T04:29:12.954" v="107"/>
        <pc:sldMkLst>
          <pc:docMk/>
          <pc:sldMk cId="1332402074" sldId="2147483313"/>
        </pc:sldMkLst>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BEA0B159-1E5E-4B76-81CB-EBA25D9989EE}" dt="2025-02-10T04:29:12.954" v="107"/>
              <pc2:cmMkLst xmlns:pc2="http://schemas.microsoft.com/office/powerpoint/2019/9/main/command">
                <pc:docMk/>
                <pc:sldMk cId="1332402074" sldId="2147483313"/>
                <pc2:cmMk id="{29C42148-4F19-4995-89AB-BD07DC0E050A}"/>
              </pc2:cmMkLst>
            </pc226:cmChg>
          </p:ext>
        </pc:extLst>
      </pc:sldChg>
      <pc:sldChg chg="modSp add del mod">
        <pc:chgData name="丁野 光理" userId="53361c9a-10d0-4268-b39c-a1f4044b33f4" providerId="ADAL" clId="{BEA0B159-1E5E-4B76-81CB-EBA25D9989EE}" dt="2025-02-10T04:28:52.663" v="103"/>
        <pc:sldMkLst>
          <pc:docMk/>
          <pc:sldMk cId="2279494548" sldId="2147483314"/>
        </pc:sldMkLst>
        <pc:spChg chg="mod">
          <ac:chgData name="丁野 光理" userId="53361c9a-10d0-4268-b39c-a1f4044b33f4" providerId="ADAL" clId="{BEA0B159-1E5E-4B76-81CB-EBA25D9989EE}" dt="2025-02-10T04:28:34.429" v="93"/>
          <ac:spMkLst>
            <pc:docMk/>
            <pc:sldMk cId="2279494548" sldId="2147483314"/>
            <ac:spMk id="2" creationId="{CBF10691-58CC-75D5-EA23-B36D933D90D3}"/>
          </ac:spMkLst>
        </pc:spChg>
        <pc:spChg chg="mod">
          <ac:chgData name="丁野 光理" userId="53361c9a-10d0-4268-b39c-a1f4044b33f4" providerId="ADAL" clId="{BEA0B159-1E5E-4B76-81CB-EBA25D9989EE}" dt="2025-02-10T04:28:52.663" v="103"/>
          <ac:spMkLst>
            <pc:docMk/>
            <pc:sldMk cId="2279494548" sldId="2147483314"/>
            <ac:spMk id="9" creationId="{F7DA7227-3724-60C8-1F06-5A8A2F4AF1F8}"/>
          </ac:spMkLst>
        </pc:spChg>
      </pc:sldChg>
      <pc:sldChg chg="add del">
        <pc:chgData name="丁野 光理" userId="53361c9a-10d0-4268-b39c-a1f4044b33f4" providerId="ADAL" clId="{BEA0B159-1E5E-4B76-81CB-EBA25D9989EE}" dt="2025-02-10T05:07:35.322" v="1063" actId="47"/>
        <pc:sldMkLst>
          <pc:docMk/>
          <pc:sldMk cId="589287117" sldId="2147483315"/>
        </pc:sldMkLst>
      </pc:sldChg>
    </pc:docChg>
  </pc:docChgLst>
  <pc:docChgLst>
    <pc:chgData name="神谷 聖二" userId="517b2053-71b1-4492-bbd9-c8e4b39141e4" providerId="ADAL" clId="{AAB0666E-E105-4B86-BD4F-FDD5F3321F12}"/>
    <pc:docChg chg="undo custSel modSld">
      <pc:chgData name="神谷 聖二" userId="517b2053-71b1-4492-bbd9-c8e4b39141e4" providerId="ADAL" clId="{AAB0666E-E105-4B86-BD4F-FDD5F3321F12}" dt="2024-07-12T07:44:53.755" v="806" actId="1036"/>
      <pc:docMkLst>
        <pc:docMk/>
      </pc:docMkLst>
      <pc:sldChg chg="modSp mod">
        <pc:chgData name="神谷 聖二" userId="517b2053-71b1-4492-bbd9-c8e4b39141e4" providerId="ADAL" clId="{AAB0666E-E105-4B86-BD4F-FDD5F3321F12}" dt="2024-07-12T07:43:28.609" v="804" actId="20577"/>
        <pc:sldMkLst>
          <pc:docMk/>
          <pc:sldMk cId="2355786622" sldId="2146847413"/>
        </pc:sldMkLst>
        <pc:spChg chg="mod">
          <ac:chgData name="神谷 聖二" userId="517b2053-71b1-4492-bbd9-c8e4b39141e4" providerId="ADAL" clId="{AAB0666E-E105-4B86-BD4F-FDD5F3321F12}" dt="2024-07-12T07:43:28.609" v="804" actId="20577"/>
          <ac:spMkLst>
            <pc:docMk/>
            <pc:sldMk cId="2355786622" sldId="2146847413"/>
            <ac:spMk id="3" creationId="{C57F1E1F-3521-45C1-9CD2-360C7A8ED649}"/>
          </ac:spMkLst>
        </pc:spChg>
      </pc:sldChg>
      <pc:sldChg chg="modSp mod">
        <pc:chgData name="神谷 聖二" userId="517b2053-71b1-4492-bbd9-c8e4b39141e4" providerId="ADAL" clId="{AAB0666E-E105-4B86-BD4F-FDD5F3321F12}" dt="2024-07-12T07:36:54.657" v="752" actId="20577"/>
        <pc:sldMkLst>
          <pc:docMk/>
          <pc:sldMk cId="1869527861" sldId="2147378640"/>
        </pc:sldMkLst>
        <pc:spChg chg="mod">
          <ac:chgData name="神谷 聖二" userId="517b2053-71b1-4492-bbd9-c8e4b39141e4" providerId="ADAL" clId="{AAB0666E-E105-4B86-BD4F-FDD5F3321F12}" dt="2024-07-12T07:36:54.657" v="752" actId="20577"/>
          <ac:spMkLst>
            <pc:docMk/>
            <pc:sldMk cId="1869527861" sldId="2147378640"/>
            <ac:spMk id="10" creationId="{80E6EF29-A9F8-46B2-8DDE-5092A65E485F}"/>
          </ac:spMkLst>
        </pc:spChg>
      </pc:sldChg>
      <pc:sldChg chg="modSp mod">
        <pc:chgData name="神谷 聖二" userId="517b2053-71b1-4492-bbd9-c8e4b39141e4" providerId="ADAL" clId="{AAB0666E-E105-4B86-BD4F-FDD5F3321F12}" dt="2024-07-12T07:37:01.612" v="753" actId="20577"/>
        <pc:sldMkLst>
          <pc:docMk/>
          <pc:sldMk cId="2854292604" sldId="2147378652"/>
        </pc:sldMkLst>
        <pc:spChg chg="mod">
          <ac:chgData name="神谷 聖二" userId="517b2053-71b1-4492-bbd9-c8e4b39141e4" providerId="ADAL" clId="{AAB0666E-E105-4B86-BD4F-FDD5F3321F12}" dt="2024-07-12T07:37:01.612" v="753" actId="20577"/>
          <ac:spMkLst>
            <pc:docMk/>
            <pc:sldMk cId="2854292604" sldId="2147378652"/>
            <ac:spMk id="10" creationId="{3FBABAD3-5FB4-0114-9B7B-795B1762F04A}"/>
          </ac:spMkLst>
        </pc:spChg>
      </pc:sldChg>
      <pc:sldChg chg="modSp mod">
        <pc:chgData name="神谷 聖二" userId="517b2053-71b1-4492-bbd9-c8e4b39141e4" providerId="ADAL" clId="{AAB0666E-E105-4B86-BD4F-FDD5F3321F12}" dt="2024-07-12T07:37:12.016" v="754" actId="14100"/>
        <pc:sldMkLst>
          <pc:docMk/>
          <pc:sldMk cId="1245055399" sldId="2147378653"/>
        </pc:sldMkLst>
        <pc:spChg chg="mod">
          <ac:chgData name="神谷 聖二" userId="517b2053-71b1-4492-bbd9-c8e4b39141e4" providerId="ADAL" clId="{AAB0666E-E105-4B86-BD4F-FDD5F3321F12}" dt="2024-07-12T07:37:12.016" v="754" actId="14100"/>
          <ac:spMkLst>
            <pc:docMk/>
            <pc:sldMk cId="1245055399" sldId="2147378653"/>
            <ac:spMk id="9" creationId="{B79A90FB-8F87-BD8C-CDDB-781282C516A5}"/>
          </ac:spMkLst>
        </pc:spChg>
        <pc:spChg chg="mod">
          <ac:chgData name="神谷 聖二" userId="517b2053-71b1-4492-bbd9-c8e4b39141e4" providerId="ADAL" clId="{AAB0666E-E105-4B86-BD4F-FDD5F3321F12}" dt="2024-07-12T07:36:47.089" v="751" actId="20577"/>
          <ac:spMkLst>
            <pc:docMk/>
            <pc:sldMk cId="1245055399" sldId="2147378653"/>
            <ac:spMk id="10" creationId="{F4A72386-C363-032B-B0E0-9FB1031C9979}"/>
          </ac:spMkLst>
        </pc:spChg>
      </pc:sldChg>
      <pc:sldChg chg="modSp mod">
        <pc:chgData name="神谷 聖二" userId="517b2053-71b1-4492-bbd9-c8e4b39141e4" providerId="ADAL" clId="{AAB0666E-E105-4B86-BD4F-FDD5F3321F12}" dt="2024-07-12T07:44:53.755" v="806" actId="1036"/>
        <pc:sldMkLst>
          <pc:docMk/>
          <pc:sldMk cId="1132711422" sldId="2147378657"/>
        </pc:sldMkLst>
        <pc:graphicFrameChg chg="mod modGraphic">
          <ac:chgData name="神谷 聖二" userId="517b2053-71b1-4492-bbd9-c8e4b39141e4" providerId="ADAL" clId="{AAB0666E-E105-4B86-BD4F-FDD5F3321F12}" dt="2024-07-12T07:44:53.755" v="806" actId="1036"/>
          <ac:graphicFrameMkLst>
            <pc:docMk/>
            <pc:sldMk cId="1132711422" sldId="2147378657"/>
            <ac:graphicFrameMk id="13" creationId="{6B84DF48-8B2E-7483-E19E-A4C36C91AA03}"/>
          </ac:graphicFrameMkLst>
        </pc:graphicFrameChg>
      </pc:sldChg>
      <pc:sldChg chg="modSp mod">
        <pc:chgData name="神谷 聖二" userId="517b2053-71b1-4492-bbd9-c8e4b39141e4" providerId="ADAL" clId="{AAB0666E-E105-4B86-BD4F-FDD5F3321F12}" dt="2024-07-12T07:36:19.395" v="750" actId="20577"/>
        <pc:sldMkLst>
          <pc:docMk/>
          <pc:sldMk cId="2807815468" sldId="2147378693"/>
        </pc:sldMkLst>
        <pc:spChg chg="mod">
          <ac:chgData name="神谷 聖二" userId="517b2053-71b1-4492-bbd9-c8e4b39141e4" providerId="ADAL" clId="{AAB0666E-E105-4B86-BD4F-FDD5F3321F12}" dt="2024-07-12T07:36:08.860" v="734" actId="20577"/>
          <ac:spMkLst>
            <pc:docMk/>
            <pc:sldMk cId="2807815468" sldId="2147378693"/>
            <ac:spMk id="4" creationId="{6F71EB31-C9B7-4098-9EFB-8216961CCBDC}"/>
          </ac:spMkLst>
        </pc:spChg>
        <pc:spChg chg="mod">
          <ac:chgData name="神谷 聖二" userId="517b2053-71b1-4492-bbd9-c8e4b39141e4" providerId="ADAL" clId="{AAB0666E-E105-4B86-BD4F-FDD5F3321F12}" dt="2024-07-12T07:36:19.395" v="750" actId="20577"/>
          <ac:spMkLst>
            <pc:docMk/>
            <pc:sldMk cId="2807815468" sldId="2147378693"/>
            <ac:spMk id="8" creationId="{9B252D3D-6288-96C4-6851-3CB5CABE93B0}"/>
          </ac:spMkLst>
        </pc:spChg>
        <pc:spChg chg="mod">
          <ac:chgData name="神谷 聖二" userId="517b2053-71b1-4492-bbd9-c8e4b39141e4" providerId="ADAL" clId="{AAB0666E-E105-4B86-BD4F-FDD5F3321F12}" dt="2024-07-12T07:36:14.872" v="743" actId="20577"/>
          <ac:spMkLst>
            <pc:docMk/>
            <pc:sldMk cId="2807815468" sldId="2147378693"/>
            <ac:spMk id="14" creationId="{5BC8482B-CF2B-219A-8F08-419E3A5FC47F}"/>
          </ac:spMkLst>
        </pc:spChg>
        <pc:spChg chg="mod">
          <ac:chgData name="神谷 聖二" userId="517b2053-71b1-4492-bbd9-c8e4b39141e4" providerId="ADAL" clId="{AAB0666E-E105-4B86-BD4F-FDD5F3321F12}" dt="2024-07-12T07:36:04.082" v="727" actId="20577"/>
          <ac:spMkLst>
            <pc:docMk/>
            <pc:sldMk cId="2807815468" sldId="2147378693"/>
            <ac:spMk id="17" creationId="{C9C43BC8-810D-E426-4335-300BCA945BC0}"/>
          </ac:spMkLst>
        </pc:spChg>
        <pc:spChg chg="mod">
          <ac:chgData name="神谷 聖二" userId="517b2053-71b1-4492-bbd9-c8e4b39141e4" providerId="ADAL" clId="{AAB0666E-E105-4B86-BD4F-FDD5F3321F12}" dt="2024-07-12T07:35:59.743" v="720" actId="20577"/>
          <ac:spMkLst>
            <pc:docMk/>
            <pc:sldMk cId="2807815468" sldId="2147378693"/>
            <ac:spMk id="20" creationId="{B5AB1C34-EB45-F138-564F-B61D792CEA4E}"/>
          </ac:spMkLst>
        </pc:spChg>
      </pc:sldChg>
      <pc:sldChg chg="modSp mod">
        <pc:chgData name="神谷 聖二" userId="517b2053-71b1-4492-bbd9-c8e4b39141e4" providerId="ADAL" clId="{AAB0666E-E105-4B86-BD4F-FDD5F3321F12}" dt="2024-07-12T07:28:56.557" v="698" actId="14734"/>
        <pc:sldMkLst>
          <pc:docMk/>
          <pc:sldMk cId="190838501" sldId="2147378699"/>
        </pc:sldMkLst>
        <pc:spChg chg="mod">
          <ac:chgData name="神谷 聖二" userId="517b2053-71b1-4492-bbd9-c8e4b39141e4" providerId="ADAL" clId="{AAB0666E-E105-4B86-BD4F-FDD5F3321F12}" dt="2024-07-12T07:20:59.342" v="187" actId="20577"/>
          <ac:spMkLst>
            <pc:docMk/>
            <pc:sldMk cId="190838501" sldId="2147378699"/>
            <ac:spMk id="13" creationId="{820553A6-BC6E-8438-3B81-A49B23C28ABF}"/>
          </ac:spMkLst>
        </pc:spChg>
        <pc:graphicFrameChg chg="mod modGraphic">
          <ac:chgData name="神谷 聖二" userId="517b2053-71b1-4492-bbd9-c8e4b39141e4" providerId="ADAL" clId="{AAB0666E-E105-4B86-BD4F-FDD5F3321F12}" dt="2024-07-12T07:28:56.557" v="698" actId="14734"/>
          <ac:graphicFrameMkLst>
            <pc:docMk/>
            <pc:sldMk cId="190838501" sldId="2147378699"/>
            <ac:graphicFrameMk id="2" creationId="{5E62C5DD-8E38-39C6-A171-A79017DD18C4}"/>
          </ac:graphicFrameMkLst>
        </pc:graphicFrameChg>
      </pc:sldChg>
      <pc:sldChg chg="modSp mod">
        <pc:chgData name="神谷 聖二" userId="517b2053-71b1-4492-bbd9-c8e4b39141e4" providerId="ADAL" clId="{AAB0666E-E105-4B86-BD4F-FDD5F3321F12}" dt="2024-07-12T07:30:54.997" v="711" actId="2711"/>
        <pc:sldMkLst>
          <pc:docMk/>
          <pc:sldMk cId="959679513" sldId="2147378701"/>
        </pc:sldMkLst>
        <pc:spChg chg="mod">
          <ac:chgData name="神谷 聖二" userId="517b2053-71b1-4492-bbd9-c8e4b39141e4" providerId="ADAL" clId="{AAB0666E-E105-4B86-BD4F-FDD5F3321F12}" dt="2024-07-12T07:24:04.476" v="308" actId="20577"/>
          <ac:spMkLst>
            <pc:docMk/>
            <pc:sldMk cId="959679513" sldId="2147378701"/>
            <ac:spMk id="8" creationId="{71D39E2A-2214-4448-8774-2A3AB120A9B7}"/>
          </ac:spMkLst>
        </pc:spChg>
        <pc:graphicFrameChg chg="mod modGraphic">
          <ac:chgData name="神谷 聖二" userId="517b2053-71b1-4492-bbd9-c8e4b39141e4" providerId="ADAL" clId="{AAB0666E-E105-4B86-BD4F-FDD5F3321F12}" dt="2024-07-12T07:30:54.997" v="711" actId="2711"/>
          <ac:graphicFrameMkLst>
            <pc:docMk/>
            <pc:sldMk cId="959679513" sldId="2147378701"/>
            <ac:graphicFrameMk id="3" creationId="{1E352AD7-4D05-33EE-61E0-3F07FA0F915F}"/>
          </ac:graphicFrameMkLst>
        </pc:graphicFrameChg>
      </pc:sldChg>
      <pc:sldChg chg="modSp mod">
        <pc:chgData name="神谷 聖二" userId="517b2053-71b1-4492-bbd9-c8e4b39141e4" providerId="ADAL" clId="{AAB0666E-E105-4B86-BD4F-FDD5F3321F12}" dt="2024-07-12T07:30:38.095" v="709" actId="2711"/>
        <pc:sldMkLst>
          <pc:docMk/>
          <pc:sldMk cId="444370572" sldId="2147378702"/>
        </pc:sldMkLst>
        <pc:spChg chg="mod">
          <ac:chgData name="神谷 聖二" userId="517b2053-71b1-4492-bbd9-c8e4b39141e4" providerId="ADAL" clId="{AAB0666E-E105-4B86-BD4F-FDD5F3321F12}" dt="2024-07-12T07:27:48.444" v="667" actId="20577"/>
          <ac:spMkLst>
            <pc:docMk/>
            <pc:sldMk cId="444370572" sldId="2147378702"/>
            <ac:spMk id="8" creationId="{D1777F5A-ADD4-8079-B2FB-C275A4CB4350}"/>
          </ac:spMkLst>
        </pc:spChg>
        <pc:graphicFrameChg chg="mod modGraphic">
          <ac:chgData name="神谷 聖二" userId="517b2053-71b1-4492-bbd9-c8e4b39141e4" providerId="ADAL" clId="{AAB0666E-E105-4B86-BD4F-FDD5F3321F12}" dt="2024-07-12T07:30:38.095" v="709" actId="2711"/>
          <ac:graphicFrameMkLst>
            <pc:docMk/>
            <pc:sldMk cId="444370572" sldId="2147378702"/>
            <ac:graphicFrameMk id="4" creationId="{07092873-AD2F-3B69-2A42-020154D983DE}"/>
          </ac:graphicFrameMkLst>
        </pc:graphicFrameChg>
      </pc:sldChg>
      <pc:sldChg chg="modSp mod">
        <pc:chgData name="神谷 聖二" userId="517b2053-71b1-4492-bbd9-c8e4b39141e4" providerId="ADAL" clId="{AAB0666E-E105-4B86-BD4F-FDD5F3321F12}" dt="2024-07-12T07:31:16.267" v="712" actId="255"/>
        <pc:sldMkLst>
          <pc:docMk/>
          <pc:sldMk cId="936371591" sldId="2147378704"/>
        </pc:sldMkLst>
        <pc:graphicFrameChg chg="modGraphic">
          <ac:chgData name="神谷 聖二" userId="517b2053-71b1-4492-bbd9-c8e4b39141e4" providerId="ADAL" clId="{AAB0666E-E105-4B86-BD4F-FDD5F3321F12}" dt="2024-07-12T07:31:16.267" v="712" actId="255"/>
          <ac:graphicFrameMkLst>
            <pc:docMk/>
            <pc:sldMk cId="936371591" sldId="2147378704"/>
            <ac:graphicFrameMk id="2" creationId="{160D2BC7-24B6-9403-A602-4F7ED4041F1F}"/>
          </ac:graphicFrameMkLst>
        </pc:graphicFrameChg>
      </pc:sldChg>
      <pc:sldChg chg="addSp delSp modSp mod">
        <pc:chgData name="神谷 聖二" userId="517b2053-71b1-4492-bbd9-c8e4b39141e4" providerId="ADAL" clId="{AAB0666E-E105-4B86-BD4F-FDD5F3321F12}" dt="2024-07-12T07:42:12.115" v="802" actId="20577"/>
        <pc:sldMkLst>
          <pc:docMk/>
          <pc:sldMk cId="3497080636" sldId="2147378710"/>
        </pc:sldMkLst>
        <pc:spChg chg="add del">
          <ac:chgData name="神谷 聖二" userId="517b2053-71b1-4492-bbd9-c8e4b39141e4" providerId="ADAL" clId="{AAB0666E-E105-4B86-BD4F-FDD5F3321F12}" dt="2024-07-12T07:41:28.771" v="756" actId="22"/>
          <ac:spMkLst>
            <pc:docMk/>
            <pc:sldMk cId="3497080636" sldId="2147378710"/>
            <ac:spMk id="3" creationId="{7DBF9C84-C34D-5A31-B576-5EFF54AED7D1}"/>
          </ac:spMkLst>
        </pc:spChg>
        <pc:spChg chg="add mod">
          <ac:chgData name="神谷 聖二" userId="517b2053-71b1-4492-bbd9-c8e4b39141e4" providerId="ADAL" clId="{AAB0666E-E105-4B86-BD4F-FDD5F3321F12}" dt="2024-07-12T07:42:12.115" v="802" actId="20577"/>
          <ac:spMkLst>
            <pc:docMk/>
            <pc:sldMk cId="3497080636" sldId="2147378710"/>
            <ac:spMk id="4" creationId="{80B6D8FA-FA52-A865-4CFC-504B74113B8E}"/>
          </ac:spMkLst>
        </pc:spChg>
        <pc:picChg chg="mod">
          <ac:chgData name="神谷 聖二" userId="517b2053-71b1-4492-bbd9-c8e4b39141e4" providerId="ADAL" clId="{AAB0666E-E105-4B86-BD4F-FDD5F3321F12}" dt="2024-07-12T07:41:49.169" v="776" actId="1037"/>
          <ac:picMkLst>
            <pc:docMk/>
            <pc:sldMk cId="3497080636" sldId="2147378710"/>
            <ac:picMk id="9" creationId="{E49B5309-848C-8288-7894-63BF86CA0951}"/>
          </ac:picMkLst>
        </pc:picChg>
      </pc:sldChg>
    </pc:docChg>
  </pc:docChgLst>
  <pc:docChgLst>
    <pc:chgData name="神谷 聖二" userId="S::seiji.kamiya@tk.pacific.co.jp::517b2053-71b1-4492-bbd9-c8e4b39141e4" providerId="AD" clId="Web-{10E9C132-6434-60A9-D26D-5164A43979F1}"/>
    <pc:docChg chg="modSld">
      <pc:chgData name="神谷 聖二" userId="S::seiji.kamiya@tk.pacific.co.jp::517b2053-71b1-4492-bbd9-c8e4b39141e4" providerId="AD" clId="Web-{10E9C132-6434-60A9-D26D-5164A43979F1}" dt="2024-07-12T07:18:07.857" v="0" actId="14100"/>
      <pc:docMkLst>
        <pc:docMk/>
      </pc:docMkLst>
      <pc:sldChg chg="modSp">
        <pc:chgData name="神谷 聖二" userId="S::seiji.kamiya@tk.pacific.co.jp::517b2053-71b1-4492-bbd9-c8e4b39141e4" providerId="AD" clId="Web-{10E9C132-6434-60A9-D26D-5164A43979F1}" dt="2024-07-12T07:18:07.857" v="0" actId="14100"/>
        <pc:sldMkLst>
          <pc:docMk/>
          <pc:sldMk cId="1245055399" sldId="2147378653"/>
        </pc:sldMkLst>
        <pc:spChg chg="mod">
          <ac:chgData name="神谷 聖二" userId="S::seiji.kamiya@tk.pacific.co.jp::517b2053-71b1-4492-bbd9-c8e4b39141e4" providerId="AD" clId="Web-{10E9C132-6434-60A9-D26D-5164A43979F1}" dt="2024-07-12T07:18:07.857" v="0" actId="14100"/>
          <ac:spMkLst>
            <pc:docMk/>
            <pc:sldMk cId="1245055399" sldId="2147378653"/>
            <ac:spMk id="9" creationId="{B79A90FB-8F87-BD8C-CDDB-781282C516A5}"/>
          </ac:spMkLst>
        </pc:spChg>
      </pc:sldChg>
    </pc:docChg>
  </pc:docChgLst>
  <pc:docChgLst>
    <pc:chgData name="内山 裕弥" userId="8d34b9d0-ec49-418d-b1de-019cf6b56da5" providerId="ADAL" clId="{EE417D81-9D62-44B5-9A36-43CC1B66E142}"/>
    <pc:docChg chg="undo custSel addSld modSld delMainMaster modMainMaster addSection modSection">
      <pc:chgData name="内山 裕弥" userId="8d34b9d0-ec49-418d-b1de-019cf6b56da5" providerId="ADAL" clId="{EE417D81-9D62-44B5-9A36-43CC1B66E142}" dt="2024-07-19T11:18:22.167" v="10519" actId="14100"/>
      <pc:docMkLst>
        <pc:docMk/>
      </pc:docMkLst>
      <pc:sldChg chg="addSp delSp modSp mod chgLayout">
        <pc:chgData name="内山 裕弥" userId="8d34b9d0-ec49-418d-b1de-019cf6b56da5" providerId="ADAL" clId="{EE417D81-9D62-44B5-9A36-43CC1B66E142}" dt="2024-07-19T11:18:22.167" v="10519" actId="14100"/>
        <pc:sldMkLst>
          <pc:docMk/>
          <pc:sldMk cId="2355786622" sldId="2146847413"/>
        </pc:sldMkLst>
        <pc:spChg chg="mod ord">
          <ac:chgData name="内山 裕弥" userId="8d34b9d0-ec49-418d-b1de-019cf6b56da5" providerId="ADAL" clId="{EE417D81-9D62-44B5-9A36-43CC1B66E142}" dt="2024-07-19T11:15:31.518" v="10006" actId="207"/>
          <ac:spMkLst>
            <pc:docMk/>
            <pc:sldMk cId="2355786622" sldId="2146847413"/>
            <ac:spMk id="2" creationId="{1F2F2840-6B61-4DF2-B42A-EAA99F678FEE}"/>
          </ac:spMkLst>
        </pc:spChg>
        <pc:spChg chg="mod ord">
          <ac:chgData name="内山 裕弥" userId="8d34b9d0-ec49-418d-b1de-019cf6b56da5" providerId="ADAL" clId="{EE417D81-9D62-44B5-9A36-43CC1B66E142}" dt="2024-07-19T11:15:38.629" v="10007" actId="207"/>
          <ac:spMkLst>
            <pc:docMk/>
            <pc:sldMk cId="2355786622" sldId="2146847413"/>
            <ac:spMk id="3" creationId="{C57F1E1F-3521-45C1-9CD2-360C7A8ED649}"/>
          </ac:spMkLst>
        </pc:spChg>
        <pc:spChg chg="add del mod">
          <ac:chgData name="内山 裕弥" userId="8d34b9d0-ec49-418d-b1de-019cf6b56da5" providerId="ADAL" clId="{EE417D81-9D62-44B5-9A36-43CC1B66E142}" dt="2024-07-19T04:04:46.242" v="141" actId="21"/>
          <ac:spMkLst>
            <pc:docMk/>
            <pc:sldMk cId="2355786622" sldId="2146847413"/>
            <ac:spMk id="4" creationId="{DED48003-3CB7-EDBE-9AC0-7914BBD5B5A2}"/>
          </ac:spMkLst>
        </pc:spChg>
        <pc:spChg chg="mod ord">
          <ac:chgData name="内山 裕弥" userId="8d34b9d0-ec49-418d-b1de-019cf6b56da5" providerId="ADAL" clId="{EE417D81-9D62-44B5-9A36-43CC1B66E142}" dt="2024-07-19T11:15:28.803" v="10005" actId="207"/>
          <ac:spMkLst>
            <pc:docMk/>
            <pc:sldMk cId="2355786622" sldId="2146847413"/>
            <ac:spMk id="5" creationId="{9481A0E3-366D-4687-A4B2-6C58A1A7C6CC}"/>
          </ac:spMkLst>
        </pc:spChg>
        <pc:spChg chg="add mod">
          <ac:chgData name="内山 裕弥" userId="8d34b9d0-ec49-418d-b1de-019cf6b56da5" providerId="ADAL" clId="{EE417D81-9D62-44B5-9A36-43CC1B66E142}" dt="2024-07-19T11:18:22.167" v="10519" actId="14100"/>
          <ac:spMkLst>
            <pc:docMk/>
            <pc:sldMk cId="2355786622" sldId="2146847413"/>
            <ac:spMk id="8" creationId="{62B98AA6-9065-164D-2986-27FFD7882C1B}"/>
          </ac:spMkLst>
        </pc:spChg>
        <pc:picChg chg="add del mod">
          <ac:chgData name="内山 裕弥" userId="8d34b9d0-ec49-418d-b1de-019cf6b56da5" providerId="ADAL" clId="{EE417D81-9D62-44B5-9A36-43CC1B66E142}" dt="2024-07-19T04:04:46.242" v="141" actId="21"/>
          <ac:picMkLst>
            <pc:docMk/>
            <pc:sldMk cId="2355786622" sldId="2146847413"/>
            <ac:picMk id="7" creationId="{7B47AA47-9735-D8CB-A9C8-454567CF27D0}"/>
          </ac:picMkLst>
        </pc:picChg>
      </pc:sldChg>
      <pc:sldChg chg="addSp delSp modSp mod">
        <pc:chgData name="内山 裕弥" userId="8d34b9d0-ec49-418d-b1de-019cf6b56da5" providerId="ADAL" clId="{EE417D81-9D62-44B5-9A36-43CC1B66E142}" dt="2024-07-19T04:51:37.990" v="4768" actId="1076"/>
        <pc:sldMkLst>
          <pc:docMk/>
          <pc:sldMk cId="2852443830" sldId="2147378632"/>
        </pc:sldMkLst>
        <pc:spChg chg="add mod">
          <ac:chgData name="内山 裕弥" userId="8d34b9d0-ec49-418d-b1de-019cf6b56da5" providerId="ADAL" clId="{EE417D81-9D62-44B5-9A36-43CC1B66E142}" dt="2024-07-19T04:51:37.990" v="4768" actId="1076"/>
          <ac:spMkLst>
            <pc:docMk/>
            <pc:sldMk cId="2852443830" sldId="2147378632"/>
            <ac:spMk id="3" creationId="{17F7BD63-A43F-D667-8278-6E77C003EFBB}"/>
          </ac:spMkLst>
        </pc:spChg>
        <pc:spChg chg="del mod">
          <ac:chgData name="内山 裕弥" userId="8d34b9d0-ec49-418d-b1de-019cf6b56da5" providerId="ADAL" clId="{EE417D81-9D62-44B5-9A36-43CC1B66E142}" dt="2024-07-19T04:51:34.780" v="4767" actId="21"/>
          <ac:spMkLst>
            <pc:docMk/>
            <pc:sldMk cId="2852443830" sldId="2147378632"/>
            <ac:spMk id="4" creationId="{54D1E966-F06A-4384-EB57-E91592F612E9}"/>
          </ac:spMkLst>
        </pc:spChg>
        <pc:spChg chg="mod">
          <ac:chgData name="内山 裕弥" userId="8d34b9d0-ec49-418d-b1de-019cf6b56da5" providerId="ADAL" clId="{EE417D81-9D62-44B5-9A36-43CC1B66E142}" dt="2024-07-19T04:51:13.145" v="4745"/>
          <ac:spMkLst>
            <pc:docMk/>
            <pc:sldMk cId="2852443830" sldId="2147378632"/>
            <ac:spMk id="7" creationId="{7F81DA45-2EDB-3376-10B4-C61FAB506B4F}"/>
          </ac:spMkLst>
        </pc:spChg>
      </pc:sldChg>
      <pc:sldChg chg="modSp mod">
        <pc:chgData name="内山 裕弥" userId="8d34b9d0-ec49-418d-b1de-019cf6b56da5" providerId="ADAL" clId="{EE417D81-9D62-44B5-9A36-43CC1B66E142}" dt="2024-07-19T11:16:57.311" v="10084" actId="20577"/>
        <pc:sldMkLst>
          <pc:docMk/>
          <pc:sldMk cId="1869527861" sldId="2147378640"/>
        </pc:sldMkLst>
        <pc:spChg chg="mod">
          <ac:chgData name="内山 裕弥" userId="8d34b9d0-ec49-418d-b1de-019cf6b56da5" providerId="ADAL" clId="{EE417D81-9D62-44B5-9A36-43CC1B66E142}" dt="2024-07-19T04:40:15.538" v="3988" actId="14100"/>
          <ac:spMkLst>
            <pc:docMk/>
            <pc:sldMk cId="1869527861" sldId="2147378640"/>
            <ac:spMk id="9" creationId="{67FD600D-F712-D335-9DCD-5DDA57077E60}"/>
          </ac:spMkLst>
        </pc:spChg>
        <pc:spChg chg="mod">
          <ac:chgData name="内山 裕弥" userId="8d34b9d0-ec49-418d-b1de-019cf6b56da5" providerId="ADAL" clId="{EE417D81-9D62-44B5-9A36-43CC1B66E142}" dt="2024-07-19T11:16:57.311" v="10084" actId="20577"/>
          <ac:spMkLst>
            <pc:docMk/>
            <pc:sldMk cId="1869527861" sldId="2147378640"/>
            <ac:spMk id="10" creationId="{80E6EF29-A9F8-46B2-8DDE-5092A65E485F}"/>
          </ac:spMkLst>
        </pc:spChg>
      </pc:sldChg>
      <pc:sldChg chg="modSp mod">
        <pc:chgData name="内山 裕弥" userId="8d34b9d0-ec49-418d-b1de-019cf6b56da5" providerId="ADAL" clId="{EE417D81-9D62-44B5-9A36-43CC1B66E142}" dt="2024-07-19T11:16:26.199" v="10062" actId="20577"/>
        <pc:sldMkLst>
          <pc:docMk/>
          <pc:sldMk cId="2854292604" sldId="2147378652"/>
        </pc:sldMkLst>
        <pc:spChg chg="mod">
          <ac:chgData name="内山 裕弥" userId="8d34b9d0-ec49-418d-b1de-019cf6b56da5" providerId="ADAL" clId="{EE417D81-9D62-44B5-9A36-43CC1B66E142}" dt="2024-07-19T04:40:25.916" v="3993" actId="1076"/>
          <ac:spMkLst>
            <pc:docMk/>
            <pc:sldMk cId="2854292604" sldId="2147378652"/>
            <ac:spMk id="9" creationId="{6DCCCEAA-508F-3EF7-C914-6C10291DD5BF}"/>
          </ac:spMkLst>
        </pc:spChg>
        <pc:spChg chg="mod">
          <ac:chgData name="内山 裕弥" userId="8d34b9d0-ec49-418d-b1de-019cf6b56da5" providerId="ADAL" clId="{EE417D81-9D62-44B5-9A36-43CC1B66E142}" dt="2024-07-19T11:16:26.199" v="10062" actId="20577"/>
          <ac:spMkLst>
            <pc:docMk/>
            <pc:sldMk cId="2854292604" sldId="2147378652"/>
            <ac:spMk id="10" creationId="{3FBABAD3-5FB4-0114-9B7B-795B1762F04A}"/>
          </ac:spMkLst>
        </pc:spChg>
      </pc:sldChg>
      <pc:sldChg chg="addSp delSp modSp mod">
        <pc:chgData name="内山 裕弥" userId="8d34b9d0-ec49-418d-b1de-019cf6b56da5" providerId="ADAL" clId="{EE417D81-9D62-44B5-9A36-43CC1B66E142}" dt="2024-07-19T11:16:18.998" v="10048" actId="20577"/>
        <pc:sldMkLst>
          <pc:docMk/>
          <pc:sldMk cId="1245055399" sldId="2147378653"/>
        </pc:sldMkLst>
        <pc:spChg chg="add del">
          <ac:chgData name="内山 裕弥" userId="8d34b9d0-ec49-418d-b1de-019cf6b56da5" providerId="ADAL" clId="{EE417D81-9D62-44B5-9A36-43CC1B66E142}" dt="2024-07-19T11:16:14.681" v="10033" actId="22"/>
          <ac:spMkLst>
            <pc:docMk/>
            <pc:sldMk cId="1245055399" sldId="2147378653"/>
            <ac:spMk id="4" creationId="{738DE78E-E50E-5A87-F1BE-28816A3F14C6}"/>
          </ac:spMkLst>
        </pc:spChg>
        <pc:spChg chg="add del">
          <ac:chgData name="内山 裕弥" userId="8d34b9d0-ec49-418d-b1de-019cf6b56da5" providerId="ADAL" clId="{EE417D81-9D62-44B5-9A36-43CC1B66E142}" dt="2024-07-19T11:16:15.794" v="10035" actId="22"/>
          <ac:spMkLst>
            <pc:docMk/>
            <pc:sldMk cId="1245055399" sldId="2147378653"/>
            <ac:spMk id="6" creationId="{F648AF59-6C65-903E-7F5A-DD12983A2099}"/>
          </ac:spMkLst>
        </pc:spChg>
        <pc:spChg chg="mod">
          <ac:chgData name="内山 裕弥" userId="8d34b9d0-ec49-418d-b1de-019cf6b56da5" providerId="ADAL" clId="{EE417D81-9D62-44B5-9A36-43CC1B66E142}" dt="2024-07-19T04:57:55.065" v="5532" actId="1076"/>
          <ac:spMkLst>
            <pc:docMk/>
            <pc:sldMk cId="1245055399" sldId="2147378653"/>
            <ac:spMk id="9" creationId="{B79A90FB-8F87-BD8C-CDDB-781282C516A5}"/>
          </ac:spMkLst>
        </pc:spChg>
        <pc:spChg chg="mod">
          <ac:chgData name="内山 裕弥" userId="8d34b9d0-ec49-418d-b1de-019cf6b56da5" providerId="ADAL" clId="{EE417D81-9D62-44B5-9A36-43CC1B66E142}" dt="2024-07-19T11:16:18.998" v="10048" actId="20577"/>
          <ac:spMkLst>
            <pc:docMk/>
            <pc:sldMk cId="1245055399" sldId="2147378653"/>
            <ac:spMk id="10" creationId="{F4A72386-C363-032B-B0E0-9FB1031C9979}"/>
          </ac:spMkLst>
        </pc:spChg>
      </pc:sldChg>
      <pc:sldChg chg="modSp mod">
        <pc:chgData name="内山 裕弥" userId="8d34b9d0-ec49-418d-b1de-019cf6b56da5" providerId="ADAL" clId="{EE417D81-9D62-44B5-9A36-43CC1B66E142}" dt="2024-07-19T11:16:47.229" v="10070" actId="1076"/>
        <pc:sldMkLst>
          <pc:docMk/>
          <pc:sldMk cId="1786860980" sldId="2147378654"/>
        </pc:sldMkLst>
        <pc:spChg chg="mod">
          <ac:chgData name="内山 裕弥" userId="8d34b9d0-ec49-418d-b1de-019cf6b56da5" providerId="ADAL" clId="{EE417D81-9D62-44B5-9A36-43CC1B66E142}" dt="2024-07-19T11:16:47.229" v="10070" actId="1076"/>
          <ac:spMkLst>
            <pc:docMk/>
            <pc:sldMk cId="1786860980" sldId="2147378654"/>
            <ac:spMk id="9" creationId="{78D88DDB-A6F4-93E9-67F8-646493CF2FF7}"/>
          </ac:spMkLst>
        </pc:spChg>
        <pc:spChg chg="mod">
          <ac:chgData name="内山 裕弥" userId="8d34b9d0-ec49-418d-b1de-019cf6b56da5" providerId="ADAL" clId="{EE417D81-9D62-44B5-9A36-43CC1B66E142}" dt="2024-07-19T11:16:43.320" v="10069" actId="20577"/>
          <ac:spMkLst>
            <pc:docMk/>
            <pc:sldMk cId="1786860980" sldId="2147378654"/>
            <ac:spMk id="10" creationId="{C1084721-7EDF-0DAE-BBA0-0ED1A14E3AE7}"/>
          </ac:spMkLst>
        </pc:spChg>
      </pc:sldChg>
      <pc:sldChg chg="modSp mod">
        <pc:chgData name="内山 裕弥" userId="8d34b9d0-ec49-418d-b1de-019cf6b56da5" providerId="ADAL" clId="{EE417D81-9D62-44B5-9A36-43CC1B66E142}" dt="2024-07-19T04:10:18.205" v="258" actId="14734"/>
        <pc:sldMkLst>
          <pc:docMk/>
          <pc:sldMk cId="1132711422" sldId="2147378657"/>
        </pc:sldMkLst>
        <pc:graphicFrameChg chg="modGraphic">
          <ac:chgData name="内山 裕弥" userId="8d34b9d0-ec49-418d-b1de-019cf6b56da5" providerId="ADAL" clId="{EE417D81-9D62-44B5-9A36-43CC1B66E142}" dt="2024-07-19T04:10:18.205" v="258" actId="14734"/>
          <ac:graphicFrameMkLst>
            <pc:docMk/>
            <pc:sldMk cId="1132711422" sldId="2147378657"/>
            <ac:graphicFrameMk id="13" creationId="{6B84DF48-8B2E-7483-E19E-A4C36C91AA03}"/>
          </ac:graphicFrameMkLst>
        </pc:graphicFrameChg>
      </pc:sldChg>
      <pc:sldChg chg="addSp modSp mod">
        <pc:chgData name="内山 裕弥" userId="8d34b9d0-ec49-418d-b1de-019cf6b56da5" providerId="ADAL" clId="{EE417D81-9D62-44B5-9A36-43CC1B66E142}" dt="2024-07-19T04:19:42.051" v="922" actId="20577"/>
        <pc:sldMkLst>
          <pc:docMk/>
          <pc:sldMk cId="2948473411" sldId="2147378680"/>
        </pc:sldMkLst>
        <pc:spChg chg="mod">
          <ac:chgData name="内山 裕弥" userId="8d34b9d0-ec49-418d-b1de-019cf6b56da5" providerId="ADAL" clId="{EE417D81-9D62-44B5-9A36-43CC1B66E142}" dt="2024-07-19T04:18:43.349" v="746" actId="1076"/>
          <ac:spMkLst>
            <pc:docMk/>
            <pc:sldMk cId="2948473411" sldId="2147378680"/>
            <ac:spMk id="7" creationId="{BC211F3A-D242-7373-8291-F217BC706F6C}"/>
          </ac:spMkLst>
        </pc:spChg>
        <pc:spChg chg="mod">
          <ac:chgData name="内山 裕弥" userId="8d34b9d0-ec49-418d-b1de-019cf6b56da5" providerId="ADAL" clId="{EE417D81-9D62-44B5-9A36-43CC1B66E142}" dt="2024-07-19T04:15:00.878" v="351" actId="1076"/>
          <ac:spMkLst>
            <pc:docMk/>
            <pc:sldMk cId="2948473411" sldId="2147378680"/>
            <ac:spMk id="8" creationId="{57C4ADC8-1E9A-3990-E8C9-6E4184E05599}"/>
          </ac:spMkLst>
        </pc:spChg>
        <pc:spChg chg="mod">
          <ac:chgData name="内山 裕弥" userId="8d34b9d0-ec49-418d-b1de-019cf6b56da5" providerId="ADAL" clId="{EE417D81-9D62-44B5-9A36-43CC1B66E142}" dt="2024-07-19T04:14:46.465" v="349" actId="404"/>
          <ac:spMkLst>
            <pc:docMk/>
            <pc:sldMk cId="2948473411" sldId="2147378680"/>
            <ac:spMk id="10" creationId="{28CF45C0-4247-EF18-C203-ADFA691CEF61}"/>
          </ac:spMkLst>
        </pc:spChg>
        <pc:spChg chg="mod">
          <ac:chgData name="内山 裕弥" userId="8d34b9d0-ec49-418d-b1de-019cf6b56da5" providerId="ADAL" clId="{EE417D81-9D62-44B5-9A36-43CC1B66E142}" dt="2024-07-19T04:15:17.427" v="355" actId="21"/>
          <ac:spMkLst>
            <pc:docMk/>
            <pc:sldMk cId="2948473411" sldId="2147378680"/>
            <ac:spMk id="12" creationId="{ED568297-6BE7-885A-589B-885678064B91}"/>
          </ac:spMkLst>
        </pc:spChg>
        <pc:spChg chg="add mod">
          <ac:chgData name="内山 裕弥" userId="8d34b9d0-ec49-418d-b1de-019cf6b56da5" providerId="ADAL" clId="{EE417D81-9D62-44B5-9A36-43CC1B66E142}" dt="2024-07-19T04:18:47.576" v="747"/>
          <ac:spMkLst>
            <pc:docMk/>
            <pc:sldMk cId="2948473411" sldId="2147378680"/>
            <ac:spMk id="14" creationId="{C5AE03D3-7F7A-F51B-E6D0-B212D7BC9438}"/>
          </ac:spMkLst>
        </pc:spChg>
        <pc:spChg chg="add mod">
          <ac:chgData name="内山 裕弥" userId="8d34b9d0-ec49-418d-b1de-019cf6b56da5" providerId="ADAL" clId="{EE417D81-9D62-44B5-9A36-43CC1B66E142}" dt="2024-07-19T04:19:23.248" v="832" actId="20577"/>
          <ac:spMkLst>
            <pc:docMk/>
            <pc:sldMk cId="2948473411" sldId="2147378680"/>
            <ac:spMk id="15" creationId="{66FA0C50-D6E3-F885-BF2A-13158B2BEF9D}"/>
          </ac:spMkLst>
        </pc:spChg>
        <pc:spChg chg="add mod">
          <ac:chgData name="内山 裕弥" userId="8d34b9d0-ec49-418d-b1de-019cf6b56da5" providerId="ADAL" clId="{EE417D81-9D62-44B5-9A36-43CC1B66E142}" dt="2024-07-19T04:19:42.051" v="922" actId="20577"/>
          <ac:spMkLst>
            <pc:docMk/>
            <pc:sldMk cId="2948473411" sldId="2147378680"/>
            <ac:spMk id="16" creationId="{54E39AEB-AFC8-8038-0F64-A8ED1F9F246A}"/>
          </ac:spMkLst>
        </pc:spChg>
        <pc:grpChg chg="add mod">
          <ac:chgData name="内山 裕弥" userId="8d34b9d0-ec49-418d-b1de-019cf6b56da5" providerId="ADAL" clId="{EE417D81-9D62-44B5-9A36-43CC1B66E142}" dt="2024-07-19T04:15:00.878" v="351" actId="1076"/>
          <ac:grpSpMkLst>
            <pc:docMk/>
            <pc:sldMk cId="2948473411" sldId="2147378680"/>
            <ac:grpSpMk id="3" creationId="{E30EFB46-2249-4389-3DF3-FEAEF8770046}"/>
          </ac:grpSpMkLst>
        </pc:grpChg>
        <pc:grpChg chg="mod">
          <ac:chgData name="内山 裕弥" userId="8d34b9d0-ec49-418d-b1de-019cf6b56da5" providerId="ADAL" clId="{EE417D81-9D62-44B5-9A36-43CC1B66E142}" dt="2024-07-19T04:15:00.878" v="351" actId="1076"/>
          <ac:grpSpMkLst>
            <pc:docMk/>
            <pc:sldMk cId="2948473411" sldId="2147378680"/>
            <ac:grpSpMk id="4" creationId="{B6388F1D-16DF-539B-B4B9-E9558C59B409}"/>
          </ac:grpSpMkLst>
        </pc:grpChg>
        <pc:grpChg chg="mod">
          <ac:chgData name="内山 裕弥" userId="8d34b9d0-ec49-418d-b1de-019cf6b56da5" providerId="ADAL" clId="{EE417D81-9D62-44B5-9A36-43CC1B66E142}" dt="2024-07-19T04:15:00.878" v="351" actId="1076"/>
          <ac:grpSpMkLst>
            <pc:docMk/>
            <pc:sldMk cId="2948473411" sldId="2147378680"/>
            <ac:grpSpMk id="6" creationId="{80216175-DE75-DF2F-D622-563F97C284CD}"/>
          </ac:grpSpMkLst>
        </pc:grpChg>
        <pc:cxnChg chg="mod">
          <ac:chgData name="内山 裕弥" userId="8d34b9d0-ec49-418d-b1de-019cf6b56da5" providerId="ADAL" clId="{EE417D81-9D62-44B5-9A36-43CC1B66E142}" dt="2024-07-19T04:15:00.878" v="351" actId="1076"/>
          <ac:cxnSpMkLst>
            <pc:docMk/>
            <pc:sldMk cId="2948473411" sldId="2147378680"/>
            <ac:cxnSpMk id="11" creationId="{2F583047-B675-76FE-6BB4-1B0EE0DEA009}"/>
          </ac:cxnSpMkLst>
        </pc:cxnChg>
        <pc:cxnChg chg="mod">
          <ac:chgData name="内山 裕弥" userId="8d34b9d0-ec49-418d-b1de-019cf6b56da5" providerId="ADAL" clId="{EE417D81-9D62-44B5-9A36-43CC1B66E142}" dt="2024-07-19T04:15:00.878" v="351" actId="1076"/>
          <ac:cxnSpMkLst>
            <pc:docMk/>
            <pc:sldMk cId="2948473411" sldId="2147378680"/>
            <ac:cxnSpMk id="13" creationId="{7730E106-5A99-0E88-94C7-CE870A82BC70}"/>
          </ac:cxnSpMkLst>
        </pc:cxnChg>
      </pc:sldChg>
      <pc:sldChg chg="addSp modSp mod">
        <pc:chgData name="内山 裕弥" userId="8d34b9d0-ec49-418d-b1de-019cf6b56da5" providerId="ADAL" clId="{EE417D81-9D62-44B5-9A36-43CC1B66E142}" dt="2024-07-19T04:18:37.528" v="745" actId="20577"/>
        <pc:sldMkLst>
          <pc:docMk/>
          <pc:sldMk cId="2708077593" sldId="2147378681"/>
        </pc:sldMkLst>
        <pc:spChg chg="mod">
          <ac:chgData name="内山 裕弥" userId="8d34b9d0-ec49-418d-b1de-019cf6b56da5" providerId="ADAL" clId="{EE417D81-9D62-44B5-9A36-43CC1B66E142}" dt="2024-07-19T04:18:20.430" v="689" actId="1076"/>
          <ac:spMkLst>
            <pc:docMk/>
            <pc:sldMk cId="2708077593" sldId="2147378681"/>
            <ac:spMk id="6" creationId="{A9577F56-3CCF-E475-2E51-B70DEBE9BC60}"/>
          </ac:spMkLst>
        </pc:spChg>
        <pc:spChg chg="mod">
          <ac:chgData name="内山 裕弥" userId="8d34b9d0-ec49-418d-b1de-019cf6b56da5" providerId="ADAL" clId="{EE417D81-9D62-44B5-9A36-43CC1B66E142}" dt="2024-07-19T04:16:26.352" v="379" actId="21"/>
          <ac:spMkLst>
            <pc:docMk/>
            <pc:sldMk cId="2708077593" sldId="2147378681"/>
            <ac:spMk id="8" creationId="{95ACE118-4131-DE79-F02F-66722864A02D}"/>
          </ac:spMkLst>
        </pc:spChg>
        <pc:spChg chg="mod">
          <ac:chgData name="内山 裕弥" userId="8d34b9d0-ec49-418d-b1de-019cf6b56da5" providerId="ADAL" clId="{EE417D81-9D62-44B5-9A36-43CC1B66E142}" dt="2024-07-19T04:15:37.846" v="359" actId="21"/>
          <ac:spMkLst>
            <pc:docMk/>
            <pc:sldMk cId="2708077593" sldId="2147378681"/>
            <ac:spMk id="9" creationId="{D22A0A06-D5A8-4A1A-B66F-2A8EDBD644F1}"/>
          </ac:spMkLst>
        </pc:spChg>
        <pc:spChg chg="mod">
          <ac:chgData name="内山 裕弥" userId="8d34b9d0-ec49-418d-b1de-019cf6b56da5" providerId="ADAL" clId="{EE417D81-9D62-44B5-9A36-43CC1B66E142}" dt="2024-07-19T04:15:49.859" v="364"/>
          <ac:spMkLst>
            <pc:docMk/>
            <pc:sldMk cId="2708077593" sldId="2147378681"/>
            <ac:spMk id="11" creationId="{5B8ABDA1-3D2A-BE6F-2D47-4B44E4CE9142}"/>
          </ac:spMkLst>
        </pc:spChg>
        <pc:spChg chg="mod">
          <ac:chgData name="内山 裕弥" userId="8d34b9d0-ec49-418d-b1de-019cf6b56da5" providerId="ADAL" clId="{EE417D81-9D62-44B5-9A36-43CC1B66E142}" dt="2024-07-19T04:16:09.935" v="378" actId="20577"/>
          <ac:spMkLst>
            <pc:docMk/>
            <pc:sldMk cId="2708077593" sldId="2147378681"/>
            <ac:spMk id="12" creationId="{0885EF34-1A86-AA39-1A1A-5F99ABF6B7EF}"/>
          </ac:spMkLst>
        </pc:spChg>
        <pc:spChg chg="add mod ord">
          <ac:chgData name="内山 裕弥" userId="8d34b9d0-ec49-418d-b1de-019cf6b56da5" providerId="ADAL" clId="{EE417D81-9D62-44B5-9A36-43CC1B66E142}" dt="2024-07-19T04:18:27.796" v="693" actId="1076"/>
          <ac:spMkLst>
            <pc:docMk/>
            <pc:sldMk cId="2708077593" sldId="2147378681"/>
            <ac:spMk id="14" creationId="{BA7FA382-9723-883E-C088-B51E896148CC}"/>
          </ac:spMkLst>
        </pc:spChg>
        <pc:spChg chg="add mod">
          <ac:chgData name="内山 裕弥" userId="8d34b9d0-ec49-418d-b1de-019cf6b56da5" providerId="ADAL" clId="{EE417D81-9D62-44B5-9A36-43CC1B66E142}" dt="2024-07-19T04:18:16.391" v="687" actId="20577"/>
          <ac:spMkLst>
            <pc:docMk/>
            <pc:sldMk cId="2708077593" sldId="2147378681"/>
            <ac:spMk id="15" creationId="{0C0D5913-6E2D-E5DB-60D1-B3AF669AED14}"/>
          </ac:spMkLst>
        </pc:spChg>
        <pc:spChg chg="add mod">
          <ac:chgData name="内山 裕弥" userId="8d34b9d0-ec49-418d-b1de-019cf6b56da5" providerId="ADAL" clId="{EE417D81-9D62-44B5-9A36-43CC1B66E142}" dt="2024-07-19T04:18:37.528" v="745" actId="20577"/>
          <ac:spMkLst>
            <pc:docMk/>
            <pc:sldMk cId="2708077593" sldId="2147378681"/>
            <ac:spMk id="16" creationId="{E2145D0B-66EB-0BA6-624D-9BC1846E3715}"/>
          </ac:spMkLst>
        </pc:spChg>
        <pc:grpChg chg="add mod">
          <ac:chgData name="内山 裕弥" userId="8d34b9d0-ec49-418d-b1de-019cf6b56da5" providerId="ADAL" clId="{EE417D81-9D62-44B5-9A36-43CC1B66E142}" dt="2024-07-19T04:16:05.602" v="366" actId="1076"/>
          <ac:grpSpMkLst>
            <pc:docMk/>
            <pc:sldMk cId="2708077593" sldId="2147378681"/>
            <ac:grpSpMk id="3" creationId="{EBC23DA4-F36B-555D-CA5C-39F94E08823F}"/>
          </ac:grpSpMkLst>
        </pc:grpChg>
        <pc:grpChg chg="mod">
          <ac:chgData name="内山 裕弥" userId="8d34b9d0-ec49-418d-b1de-019cf6b56da5" providerId="ADAL" clId="{EE417D81-9D62-44B5-9A36-43CC1B66E142}" dt="2024-07-19T04:16:05.602" v="366" actId="1076"/>
          <ac:grpSpMkLst>
            <pc:docMk/>
            <pc:sldMk cId="2708077593" sldId="2147378681"/>
            <ac:grpSpMk id="4" creationId="{182836E8-0A6C-6508-BE54-D9FA5966D104}"/>
          </ac:grpSpMkLst>
        </pc:grpChg>
        <pc:grpChg chg="mod">
          <ac:chgData name="内山 裕弥" userId="8d34b9d0-ec49-418d-b1de-019cf6b56da5" providerId="ADAL" clId="{EE417D81-9D62-44B5-9A36-43CC1B66E142}" dt="2024-07-19T04:16:05.602" v="366" actId="1076"/>
          <ac:grpSpMkLst>
            <pc:docMk/>
            <pc:sldMk cId="2708077593" sldId="2147378681"/>
            <ac:grpSpMk id="7" creationId="{2FB98B28-3911-4D54-DF63-480395E4E9E6}"/>
          </ac:grpSpMkLst>
        </pc:grpChg>
        <pc:cxnChg chg="mod">
          <ac:chgData name="内山 裕弥" userId="8d34b9d0-ec49-418d-b1de-019cf6b56da5" providerId="ADAL" clId="{EE417D81-9D62-44B5-9A36-43CC1B66E142}" dt="2024-07-19T04:16:05.602" v="366" actId="1076"/>
          <ac:cxnSpMkLst>
            <pc:docMk/>
            <pc:sldMk cId="2708077593" sldId="2147378681"/>
            <ac:cxnSpMk id="10" creationId="{EEF86A98-39B5-3E9C-8313-F6410191C7AD}"/>
          </ac:cxnSpMkLst>
        </pc:cxnChg>
        <pc:cxnChg chg="mod">
          <ac:chgData name="内山 裕弥" userId="8d34b9d0-ec49-418d-b1de-019cf6b56da5" providerId="ADAL" clId="{EE417D81-9D62-44B5-9A36-43CC1B66E142}" dt="2024-07-19T04:16:05.602" v="366" actId="1076"/>
          <ac:cxnSpMkLst>
            <pc:docMk/>
            <pc:sldMk cId="2708077593" sldId="2147378681"/>
            <ac:cxnSpMk id="13" creationId="{819B2E49-17B8-3727-8812-69FD5702E69C}"/>
          </ac:cxnSpMkLst>
        </pc:cxnChg>
      </pc:sldChg>
      <pc:sldChg chg="addSp modSp mod">
        <pc:chgData name="内山 裕弥" userId="8d34b9d0-ec49-418d-b1de-019cf6b56da5" providerId="ADAL" clId="{EE417D81-9D62-44B5-9A36-43CC1B66E142}" dt="2024-07-19T04:30:59.359" v="2661" actId="20577"/>
        <pc:sldMkLst>
          <pc:docMk/>
          <pc:sldMk cId="2629355078" sldId="2147378682"/>
        </pc:sldMkLst>
        <pc:spChg chg="mod">
          <ac:chgData name="内山 裕弥" userId="8d34b9d0-ec49-418d-b1de-019cf6b56da5" providerId="ADAL" clId="{EE417D81-9D62-44B5-9A36-43CC1B66E142}" dt="2024-07-19T04:29:27.775" v="2364"/>
          <ac:spMkLst>
            <pc:docMk/>
            <pc:sldMk cId="2629355078" sldId="2147378682"/>
            <ac:spMk id="6" creationId="{B97F009E-BC8C-AB2A-B2E1-25D733E4B178}"/>
          </ac:spMkLst>
        </pc:spChg>
        <pc:spChg chg="mod">
          <ac:chgData name="内山 裕弥" userId="8d34b9d0-ec49-418d-b1de-019cf6b56da5" providerId="ADAL" clId="{EE417D81-9D62-44B5-9A36-43CC1B66E142}" dt="2024-07-19T04:30:51.017" v="2641" actId="21"/>
          <ac:spMkLst>
            <pc:docMk/>
            <pc:sldMk cId="2629355078" sldId="2147378682"/>
            <ac:spMk id="7" creationId="{45EA7D70-5CA6-D453-2EFC-52642E09B3DC}"/>
          </ac:spMkLst>
        </pc:spChg>
        <pc:spChg chg="mod">
          <ac:chgData name="内山 裕弥" userId="8d34b9d0-ec49-418d-b1de-019cf6b56da5" providerId="ADAL" clId="{EE417D81-9D62-44B5-9A36-43CC1B66E142}" dt="2024-07-19T04:29:41.316" v="2366" actId="1076"/>
          <ac:spMkLst>
            <pc:docMk/>
            <pc:sldMk cId="2629355078" sldId="2147378682"/>
            <ac:spMk id="10" creationId="{C62006B4-6E2D-0E4F-98BD-E04EC6E6BBB0}"/>
          </ac:spMkLst>
        </pc:spChg>
        <pc:spChg chg="mod">
          <ac:chgData name="内山 裕弥" userId="8d34b9d0-ec49-418d-b1de-019cf6b56da5" providerId="ADAL" clId="{EE417D81-9D62-44B5-9A36-43CC1B66E142}" dt="2024-07-19T04:29:41.316" v="2366" actId="1076"/>
          <ac:spMkLst>
            <pc:docMk/>
            <pc:sldMk cId="2629355078" sldId="2147378682"/>
            <ac:spMk id="12" creationId="{F11E7E97-245A-D7F7-36C0-68CB910C05C1}"/>
          </ac:spMkLst>
        </pc:spChg>
        <pc:spChg chg="add mod">
          <ac:chgData name="内山 裕弥" userId="8d34b9d0-ec49-418d-b1de-019cf6b56da5" providerId="ADAL" clId="{EE417D81-9D62-44B5-9A36-43CC1B66E142}" dt="2024-07-19T04:29:44.192" v="2367" actId="1076"/>
          <ac:spMkLst>
            <pc:docMk/>
            <pc:sldMk cId="2629355078" sldId="2147378682"/>
            <ac:spMk id="14" creationId="{B9F3B646-3966-B82B-45E7-9F03CD875178}"/>
          </ac:spMkLst>
        </pc:spChg>
        <pc:spChg chg="add mod">
          <ac:chgData name="内山 裕弥" userId="8d34b9d0-ec49-418d-b1de-019cf6b56da5" providerId="ADAL" clId="{EE417D81-9D62-44B5-9A36-43CC1B66E142}" dt="2024-07-19T04:30:49.095" v="2640" actId="20577"/>
          <ac:spMkLst>
            <pc:docMk/>
            <pc:sldMk cId="2629355078" sldId="2147378682"/>
            <ac:spMk id="15" creationId="{FDA5823E-4462-D120-D102-5D7BCDCD50D7}"/>
          </ac:spMkLst>
        </pc:spChg>
        <pc:spChg chg="add mod">
          <ac:chgData name="内山 裕弥" userId="8d34b9d0-ec49-418d-b1de-019cf6b56da5" providerId="ADAL" clId="{EE417D81-9D62-44B5-9A36-43CC1B66E142}" dt="2024-07-19T04:30:59.359" v="2661" actId="20577"/>
          <ac:spMkLst>
            <pc:docMk/>
            <pc:sldMk cId="2629355078" sldId="2147378682"/>
            <ac:spMk id="16" creationId="{8F702987-7030-AB85-CCC8-911F98E01691}"/>
          </ac:spMkLst>
        </pc:spChg>
        <pc:grpChg chg="add mod">
          <ac:chgData name="内山 裕弥" userId="8d34b9d0-ec49-418d-b1de-019cf6b56da5" providerId="ADAL" clId="{EE417D81-9D62-44B5-9A36-43CC1B66E142}" dt="2024-07-19T04:29:41.316" v="2366" actId="1076"/>
          <ac:grpSpMkLst>
            <pc:docMk/>
            <pc:sldMk cId="2629355078" sldId="2147378682"/>
            <ac:grpSpMk id="3" creationId="{1BE8033C-A7B3-5961-A594-9CD86954FA2B}"/>
          </ac:grpSpMkLst>
        </pc:grpChg>
        <pc:grpChg chg="mod">
          <ac:chgData name="内山 裕弥" userId="8d34b9d0-ec49-418d-b1de-019cf6b56da5" providerId="ADAL" clId="{EE417D81-9D62-44B5-9A36-43CC1B66E142}" dt="2024-07-19T04:29:41.316" v="2366" actId="1076"/>
          <ac:grpSpMkLst>
            <pc:docMk/>
            <pc:sldMk cId="2629355078" sldId="2147378682"/>
            <ac:grpSpMk id="4" creationId="{7812F0ED-4843-A988-DB74-685513EF3A17}"/>
          </ac:grpSpMkLst>
        </pc:grpChg>
        <pc:grpChg chg="mod">
          <ac:chgData name="内山 裕弥" userId="8d34b9d0-ec49-418d-b1de-019cf6b56da5" providerId="ADAL" clId="{EE417D81-9D62-44B5-9A36-43CC1B66E142}" dt="2024-07-19T04:29:41.316" v="2366" actId="1076"/>
          <ac:grpSpMkLst>
            <pc:docMk/>
            <pc:sldMk cId="2629355078" sldId="2147378682"/>
            <ac:grpSpMk id="8" creationId="{C9F4060C-6E60-74B0-BA37-DFFB7605BE81}"/>
          </ac:grpSpMkLst>
        </pc:grpChg>
        <pc:cxnChg chg="mod">
          <ac:chgData name="内山 裕弥" userId="8d34b9d0-ec49-418d-b1de-019cf6b56da5" providerId="ADAL" clId="{EE417D81-9D62-44B5-9A36-43CC1B66E142}" dt="2024-07-19T04:29:41.316" v="2366" actId="1076"/>
          <ac:cxnSpMkLst>
            <pc:docMk/>
            <pc:sldMk cId="2629355078" sldId="2147378682"/>
            <ac:cxnSpMk id="11" creationId="{64B5E149-669F-4D0F-12C5-3052CD24513C}"/>
          </ac:cxnSpMkLst>
        </pc:cxnChg>
        <pc:cxnChg chg="mod">
          <ac:chgData name="内山 裕弥" userId="8d34b9d0-ec49-418d-b1de-019cf6b56da5" providerId="ADAL" clId="{EE417D81-9D62-44B5-9A36-43CC1B66E142}" dt="2024-07-19T04:29:41.316" v="2366" actId="1076"/>
          <ac:cxnSpMkLst>
            <pc:docMk/>
            <pc:sldMk cId="2629355078" sldId="2147378682"/>
            <ac:cxnSpMk id="13" creationId="{F9D827AE-7DB6-8B95-3FEA-062DF43E1AE4}"/>
          </ac:cxnSpMkLst>
        </pc:cxnChg>
      </pc:sldChg>
      <pc:sldChg chg="addSp modSp mod">
        <pc:chgData name="内山 裕弥" userId="8d34b9d0-ec49-418d-b1de-019cf6b56da5" providerId="ADAL" clId="{EE417D81-9D62-44B5-9A36-43CC1B66E142}" dt="2024-07-19T04:38:45.073" v="3769" actId="1076"/>
        <pc:sldMkLst>
          <pc:docMk/>
          <pc:sldMk cId="228645798" sldId="2147378683"/>
        </pc:sldMkLst>
        <pc:spChg chg="mod">
          <ac:chgData name="内山 裕弥" userId="8d34b9d0-ec49-418d-b1de-019cf6b56da5" providerId="ADAL" clId="{EE417D81-9D62-44B5-9A36-43CC1B66E142}" dt="2024-07-19T04:32:14.124" v="2663" actId="1076"/>
          <ac:spMkLst>
            <pc:docMk/>
            <pc:sldMk cId="228645798" sldId="2147378683"/>
            <ac:spMk id="6" creationId="{9E4631E7-964D-E009-B2BB-C8E7CB208D67}"/>
          </ac:spMkLst>
        </pc:spChg>
        <pc:spChg chg="add mod">
          <ac:chgData name="内山 裕弥" userId="8d34b9d0-ec49-418d-b1de-019cf6b56da5" providerId="ADAL" clId="{EE417D81-9D62-44B5-9A36-43CC1B66E142}" dt="2024-07-19T04:38:45.073" v="3769" actId="1076"/>
          <ac:spMkLst>
            <pc:docMk/>
            <pc:sldMk cId="228645798" sldId="2147378683"/>
            <ac:spMk id="7" creationId="{44C5D2AE-5A67-8B16-4D64-05BEA1BC14F5}"/>
          </ac:spMkLst>
        </pc:spChg>
        <pc:spChg chg="mod">
          <ac:chgData name="内山 裕弥" userId="8d34b9d0-ec49-418d-b1de-019cf6b56da5" providerId="ADAL" clId="{EE417D81-9D62-44B5-9A36-43CC1B66E142}" dt="2024-07-19T04:32:19.766" v="2666"/>
          <ac:spMkLst>
            <pc:docMk/>
            <pc:sldMk cId="228645798" sldId="2147378683"/>
            <ac:spMk id="8" creationId="{9D610DBF-17F7-608B-8680-1CFA54E54E02}"/>
          </ac:spMkLst>
        </pc:spChg>
        <pc:graphicFrameChg chg="add mod modGraphic">
          <ac:chgData name="内山 裕弥" userId="8d34b9d0-ec49-418d-b1de-019cf6b56da5" providerId="ADAL" clId="{EE417D81-9D62-44B5-9A36-43CC1B66E142}" dt="2024-07-19T04:34:31.234" v="2703" actId="20577"/>
          <ac:graphicFrameMkLst>
            <pc:docMk/>
            <pc:sldMk cId="228645798" sldId="2147378683"/>
            <ac:graphicFrameMk id="2" creationId="{11947C01-3F25-5707-DF65-95146B28736C}"/>
          </ac:graphicFrameMkLst>
        </pc:graphicFrameChg>
      </pc:sldChg>
      <pc:sldChg chg="addSp delSp modSp mod">
        <pc:chgData name="内山 裕弥" userId="8d34b9d0-ec49-418d-b1de-019cf6b56da5" providerId="ADAL" clId="{EE417D81-9D62-44B5-9A36-43CC1B66E142}" dt="2024-07-19T04:52:21.968" v="4789" actId="478"/>
        <pc:sldMkLst>
          <pc:docMk/>
          <pc:sldMk cId="239223960" sldId="2147378686"/>
        </pc:sldMkLst>
        <pc:spChg chg="add mod">
          <ac:chgData name="内山 裕弥" userId="8d34b9d0-ec49-418d-b1de-019cf6b56da5" providerId="ADAL" clId="{EE417D81-9D62-44B5-9A36-43CC1B66E142}" dt="2024-07-19T04:45:16.890" v="4215" actId="20577"/>
          <ac:spMkLst>
            <pc:docMk/>
            <pc:sldMk cId="239223960" sldId="2147378686"/>
            <ac:spMk id="4" creationId="{2D9DF4BF-A6B4-F174-8EB6-98CC10E01A36}"/>
          </ac:spMkLst>
        </pc:spChg>
        <pc:spChg chg="del">
          <ac:chgData name="内山 裕弥" userId="8d34b9d0-ec49-418d-b1de-019cf6b56da5" providerId="ADAL" clId="{EE417D81-9D62-44B5-9A36-43CC1B66E142}" dt="2024-07-19T04:52:21.968" v="4789" actId="478"/>
          <ac:spMkLst>
            <pc:docMk/>
            <pc:sldMk cId="239223960" sldId="2147378686"/>
            <ac:spMk id="7" creationId="{A0503B66-1299-571B-996C-A6BEA9AA3FFB}"/>
          </ac:spMkLst>
        </pc:spChg>
        <pc:spChg chg="mod">
          <ac:chgData name="内山 裕弥" userId="8d34b9d0-ec49-418d-b1de-019cf6b56da5" providerId="ADAL" clId="{EE417D81-9D62-44B5-9A36-43CC1B66E142}" dt="2024-07-19T04:45:35.946" v="4227" actId="20577"/>
          <ac:spMkLst>
            <pc:docMk/>
            <pc:sldMk cId="239223960" sldId="2147378686"/>
            <ac:spMk id="9" creationId="{D22A0A06-D5A8-4A1A-B66F-2A8EDBD644F1}"/>
          </ac:spMkLst>
        </pc:spChg>
      </pc:sldChg>
      <pc:sldChg chg="addSp delSp modSp mod">
        <pc:chgData name="内山 裕弥" userId="8d34b9d0-ec49-418d-b1de-019cf6b56da5" providerId="ADAL" clId="{EE417D81-9D62-44B5-9A36-43CC1B66E142}" dt="2024-07-19T04:52:10.730" v="4788" actId="20577"/>
        <pc:sldMkLst>
          <pc:docMk/>
          <pc:sldMk cId="1260276570" sldId="2147378687"/>
        </pc:sldMkLst>
        <pc:spChg chg="add mod">
          <ac:chgData name="内山 裕弥" userId="8d34b9d0-ec49-418d-b1de-019cf6b56da5" providerId="ADAL" clId="{EE417D81-9D62-44B5-9A36-43CC1B66E142}" dt="2024-07-19T04:52:10.730" v="4788" actId="20577"/>
          <ac:spMkLst>
            <pc:docMk/>
            <pc:sldMk cId="1260276570" sldId="2147378687"/>
            <ac:spMk id="4" creationId="{D6454845-5FE2-027E-0CD4-E44F5E629B84}"/>
          </ac:spMkLst>
        </pc:spChg>
        <pc:spChg chg="del mod">
          <ac:chgData name="内山 裕弥" userId="8d34b9d0-ec49-418d-b1de-019cf6b56da5" providerId="ADAL" clId="{EE417D81-9D62-44B5-9A36-43CC1B66E142}" dt="2024-07-19T04:52:07.340" v="4776"/>
          <ac:spMkLst>
            <pc:docMk/>
            <pc:sldMk cId="1260276570" sldId="2147378687"/>
            <ac:spMk id="7" creationId="{7254BB2F-820A-1FB9-0276-6C0E17A84BB6}"/>
          </ac:spMkLst>
        </pc:spChg>
      </pc:sldChg>
      <pc:sldChg chg="addSp delSp modSp mod">
        <pc:chgData name="内山 裕弥" userId="8d34b9d0-ec49-418d-b1de-019cf6b56da5" providerId="ADAL" clId="{EE417D81-9D62-44B5-9A36-43CC1B66E142}" dt="2024-07-19T04:52:30.092" v="4793"/>
        <pc:sldMkLst>
          <pc:docMk/>
          <pc:sldMk cId="2452595465" sldId="2147378688"/>
        </pc:sldMkLst>
        <pc:spChg chg="add mod">
          <ac:chgData name="内山 裕弥" userId="8d34b9d0-ec49-418d-b1de-019cf6b56da5" providerId="ADAL" clId="{EE417D81-9D62-44B5-9A36-43CC1B66E142}" dt="2024-07-19T04:48:38.407" v="4504" actId="571"/>
          <ac:spMkLst>
            <pc:docMk/>
            <pc:sldMk cId="2452595465" sldId="2147378688"/>
            <ac:spMk id="6" creationId="{2AB6F1E6-91CA-D8FD-88C2-44C55B9F5357}"/>
          </ac:spMkLst>
        </pc:spChg>
        <pc:spChg chg="add mod">
          <ac:chgData name="内山 裕弥" userId="8d34b9d0-ec49-418d-b1de-019cf6b56da5" providerId="ADAL" clId="{EE417D81-9D62-44B5-9A36-43CC1B66E142}" dt="2024-07-19T04:50:19.064" v="4724" actId="20577"/>
          <ac:spMkLst>
            <pc:docMk/>
            <pc:sldMk cId="2452595465" sldId="2147378688"/>
            <ac:spMk id="7" creationId="{24582205-39DE-FABD-CB90-9C30FEE43071}"/>
          </ac:spMkLst>
        </pc:spChg>
        <pc:spChg chg="mod">
          <ac:chgData name="内山 裕弥" userId="8d34b9d0-ec49-418d-b1de-019cf6b56da5" providerId="ADAL" clId="{EE417D81-9D62-44B5-9A36-43CC1B66E142}" dt="2024-07-19T04:50:46.576" v="4741" actId="20577"/>
          <ac:spMkLst>
            <pc:docMk/>
            <pc:sldMk cId="2452595465" sldId="2147378688"/>
            <ac:spMk id="9" creationId="{D22A0A06-D5A8-4A1A-B66F-2A8EDBD644F1}"/>
          </ac:spMkLst>
        </pc:spChg>
        <pc:spChg chg="mod">
          <ac:chgData name="内山 裕弥" userId="8d34b9d0-ec49-418d-b1de-019cf6b56da5" providerId="ADAL" clId="{EE417D81-9D62-44B5-9A36-43CC1B66E142}" dt="2024-07-19T04:52:30.092" v="4793"/>
          <ac:spMkLst>
            <pc:docMk/>
            <pc:sldMk cId="2452595465" sldId="2147378688"/>
            <ac:spMk id="10" creationId="{09B8CBA2-03F1-FCA3-5EF4-E163C51AD89A}"/>
          </ac:spMkLst>
        </pc:spChg>
        <pc:spChg chg="del mod">
          <ac:chgData name="内山 裕弥" userId="8d34b9d0-ec49-418d-b1de-019cf6b56da5" providerId="ADAL" clId="{EE417D81-9D62-44B5-9A36-43CC1B66E142}" dt="2024-07-19T04:49:32.545" v="4545" actId="21"/>
          <ac:spMkLst>
            <pc:docMk/>
            <pc:sldMk cId="2452595465" sldId="2147378688"/>
            <ac:spMk id="11" creationId="{DF311CC2-C502-8448-4552-A080BA91D47C}"/>
          </ac:spMkLst>
        </pc:spChg>
        <pc:graphicFrameChg chg="add mod ord modGraphic">
          <ac:chgData name="内山 裕弥" userId="8d34b9d0-ec49-418d-b1de-019cf6b56da5" providerId="ADAL" clId="{EE417D81-9D62-44B5-9A36-43CC1B66E142}" dt="2024-07-19T04:49:19.289" v="4538" actId="207"/>
          <ac:graphicFrameMkLst>
            <pc:docMk/>
            <pc:sldMk cId="2452595465" sldId="2147378688"/>
            <ac:graphicFrameMk id="3" creationId="{5CD75058-DF54-3019-BEEC-A9CC2112B9F4}"/>
          </ac:graphicFrameMkLst>
        </pc:graphicFrameChg>
        <pc:picChg chg="add mod ord">
          <ac:chgData name="内山 裕弥" userId="8d34b9d0-ec49-418d-b1de-019cf6b56da5" providerId="ADAL" clId="{EE417D81-9D62-44B5-9A36-43CC1B66E142}" dt="2024-07-19T04:48:53.351" v="4509" actId="1076"/>
          <ac:picMkLst>
            <pc:docMk/>
            <pc:sldMk cId="2452595465" sldId="2147378688"/>
            <ac:picMk id="4" creationId="{CB67C656-701C-590D-31B0-33A764E6E23A}"/>
          </ac:picMkLst>
        </pc:picChg>
      </pc:sldChg>
      <pc:sldChg chg="addSp delSp modSp mod">
        <pc:chgData name="内山 裕弥" userId="8d34b9d0-ec49-418d-b1de-019cf6b56da5" providerId="ADAL" clId="{EE417D81-9D62-44B5-9A36-43CC1B66E142}" dt="2024-07-19T04:55:16.873" v="5290" actId="14100"/>
        <pc:sldMkLst>
          <pc:docMk/>
          <pc:sldMk cId="64176771" sldId="2147378692"/>
        </pc:sldMkLst>
        <pc:spChg chg="add mod">
          <ac:chgData name="内山 裕弥" userId="8d34b9d0-ec49-418d-b1de-019cf6b56da5" providerId="ADAL" clId="{EE417D81-9D62-44B5-9A36-43CC1B66E142}" dt="2024-07-19T04:55:16.873" v="5290" actId="14100"/>
          <ac:spMkLst>
            <pc:docMk/>
            <pc:sldMk cId="64176771" sldId="2147378692"/>
            <ac:spMk id="6" creationId="{8F5B53A2-0EF1-F8B6-B41F-2E779B30F578}"/>
          </ac:spMkLst>
        </pc:spChg>
        <pc:spChg chg="del mod">
          <ac:chgData name="内山 裕弥" userId="8d34b9d0-ec49-418d-b1de-019cf6b56da5" providerId="ADAL" clId="{EE417D81-9D62-44B5-9A36-43CC1B66E142}" dt="2024-07-19T04:52:44.439" v="4800" actId="478"/>
          <ac:spMkLst>
            <pc:docMk/>
            <pc:sldMk cId="64176771" sldId="2147378692"/>
            <ac:spMk id="8" creationId="{430BEB5D-C083-5408-ED88-6B0F9B1E1A27}"/>
          </ac:spMkLst>
        </pc:spChg>
        <pc:spChg chg="mod">
          <ac:chgData name="内山 裕弥" userId="8d34b9d0-ec49-418d-b1de-019cf6b56da5" providerId="ADAL" clId="{EE417D81-9D62-44B5-9A36-43CC1B66E142}" dt="2024-07-19T04:52:33.540" v="4796"/>
          <ac:spMkLst>
            <pc:docMk/>
            <pc:sldMk cId="64176771" sldId="2147378692"/>
            <ac:spMk id="9" creationId="{43C330CB-8A4D-F4A2-AFFC-48CA4FB9C719}"/>
          </ac:spMkLst>
        </pc:spChg>
        <pc:graphicFrameChg chg="mod">
          <ac:chgData name="内山 裕弥" userId="8d34b9d0-ec49-418d-b1de-019cf6b56da5" providerId="ADAL" clId="{EE417D81-9D62-44B5-9A36-43CC1B66E142}" dt="2024-07-19T04:52:58.261" v="4804" actId="21"/>
          <ac:graphicFrameMkLst>
            <pc:docMk/>
            <pc:sldMk cId="64176771" sldId="2147378692"/>
            <ac:graphicFrameMk id="2" creationId="{12ACD507-CDCD-7967-B093-33A8EA8B50AD}"/>
          </ac:graphicFrameMkLst>
        </pc:graphicFrameChg>
      </pc:sldChg>
      <pc:sldChg chg="addSp delSp modSp mod">
        <pc:chgData name="内山 裕弥" userId="8d34b9d0-ec49-418d-b1de-019cf6b56da5" providerId="ADAL" clId="{EE417D81-9D62-44B5-9A36-43CC1B66E142}" dt="2024-07-19T04:57:15.553" v="5488"/>
        <pc:sldMkLst>
          <pc:docMk/>
          <pc:sldMk cId="2807815468" sldId="2147378693"/>
        </pc:sldMkLst>
        <pc:spChg chg="del mod">
          <ac:chgData name="内山 裕弥" userId="8d34b9d0-ec49-418d-b1de-019cf6b56da5" providerId="ADAL" clId="{EE417D81-9D62-44B5-9A36-43CC1B66E142}" dt="2024-07-19T04:55:48.187" v="5298" actId="478"/>
          <ac:spMkLst>
            <pc:docMk/>
            <pc:sldMk cId="2807815468" sldId="2147378693"/>
            <ac:spMk id="3" creationId="{E8307DE4-B685-8681-C06A-AB760B5D189C}"/>
          </ac:spMkLst>
        </pc:spChg>
        <pc:spChg chg="add mod">
          <ac:chgData name="内山 裕弥" userId="8d34b9d0-ec49-418d-b1de-019cf6b56da5" providerId="ADAL" clId="{EE417D81-9D62-44B5-9A36-43CC1B66E142}" dt="2024-07-19T04:56:50.855" v="5486" actId="1076"/>
          <ac:spMkLst>
            <pc:docMk/>
            <pc:sldMk cId="2807815468" sldId="2147378693"/>
            <ac:spMk id="6" creationId="{AB16B992-8FEA-2524-9080-25C00B9EB250}"/>
          </ac:spMkLst>
        </pc:spChg>
        <pc:spChg chg="mod">
          <ac:chgData name="内山 裕弥" userId="8d34b9d0-ec49-418d-b1de-019cf6b56da5" providerId="ADAL" clId="{EE417D81-9D62-44B5-9A36-43CC1B66E142}" dt="2024-07-19T04:55:39.513" v="5293"/>
          <ac:spMkLst>
            <pc:docMk/>
            <pc:sldMk cId="2807815468" sldId="2147378693"/>
            <ac:spMk id="7" creationId="{AB44C853-6597-563E-FBB5-333EA802200B}"/>
          </ac:spMkLst>
        </pc:spChg>
        <pc:spChg chg="del mod">
          <ac:chgData name="内山 裕弥" userId="8d34b9d0-ec49-418d-b1de-019cf6b56da5" providerId="ADAL" clId="{EE417D81-9D62-44B5-9A36-43CC1B66E142}" dt="2024-07-19T04:57:15.553" v="5488"/>
          <ac:spMkLst>
            <pc:docMk/>
            <pc:sldMk cId="2807815468" sldId="2147378693"/>
            <ac:spMk id="10" creationId="{0A97D34E-723F-105C-1855-E9ECCA44243E}"/>
          </ac:spMkLst>
        </pc:spChg>
      </pc:sldChg>
      <pc:sldChg chg="addSp delSp modSp mod">
        <pc:chgData name="内山 裕弥" userId="8d34b9d0-ec49-418d-b1de-019cf6b56da5" providerId="ADAL" clId="{EE417D81-9D62-44B5-9A36-43CC1B66E142}" dt="2024-07-19T04:57:37.529" v="5527" actId="20577"/>
        <pc:sldMkLst>
          <pc:docMk/>
          <pc:sldMk cId="1631142101" sldId="2147378694"/>
        </pc:sldMkLst>
        <pc:spChg chg="del mod">
          <ac:chgData name="内山 裕弥" userId="8d34b9d0-ec49-418d-b1de-019cf6b56da5" providerId="ADAL" clId="{EE417D81-9D62-44B5-9A36-43CC1B66E142}" dt="2024-07-19T04:57:24.846" v="5492" actId="478"/>
          <ac:spMkLst>
            <pc:docMk/>
            <pc:sldMk cId="1631142101" sldId="2147378694"/>
            <ac:spMk id="2" creationId="{89151AD2-4460-53D9-CF93-F29025E96346}"/>
          </ac:spMkLst>
        </pc:spChg>
        <pc:spChg chg="add mod">
          <ac:chgData name="内山 裕弥" userId="8d34b9d0-ec49-418d-b1de-019cf6b56da5" providerId="ADAL" clId="{EE417D81-9D62-44B5-9A36-43CC1B66E142}" dt="2024-07-19T04:57:37.529" v="5527" actId="20577"/>
          <ac:spMkLst>
            <pc:docMk/>
            <pc:sldMk cId="1631142101" sldId="2147378694"/>
            <ac:spMk id="6" creationId="{7CABF31E-164B-05A5-D57B-0E33F4E31404}"/>
          </ac:spMkLst>
        </pc:spChg>
      </pc:sldChg>
      <pc:sldChg chg="addSp delSp modSp mod">
        <pc:chgData name="内山 裕弥" userId="8d34b9d0-ec49-418d-b1de-019cf6b56da5" providerId="ADAL" clId="{EE417D81-9D62-44B5-9A36-43CC1B66E142}" dt="2024-07-19T05:03:21.617" v="6084" actId="1076"/>
        <pc:sldMkLst>
          <pc:docMk/>
          <pc:sldMk cId="3347821416" sldId="2147378698"/>
        </pc:sldMkLst>
        <pc:spChg chg="del mod">
          <ac:chgData name="内山 裕弥" userId="8d34b9d0-ec49-418d-b1de-019cf6b56da5" providerId="ADAL" clId="{EE417D81-9D62-44B5-9A36-43CC1B66E142}" dt="2024-07-19T05:02:56.206" v="6082"/>
          <ac:spMkLst>
            <pc:docMk/>
            <pc:sldMk cId="3347821416" sldId="2147378698"/>
            <ac:spMk id="3" creationId="{E4C1F0CA-D59B-2839-1212-A75A55E2548A}"/>
          </ac:spMkLst>
        </pc:spChg>
        <pc:spChg chg="add mod">
          <ac:chgData name="内山 裕弥" userId="8d34b9d0-ec49-418d-b1de-019cf6b56da5" providerId="ADAL" clId="{EE417D81-9D62-44B5-9A36-43CC1B66E142}" dt="2024-07-19T05:02:55.229" v="6080" actId="14100"/>
          <ac:spMkLst>
            <pc:docMk/>
            <pc:sldMk cId="3347821416" sldId="2147378698"/>
            <ac:spMk id="4" creationId="{9986CF63-9F4F-EEC8-16B1-03EAAE162369}"/>
          </ac:spMkLst>
        </pc:spChg>
        <pc:spChg chg="add del mod">
          <ac:chgData name="内山 裕弥" userId="8d34b9d0-ec49-418d-b1de-019cf6b56da5" providerId="ADAL" clId="{EE417D81-9D62-44B5-9A36-43CC1B66E142}" dt="2024-07-19T05:00:26.679" v="5535"/>
          <ac:spMkLst>
            <pc:docMk/>
            <pc:sldMk cId="3347821416" sldId="2147378698"/>
            <ac:spMk id="8" creationId="{10850209-BC14-80A2-9241-693DF7731108}"/>
          </ac:spMkLst>
        </pc:spChg>
        <pc:spChg chg="add del mod">
          <ac:chgData name="内山 裕弥" userId="8d34b9d0-ec49-418d-b1de-019cf6b56da5" providerId="ADAL" clId="{EE417D81-9D62-44B5-9A36-43CC1B66E142}" dt="2024-07-19T05:00:26.679" v="5535"/>
          <ac:spMkLst>
            <pc:docMk/>
            <pc:sldMk cId="3347821416" sldId="2147378698"/>
            <ac:spMk id="10" creationId="{D11ED487-10C7-E53A-50E8-CFB4020373F2}"/>
          </ac:spMkLst>
        </pc:spChg>
        <pc:spChg chg="add del mod">
          <ac:chgData name="内山 裕弥" userId="8d34b9d0-ec49-418d-b1de-019cf6b56da5" providerId="ADAL" clId="{EE417D81-9D62-44B5-9A36-43CC1B66E142}" dt="2024-07-19T05:00:26.679" v="5535"/>
          <ac:spMkLst>
            <pc:docMk/>
            <pc:sldMk cId="3347821416" sldId="2147378698"/>
            <ac:spMk id="11" creationId="{7E57F75D-03E0-04CB-EE12-D8D89AF01E36}"/>
          </ac:spMkLst>
        </pc:spChg>
        <pc:spChg chg="add del mod">
          <ac:chgData name="内山 裕弥" userId="8d34b9d0-ec49-418d-b1de-019cf6b56da5" providerId="ADAL" clId="{EE417D81-9D62-44B5-9A36-43CC1B66E142}" dt="2024-07-19T05:00:26.679" v="5535"/>
          <ac:spMkLst>
            <pc:docMk/>
            <pc:sldMk cId="3347821416" sldId="2147378698"/>
            <ac:spMk id="12" creationId="{53CE6DB2-FD6C-4895-1172-6B277E743F46}"/>
          </ac:spMkLst>
        </pc:spChg>
        <pc:spChg chg="add del mod">
          <ac:chgData name="内山 裕弥" userId="8d34b9d0-ec49-418d-b1de-019cf6b56da5" providerId="ADAL" clId="{EE417D81-9D62-44B5-9A36-43CC1B66E142}" dt="2024-07-19T05:00:26.679" v="5535"/>
          <ac:spMkLst>
            <pc:docMk/>
            <pc:sldMk cId="3347821416" sldId="2147378698"/>
            <ac:spMk id="13" creationId="{DF642EF6-485D-3E6D-63A0-ED65955BB237}"/>
          </ac:spMkLst>
        </pc:spChg>
        <pc:spChg chg="add del mod">
          <ac:chgData name="内山 裕弥" userId="8d34b9d0-ec49-418d-b1de-019cf6b56da5" providerId="ADAL" clId="{EE417D81-9D62-44B5-9A36-43CC1B66E142}" dt="2024-07-19T05:00:26.679" v="5535"/>
          <ac:spMkLst>
            <pc:docMk/>
            <pc:sldMk cId="3347821416" sldId="2147378698"/>
            <ac:spMk id="14" creationId="{EDF095BF-916A-884A-1729-9BCC9B47FE66}"/>
          </ac:spMkLst>
        </pc:spChg>
        <pc:spChg chg="add del mod">
          <ac:chgData name="内山 裕弥" userId="8d34b9d0-ec49-418d-b1de-019cf6b56da5" providerId="ADAL" clId="{EE417D81-9D62-44B5-9A36-43CC1B66E142}" dt="2024-07-19T05:00:26.679" v="5535"/>
          <ac:spMkLst>
            <pc:docMk/>
            <pc:sldMk cId="3347821416" sldId="2147378698"/>
            <ac:spMk id="15" creationId="{FD26CC9E-922F-ABFD-4077-1B58694529FA}"/>
          </ac:spMkLst>
        </pc:spChg>
        <pc:spChg chg="add del mod">
          <ac:chgData name="内山 裕弥" userId="8d34b9d0-ec49-418d-b1de-019cf6b56da5" providerId="ADAL" clId="{EE417D81-9D62-44B5-9A36-43CC1B66E142}" dt="2024-07-19T05:00:26.679" v="5535"/>
          <ac:spMkLst>
            <pc:docMk/>
            <pc:sldMk cId="3347821416" sldId="2147378698"/>
            <ac:spMk id="16" creationId="{605D5B5D-4CCE-314B-389E-0912DAAB0EE3}"/>
          </ac:spMkLst>
        </pc:spChg>
        <pc:spChg chg="add del mod">
          <ac:chgData name="内山 裕弥" userId="8d34b9d0-ec49-418d-b1de-019cf6b56da5" providerId="ADAL" clId="{EE417D81-9D62-44B5-9A36-43CC1B66E142}" dt="2024-07-19T05:00:26.679" v="5535"/>
          <ac:spMkLst>
            <pc:docMk/>
            <pc:sldMk cId="3347821416" sldId="2147378698"/>
            <ac:spMk id="17" creationId="{033A359F-D397-CCDF-C294-AC0DC004E79E}"/>
          </ac:spMkLst>
        </pc:spChg>
        <pc:spChg chg="add del mod">
          <ac:chgData name="内山 裕弥" userId="8d34b9d0-ec49-418d-b1de-019cf6b56da5" providerId="ADAL" clId="{EE417D81-9D62-44B5-9A36-43CC1B66E142}" dt="2024-07-19T05:00:26.679" v="5535"/>
          <ac:spMkLst>
            <pc:docMk/>
            <pc:sldMk cId="3347821416" sldId="2147378698"/>
            <ac:spMk id="18" creationId="{179511B3-E629-9D8E-EB81-11377F6F7AC2}"/>
          </ac:spMkLst>
        </pc:spChg>
        <pc:spChg chg="add del mod">
          <ac:chgData name="内山 裕弥" userId="8d34b9d0-ec49-418d-b1de-019cf6b56da5" providerId="ADAL" clId="{EE417D81-9D62-44B5-9A36-43CC1B66E142}" dt="2024-07-19T05:00:26.679" v="5535"/>
          <ac:spMkLst>
            <pc:docMk/>
            <pc:sldMk cId="3347821416" sldId="2147378698"/>
            <ac:spMk id="20" creationId="{4F22A7EE-C394-063E-9275-46FA505BB679}"/>
          </ac:spMkLst>
        </pc:spChg>
        <pc:spChg chg="add del mod">
          <ac:chgData name="内山 裕弥" userId="8d34b9d0-ec49-418d-b1de-019cf6b56da5" providerId="ADAL" clId="{EE417D81-9D62-44B5-9A36-43CC1B66E142}" dt="2024-07-19T05:00:26.679" v="5535"/>
          <ac:spMkLst>
            <pc:docMk/>
            <pc:sldMk cId="3347821416" sldId="2147378698"/>
            <ac:spMk id="21" creationId="{DCB0DA9C-6F8E-5F96-16BA-C7378A439A28}"/>
          </ac:spMkLst>
        </pc:spChg>
        <pc:spChg chg="add del mod">
          <ac:chgData name="内山 裕弥" userId="8d34b9d0-ec49-418d-b1de-019cf6b56da5" providerId="ADAL" clId="{EE417D81-9D62-44B5-9A36-43CC1B66E142}" dt="2024-07-19T05:00:26.679" v="5535"/>
          <ac:spMkLst>
            <pc:docMk/>
            <pc:sldMk cId="3347821416" sldId="2147378698"/>
            <ac:spMk id="22" creationId="{0A09B8A7-EE59-D587-7C3B-9CD3A7CACFC9}"/>
          </ac:spMkLst>
        </pc:spChg>
        <pc:spChg chg="add del mod">
          <ac:chgData name="内山 裕弥" userId="8d34b9d0-ec49-418d-b1de-019cf6b56da5" providerId="ADAL" clId="{EE417D81-9D62-44B5-9A36-43CC1B66E142}" dt="2024-07-19T05:00:26.679" v="5535"/>
          <ac:spMkLst>
            <pc:docMk/>
            <pc:sldMk cId="3347821416" sldId="2147378698"/>
            <ac:spMk id="23" creationId="{7B1B94A6-037F-541B-C1CA-11FC394C1BAA}"/>
          </ac:spMkLst>
        </pc:spChg>
        <pc:spChg chg="add del mod">
          <ac:chgData name="内山 裕弥" userId="8d34b9d0-ec49-418d-b1de-019cf6b56da5" providerId="ADAL" clId="{EE417D81-9D62-44B5-9A36-43CC1B66E142}" dt="2024-07-19T05:00:26.679" v="5535"/>
          <ac:spMkLst>
            <pc:docMk/>
            <pc:sldMk cId="3347821416" sldId="2147378698"/>
            <ac:spMk id="24" creationId="{84AD3BF2-C8BC-6F5E-ECD4-D14FC70A4E56}"/>
          </ac:spMkLst>
        </pc:spChg>
        <pc:spChg chg="add del mod">
          <ac:chgData name="内山 裕弥" userId="8d34b9d0-ec49-418d-b1de-019cf6b56da5" providerId="ADAL" clId="{EE417D81-9D62-44B5-9A36-43CC1B66E142}" dt="2024-07-19T05:00:26.679" v="5535"/>
          <ac:spMkLst>
            <pc:docMk/>
            <pc:sldMk cId="3347821416" sldId="2147378698"/>
            <ac:spMk id="25" creationId="{71795CF2-B2F4-882D-9BC1-8C8ACF0C1176}"/>
          </ac:spMkLst>
        </pc:spChg>
        <pc:spChg chg="add del mod">
          <ac:chgData name="内山 裕弥" userId="8d34b9d0-ec49-418d-b1de-019cf6b56da5" providerId="ADAL" clId="{EE417D81-9D62-44B5-9A36-43CC1B66E142}" dt="2024-07-19T05:00:26.679" v="5535"/>
          <ac:spMkLst>
            <pc:docMk/>
            <pc:sldMk cId="3347821416" sldId="2147378698"/>
            <ac:spMk id="26" creationId="{6FC8CC88-D648-1762-1436-1E68A7D86EFB}"/>
          </ac:spMkLst>
        </pc:spChg>
        <pc:spChg chg="add del mod">
          <ac:chgData name="内山 裕弥" userId="8d34b9d0-ec49-418d-b1de-019cf6b56da5" providerId="ADAL" clId="{EE417D81-9D62-44B5-9A36-43CC1B66E142}" dt="2024-07-19T05:00:26.679" v="5535"/>
          <ac:spMkLst>
            <pc:docMk/>
            <pc:sldMk cId="3347821416" sldId="2147378698"/>
            <ac:spMk id="28" creationId="{32CD005A-3CEB-5916-4C52-EF8A8192FB4F}"/>
          </ac:spMkLst>
        </pc:spChg>
        <pc:spChg chg="add del mod">
          <ac:chgData name="内山 裕弥" userId="8d34b9d0-ec49-418d-b1de-019cf6b56da5" providerId="ADAL" clId="{EE417D81-9D62-44B5-9A36-43CC1B66E142}" dt="2024-07-19T05:00:26.679" v="5535"/>
          <ac:spMkLst>
            <pc:docMk/>
            <pc:sldMk cId="3347821416" sldId="2147378698"/>
            <ac:spMk id="29" creationId="{E9487253-4F33-A3CD-AB96-2FB2B74D3EF8}"/>
          </ac:spMkLst>
        </pc:spChg>
        <pc:spChg chg="add del mod">
          <ac:chgData name="内山 裕弥" userId="8d34b9d0-ec49-418d-b1de-019cf6b56da5" providerId="ADAL" clId="{EE417D81-9D62-44B5-9A36-43CC1B66E142}" dt="2024-07-19T05:00:26.679" v="5535"/>
          <ac:spMkLst>
            <pc:docMk/>
            <pc:sldMk cId="3347821416" sldId="2147378698"/>
            <ac:spMk id="30" creationId="{5B5C74CE-776E-6797-07A1-AE8B13A3C91F}"/>
          </ac:spMkLst>
        </pc:spChg>
        <pc:picChg chg="add del mod">
          <ac:chgData name="内山 裕弥" userId="8d34b9d0-ec49-418d-b1de-019cf6b56da5" providerId="ADAL" clId="{EE417D81-9D62-44B5-9A36-43CC1B66E142}" dt="2024-07-19T05:00:26.679" v="5535"/>
          <ac:picMkLst>
            <pc:docMk/>
            <pc:sldMk cId="3347821416" sldId="2147378698"/>
            <ac:picMk id="7" creationId="{BDBBA593-FC21-2E8C-0F76-016C3ADE0546}"/>
          </ac:picMkLst>
        </pc:picChg>
        <pc:picChg chg="add mod ord">
          <ac:chgData name="内山 裕弥" userId="8d34b9d0-ec49-418d-b1de-019cf6b56da5" providerId="ADAL" clId="{EE417D81-9D62-44B5-9A36-43CC1B66E142}" dt="2024-07-19T05:03:21.617" v="6084" actId="1076"/>
          <ac:picMkLst>
            <pc:docMk/>
            <pc:sldMk cId="3347821416" sldId="2147378698"/>
            <ac:picMk id="31" creationId="{16020430-00B1-287F-A924-BAA06D233495}"/>
          </ac:picMkLst>
        </pc:picChg>
        <pc:cxnChg chg="add del mod">
          <ac:chgData name="内山 裕弥" userId="8d34b9d0-ec49-418d-b1de-019cf6b56da5" providerId="ADAL" clId="{EE417D81-9D62-44B5-9A36-43CC1B66E142}" dt="2024-07-19T05:00:26.679" v="5535"/>
          <ac:cxnSpMkLst>
            <pc:docMk/>
            <pc:sldMk cId="3347821416" sldId="2147378698"/>
            <ac:cxnSpMk id="19" creationId="{84609300-97FD-ED0F-EE1A-28F74A42B3DF}"/>
          </ac:cxnSpMkLst>
        </pc:cxnChg>
        <pc:cxnChg chg="add del mod">
          <ac:chgData name="内山 裕弥" userId="8d34b9d0-ec49-418d-b1de-019cf6b56da5" providerId="ADAL" clId="{EE417D81-9D62-44B5-9A36-43CC1B66E142}" dt="2024-07-19T05:00:26.679" v="5535"/>
          <ac:cxnSpMkLst>
            <pc:docMk/>
            <pc:sldMk cId="3347821416" sldId="2147378698"/>
            <ac:cxnSpMk id="27" creationId="{971825AC-523F-5A0C-45DB-E4D85E2068C1}"/>
          </ac:cxnSpMkLst>
        </pc:cxnChg>
      </pc:sldChg>
      <pc:sldChg chg="addSp delSp modSp mod">
        <pc:chgData name="内山 裕弥" userId="8d34b9d0-ec49-418d-b1de-019cf6b56da5" providerId="ADAL" clId="{EE417D81-9D62-44B5-9A36-43CC1B66E142}" dt="2024-07-19T05:13:20.285" v="7533" actId="207"/>
        <pc:sldMkLst>
          <pc:docMk/>
          <pc:sldMk cId="190838501" sldId="2147378699"/>
        </pc:sldMkLst>
        <pc:spChg chg="add mod">
          <ac:chgData name="内山 裕弥" userId="8d34b9d0-ec49-418d-b1de-019cf6b56da5" providerId="ADAL" clId="{EE417D81-9D62-44B5-9A36-43CC1B66E142}" dt="2024-07-19T05:13:14.230" v="7518" actId="20577"/>
          <ac:spMkLst>
            <pc:docMk/>
            <pc:sldMk cId="190838501" sldId="2147378699"/>
            <ac:spMk id="3" creationId="{C3720E54-FD1F-DDED-C885-DFDBDFBC33BD}"/>
          </ac:spMkLst>
        </pc:spChg>
        <pc:spChg chg="mod">
          <ac:chgData name="内山 裕弥" userId="8d34b9d0-ec49-418d-b1de-019cf6b56da5" providerId="ADAL" clId="{EE417D81-9D62-44B5-9A36-43CC1B66E142}" dt="2024-07-19T05:13:20.285" v="7533" actId="207"/>
          <ac:spMkLst>
            <pc:docMk/>
            <pc:sldMk cId="190838501" sldId="2147378699"/>
            <ac:spMk id="7" creationId="{58DA3483-121F-7012-3B2F-2B488EE5EECD}"/>
          </ac:spMkLst>
        </pc:spChg>
        <pc:spChg chg="del mod">
          <ac:chgData name="内山 裕弥" userId="8d34b9d0-ec49-418d-b1de-019cf6b56da5" providerId="ADAL" clId="{EE417D81-9D62-44B5-9A36-43CC1B66E142}" dt="2024-07-19T05:09:12.033" v="6729"/>
          <ac:spMkLst>
            <pc:docMk/>
            <pc:sldMk cId="190838501" sldId="2147378699"/>
            <ac:spMk id="13" creationId="{820553A6-BC6E-8438-3B81-A49B23C28ABF}"/>
          </ac:spMkLst>
        </pc:spChg>
        <pc:graphicFrameChg chg="mod modGraphic">
          <ac:chgData name="内山 裕弥" userId="8d34b9d0-ec49-418d-b1de-019cf6b56da5" providerId="ADAL" clId="{EE417D81-9D62-44B5-9A36-43CC1B66E142}" dt="2024-07-19T05:11:43.411" v="7391" actId="207"/>
          <ac:graphicFrameMkLst>
            <pc:docMk/>
            <pc:sldMk cId="190838501" sldId="2147378699"/>
            <ac:graphicFrameMk id="2" creationId="{5E62C5DD-8E38-39C6-A171-A79017DD18C4}"/>
          </ac:graphicFrameMkLst>
        </pc:graphicFrameChg>
      </pc:sldChg>
      <pc:sldChg chg="addSp delSp modSp mod">
        <pc:chgData name="内山 裕弥" userId="8d34b9d0-ec49-418d-b1de-019cf6b56da5" providerId="ADAL" clId="{EE417D81-9D62-44B5-9A36-43CC1B66E142}" dt="2024-07-19T05:16:18.080" v="7641" actId="1076"/>
        <pc:sldMkLst>
          <pc:docMk/>
          <pc:sldMk cId="959679513" sldId="2147378701"/>
        </pc:sldMkLst>
        <pc:spChg chg="add mod">
          <ac:chgData name="内山 裕弥" userId="8d34b9d0-ec49-418d-b1de-019cf6b56da5" providerId="ADAL" clId="{EE417D81-9D62-44B5-9A36-43CC1B66E142}" dt="2024-07-19T05:16:18.080" v="7641" actId="1076"/>
          <ac:spMkLst>
            <pc:docMk/>
            <pc:sldMk cId="959679513" sldId="2147378701"/>
            <ac:spMk id="4" creationId="{C0D0AFEB-3FED-E797-776D-18785F5B85FD}"/>
          </ac:spMkLst>
        </pc:spChg>
        <pc:spChg chg="del mod">
          <ac:chgData name="内山 裕弥" userId="8d34b9d0-ec49-418d-b1de-019cf6b56da5" providerId="ADAL" clId="{EE417D81-9D62-44B5-9A36-43CC1B66E142}" dt="2024-07-19T05:14:15.842" v="7538" actId="478"/>
          <ac:spMkLst>
            <pc:docMk/>
            <pc:sldMk cId="959679513" sldId="2147378701"/>
            <ac:spMk id="8" creationId="{71D39E2A-2214-4448-8774-2A3AB120A9B7}"/>
          </ac:spMkLst>
        </pc:spChg>
        <pc:graphicFrameChg chg="mod modGraphic">
          <ac:chgData name="内山 裕弥" userId="8d34b9d0-ec49-418d-b1de-019cf6b56da5" providerId="ADAL" clId="{EE417D81-9D62-44B5-9A36-43CC1B66E142}" dt="2024-07-19T05:16:13.158" v="7638" actId="20577"/>
          <ac:graphicFrameMkLst>
            <pc:docMk/>
            <pc:sldMk cId="959679513" sldId="2147378701"/>
            <ac:graphicFrameMk id="3" creationId="{1E352AD7-4D05-33EE-61E0-3F07FA0F915F}"/>
          </ac:graphicFrameMkLst>
        </pc:graphicFrameChg>
      </pc:sldChg>
      <pc:sldChg chg="addSp delSp modSp mod">
        <pc:chgData name="内山 裕弥" userId="8d34b9d0-ec49-418d-b1de-019cf6b56da5" providerId="ADAL" clId="{EE417D81-9D62-44B5-9A36-43CC1B66E142}" dt="2024-07-19T05:19:27.007" v="8095" actId="20577"/>
        <pc:sldMkLst>
          <pc:docMk/>
          <pc:sldMk cId="444370572" sldId="2147378702"/>
        </pc:sldMkLst>
        <pc:spChg chg="add mod">
          <ac:chgData name="内山 裕弥" userId="8d34b9d0-ec49-418d-b1de-019cf6b56da5" providerId="ADAL" clId="{EE417D81-9D62-44B5-9A36-43CC1B66E142}" dt="2024-07-19T05:19:05.543" v="8049" actId="14100"/>
          <ac:spMkLst>
            <pc:docMk/>
            <pc:sldMk cId="444370572" sldId="2147378702"/>
            <ac:spMk id="3" creationId="{85ECF3D7-D949-2422-CEE1-82F658C4178F}"/>
          </ac:spMkLst>
        </pc:spChg>
        <pc:spChg chg="del mod">
          <ac:chgData name="内山 裕弥" userId="8d34b9d0-ec49-418d-b1de-019cf6b56da5" providerId="ADAL" clId="{EE417D81-9D62-44B5-9A36-43CC1B66E142}" dt="2024-07-19T05:18:05.485" v="7726" actId="21"/>
          <ac:spMkLst>
            <pc:docMk/>
            <pc:sldMk cId="444370572" sldId="2147378702"/>
            <ac:spMk id="8" creationId="{D1777F5A-ADD4-8079-B2FB-C275A4CB4350}"/>
          </ac:spMkLst>
        </pc:spChg>
        <pc:graphicFrameChg chg="mod modGraphic">
          <ac:chgData name="内山 裕弥" userId="8d34b9d0-ec49-418d-b1de-019cf6b56da5" providerId="ADAL" clId="{EE417D81-9D62-44B5-9A36-43CC1B66E142}" dt="2024-07-19T05:19:27.007" v="8095" actId="20577"/>
          <ac:graphicFrameMkLst>
            <pc:docMk/>
            <pc:sldMk cId="444370572" sldId="2147378702"/>
            <ac:graphicFrameMk id="4" creationId="{07092873-AD2F-3B69-2A42-020154D983DE}"/>
          </ac:graphicFrameMkLst>
        </pc:graphicFrameChg>
      </pc:sldChg>
      <pc:sldChg chg="addSp delSp modSp mod">
        <pc:chgData name="内山 裕弥" userId="8d34b9d0-ec49-418d-b1de-019cf6b56da5" providerId="ADAL" clId="{EE417D81-9D62-44B5-9A36-43CC1B66E142}" dt="2024-07-19T05:22:18.048" v="8393"/>
        <pc:sldMkLst>
          <pc:docMk/>
          <pc:sldMk cId="112285639" sldId="2147378703"/>
        </pc:sldMkLst>
        <pc:spChg chg="del mod">
          <ac:chgData name="内山 裕弥" userId="8d34b9d0-ec49-418d-b1de-019cf6b56da5" providerId="ADAL" clId="{EE417D81-9D62-44B5-9A36-43CC1B66E142}" dt="2024-07-19T05:22:18.048" v="8393"/>
          <ac:spMkLst>
            <pc:docMk/>
            <pc:sldMk cId="112285639" sldId="2147378703"/>
            <ac:spMk id="7" creationId="{13123BD9-EA94-41EC-E2B6-C4AA60DA2C07}"/>
          </ac:spMkLst>
        </pc:spChg>
        <pc:spChg chg="add del mod">
          <ac:chgData name="内山 裕弥" userId="8d34b9d0-ec49-418d-b1de-019cf6b56da5" providerId="ADAL" clId="{EE417D81-9D62-44B5-9A36-43CC1B66E142}" dt="2024-07-19T05:19:50.668" v="8097"/>
          <ac:spMkLst>
            <pc:docMk/>
            <pc:sldMk cId="112285639" sldId="2147378703"/>
            <ac:spMk id="10" creationId="{06B428BC-EDB0-FF3F-A46F-A836AB048221}"/>
          </ac:spMkLst>
        </pc:spChg>
        <pc:spChg chg="add del mod">
          <ac:chgData name="内山 裕弥" userId="8d34b9d0-ec49-418d-b1de-019cf6b56da5" providerId="ADAL" clId="{EE417D81-9D62-44B5-9A36-43CC1B66E142}" dt="2024-07-19T05:19:50.668" v="8097"/>
          <ac:spMkLst>
            <pc:docMk/>
            <pc:sldMk cId="112285639" sldId="2147378703"/>
            <ac:spMk id="11" creationId="{32FF2880-52F8-A9D6-6DD5-99362CFABE2B}"/>
          </ac:spMkLst>
        </pc:spChg>
        <pc:spChg chg="add mod">
          <ac:chgData name="内山 裕弥" userId="8d34b9d0-ec49-418d-b1de-019cf6b56da5" providerId="ADAL" clId="{EE417D81-9D62-44B5-9A36-43CC1B66E142}" dt="2024-07-19T05:22:17.024" v="8391" actId="20577"/>
          <ac:spMkLst>
            <pc:docMk/>
            <pc:sldMk cId="112285639" sldId="2147378703"/>
            <ac:spMk id="13" creationId="{ED88E5C2-1CEC-3507-1A41-A32A9F740D09}"/>
          </ac:spMkLst>
        </pc:spChg>
        <pc:picChg chg="add del mod">
          <ac:chgData name="内山 裕弥" userId="8d34b9d0-ec49-418d-b1de-019cf6b56da5" providerId="ADAL" clId="{EE417D81-9D62-44B5-9A36-43CC1B66E142}" dt="2024-07-19T05:19:50.668" v="8097"/>
          <ac:picMkLst>
            <pc:docMk/>
            <pc:sldMk cId="112285639" sldId="2147378703"/>
            <ac:picMk id="5" creationId="{FE1A3A15-8A01-4080-FA18-22D1F9F0DEA5}"/>
          </ac:picMkLst>
        </pc:picChg>
        <pc:picChg chg="add del mod">
          <ac:chgData name="内山 裕弥" userId="8d34b9d0-ec49-418d-b1de-019cf6b56da5" providerId="ADAL" clId="{EE417D81-9D62-44B5-9A36-43CC1B66E142}" dt="2024-07-19T05:19:50.668" v="8097"/>
          <ac:picMkLst>
            <pc:docMk/>
            <pc:sldMk cId="112285639" sldId="2147378703"/>
            <ac:picMk id="8" creationId="{0466BE76-ED4C-E34B-64FC-482178DB1F72}"/>
          </ac:picMkLst>
        </pc:picChg>
        <pc:picChg chg="add del mod">
          <ac:chgData name="内山 裕弥" userId="8d34b9d0-ec49-418d-b1de-019cf6b56da5" providerId="ADAL" clId="{EE417D81-9D62-44B5-9A36-43CC1B66E142}" dt="2024-07-19T05:19:50.668" v="8097"/>
          <ac:picMkLst>
            <pc:docMk/>
            <pc:sldMk cId="112285639" sldId="2147378703"/>
            <ac:picMk id="9" creationId="{6E359903-7DE7-9141-4BE4-332E4020187F}"/>
          </ac:picMkLst>
        </pc:picChg>
        <pc:picChg chg="add mod ord">
          <ac:chgData name="内山 裕弥" userId="8d34b9d0-ec49-418d-b1de-019cf6b56da5" providerId="ADAL" clId="{EE417D81-9D62-44B5-9A36-43CC1B66E142}" dt="2024-07-19T05:19:54.057" v="8100" actId="167"/>
          <ac:picMkLst>
            <pc:docMk/>
            <pc:sldMk cId="112285639" sldId="2147378703"/>
            <ac:picMk id="12" creationId="{920D49B5-780A-0B0E-081E-8188B35BACC6}"/>
          </ac:picMkLst>
        </pc:picChg>
      </pc:sldChg>
      <pc:sldChg chg="addSp delSp modSp mod">
        <pc:chgData name="内山 裕弥" userId="8d34b9d0-ec49-418d-b1de-019cf6b56da5" providerId="ADAL" clId="{EE417D81-9D62-44B5-9A36-43CC1B66E142}" dt="2024-07-19T05:40:12.134" v="8590" actId="20577"/>
        <pc:sldMkLst>
          <pc:docMk/>
          <pc:sldMk cId="936371591" sldId="2147378704"/>
        </pc:sldMkLst>
        <pc:spChg chg="del mod">
          <ac:chgData name="内山 裕弥" userId="8d34b9d0-ec49-418d-b1de-019cf6b56da5" providerId="ADAL" clId="{EE417D81-9D62-44B5-9A36-43CC1B66E142}" dt="2024-07-19T05:39:54.075" v="8569" actId="478"/>
          <ac:spMkLst>
            <pc:docMk/>
            <pc:sldMk cId="936371591" sldId="2147378704"/>
            <ac:spMk id="6" creationId="{EE1A8DD0-7861-68AD-CE1F-C58C26FB75A7}"/>
          </ac:spMkLst>
        </pc:spChg>
        <pc:spChg chg="add mod">
          <ac:chgData name="内山 裕弥" userId="8d34b9d0-ec49-418d-b1de-019cf6b56da5" providerId="ADAL" clId="{EE417D81-9D62-44B5-9A36-43CC1B66E142}" dt="2024-07-19T05:40:12.134" v="8590" actId="20577"/>
          <ac:spMkLst>
            <pc:docMk/>
            <pc:sldMk cId="936371591" sldId="2147378704"/>
            <ac:spMk id="7" creationId="{91D9460F-1390-32F5-1B0E-70693C6D1EFA}"/>
          </ac:spMkLst>
        </pc:spChg>
      </pc:sldChg>
      <pc:sldChg chg="addSp delSp modSp mod">
        <pc:chgData name="内山 裕弥" userId="8d34b9d0-ec49-418d-b1de-019cf6b56da5" providerId="ADAL" clId="{EE417D81-9D62-44B5-9A36-43CC1B66E142}" dt="2024-07-19T11:09:42.960" v="9176" actId="20577"/>
        <pc:sldMkLst>
          <pc:docMk/>
          <pc:sldMk cId="439687747" sldId="2147378705"/>
        </pc:sldMkLst>
        <pc:spChg chg="del mod">
          <ac:chgData name="内山 裕弥" userId="8d34b9d0-ec49-418d-b1de-019cf6b56da5" providerId="ADAL" clId="{EE417D81-9D62-44B5-9A36-43CC1B66E142}" dt="2024-07-19T05:44:40.672" v="8797" actId="478"/>
          <ac:spMkLst>
            <pc:docMk/>
            <pc:sldMk cId="439687747" sldId="2147378705"/>
            <ac:spMk id="6" creationId="{51E1427A-1AD7-A39D-51B3-B200A147782B}"/>
          </ac:spMkLst>
        </pc:spChg>
        <pc:spChg chg="mod">
          <ac:chgData name="内山 裕弥" userId="8d34b9d0-ec49-418d-b1de-019cf6b56da5" providerId="ADAL" clId="{EE417D81-9D62-44B5-9A36-43CC1B66E142}" dt="2024-07-19T05:44:33.761" v="8792" actId="1076"/>
          <ac:spMkLst>
            <pc:docMk/>
            <pc:sldMk cId="439687747" sldId="2147378705"/>
            <ac:spMk id="8" creationId="{38333055-868E-3B45-D1A3-9ED0F6B26E6C}"/>
          </ac:spMkLst>
        </pc:spChg>
        <pc:spChg chg="add mod">
          <ac:chgData name="内山 裕弥" userId="8d34b9d0-ec49-418d-b1de-019cf6b56da5" providerId="ADAL" clId="{EE417D81-9D62-44B5-9A36-43CC1B66E142}" dt="2024-07-19T11:09:42.960" v="9176" actId="20577"/>
          <ac:spMkLst>
            <pc:docMk/>
            <pc:sldMk cId="439687747" sldId="2147378705"/>
            <ac:spMk id="11" creationId="{1A8F0DD0-8F45-CA15-6129-E1D2CD076C53}"/>
          </ac:spMkLst>
        </pc:spChg>
        <pc:grpChg chg="add mod">
          <ac:chgData name="内山 裕弥" userId="8d34b9d0-ec49-418d-b1de-019cf6b56da5" providerId="ADAL" clId="{EE417D81-9D62-44B5-9A36-43CC1B66E142}" dt="2024-07-19T05:44:33.761" v="8792" actId="1076"/>
          <ac:grpSpMkLst>
            <pc:docMk/>
            <pc:sldMk cId="439687747" sldId="2147378705"/>
            <ac:grpSpMk id="7" creationId="{C704F631-0929-C676-BDD4-CB82AEA6081F}"/>
          </ac:grpSpMkLst>
        </pc:grpChg>
        <pc:graphicFrameChg chg="add mod modGraphic">
          <ac:chgData name="内山 裕弥" userId="8d34b9d0-ec49-418d-b1de-019cf6b56da5" providerId="ADAL" clId="{EE417D81-9D62-44B5-9A36-43CC1B66E142}" dt="2024-07-19T11:07:07.167" v="9021" actId="207"/>
          <ac:graphicFrameMkLst>
            <pc:docMk/>
            <pc:sldMk cId="439687747" sldId="2147378705"/>
            <ac:graphicFrameMk id="2" creationId="{D78F7A95-31FB-06D3-5B63-5BEDF8ABCBC0}"/>
          </ac:graphicFrameMkLst>
        </pc:graphicFrameChg>
        <pc:cxnChg chg="mod">
          <ac:chgData name="内山 裕弥" userId="8d34b9d0-ec49-418d-b1de-019cf6b56da5" providerId="ADAL" clId="{EE417D81-9D62-44B5-9A36-43CC1B66E142}" dt="2024-07-19T05:44:33.761" v="8792" actId="1076"/>
          <ac:cxnSpMkLst>
            <pc:docMk/>
            <pc:sldMk cId="439687747" sldId="2147378705"/>
            <ac:cxnSpMk id="10" creationId="{6735B9E2-CEAA-B979-67C8-2554417B1CDE}"/>
          </ac:cxnSpMkLst>
        </pc:cxnChg>
      </pc:sldChg>
      <pc:sldChg chg="addSp modSp mod">
        <pc:chgData name="内山 裕弥" userId="8d34b9d0-ec49-418d-b1de-019cf6b56da5" providerId="ADAL" clId="{EE417D81-9D62-44B5-9A36-43CC1B66E142}" dt="2024-07-19T11:08:38.293" v="9124" actId="20577"/>
        <pc:sldMkLst>
          <pc:docMk/>
          <pc:sldMk cId="1075793544" sldId="2147378706"/>
        </pc:sldMkLst>
        <pc:spChg chg="mod">
          <ac:chgData name="内山 裕弥" userId="8d34b9d0-ec49-418d-b1de-019cf6b56da5" providerId="ADAL" clId="{EE417D81-9D62-44B5-9A36-43CC1B66E142}" dt="2024-07-19T11:07:24.040" v="9024" actId="1076"/>
          <ac:spMkLst>
            <pc:docMk/>
            <pc:sldMk cId="1075793544" sldId="2147378706"/>
            <ac:spMk id="6" creationId="{9FFD2353-EF62-BFA0-5B44-F7ABF536D584}"/>
          </ac:spMkLst>
        </pc:spChg>
        <pc:spChg chg="add mod">
          <ac:chgData name="内山 裕弥" userId="8d34b9d0-ec49-418d-b1de-019cf6b56da5" providerId="ADAL" clId="{EE417D81-9D62-44B5-9A36-43CC1B66E142}" dt="2024-07-19T11:08:23.418" v="9065" actId="14100"/>
          <ac:spMkLst>
            <pc:docMk/>
            <pc:sldMk cId="1075793544" sldId="2147378706"/>
            <ac:spMk id="8" creationId="{01D4BCA7-C89A-20E2-6428-C51A003E8B36}"/>
          </ac:spMkLst>
        </pc:spChg>
        <pc:spChg chg="add mod">
          <ac:chgData name="内山 裕弥" userId="8d34b9d0-ec49-418d-b1de-019cf6b56da5" providerId="ADAL" clId="{EE417D81-9D62-44B5-9A36-43CC1B66E142}" dt="2024-07-19T11:07:24.040" v="9024" actId="1076"/>
          <ac:spMkLst>
            <pc:docMk/>
            <pc:sldMk cId="1075793544" sldId="2147378706"/>
            <ac:spMk id="10" creationId="{C6836692-CDAE-C475-A8B0-1602682A1D72}"/>
          </ac:spMkLst>
        </pc:spChg>
        <pc:spChg chg="add mod">
          <ac:chgData name="内山 裕弥" userId="8d34b9d0-ec49-418d-b1de-019cf6b56da5" providerId="ADAL" clId="{EE417D81-9D62-44B5-9A36-43CC1B66E142}" dt="2024-07-19T11:08:23.418" v="9065" actId="14100"/>
          <ac:spMkLst>
            <pc:docMk/>
            <pc:sldMk cId="1075793544" sldId="2147378706"/>
            <ac:spMk id="11" creationId="{F671E48A-0AEB-34DC-C9B0-947ACB9BE53F}"/>
          </ac:spMkLst>
        </pc:spChg>
        <pc:spChg chg="add mod">
          <ac:chgData name="内山 裕弥" userId="8d34b9d0-ec49-418d-b1de-019cf6b56da5" providerId="ADAL" clId="{EE417D81-9D62-44B5-9A36-43CC1B66E142}" dt="2024-07-19T11:07:24.040" v="9024" actId="1076"/>
          <ac:spMkLst>
            <pc:docMk/>
            <pc:sldMk cId="1075793544" sldId="2147378706"/>
            <ac:spMk id="12" creationId="{F1215F89-A0A0-AB28-F8E7-84581D64B7EE}"/>
          </ac:spMkLst>
        </pc:spChg>
        <pc:spChg chg="add mod">
          <ac:chgData name="内山 裕弥" userId="8d34b9d0-ec49-418d-b1de-019cf6b56da5" providerId="ADAL" clId="{EE417D81-9D62-44B5-9A36-43CC1B66E142}" dt="2024-07-19T11:08:23.418" v="9065" actId="14100"/>
          <ac:spMkLst>
            <pc:docMk/>
            <pc:sldMk cId="1075793544" sldId="2147378706"/>
            <ac:spMk id="13" creationId="{DD2FC9B4-133C-45AC-F63A-4DA5444194C1}"/>
          </ac:spMkLst>
        </pc:spChg>
        <pc:spChg chg="add mod">
          <ac:chgData name="内山 裕弥" userId="8d34b9d0-ec49-418d-b1de-019cf6b56da5" providerId="ADAL" clId="{EE417D81-9D62-44B5-9A36-43CC1B66E142}" dt="2024-07-19T11:07:24.040" v="9024" actId="1076"/>
          <ac:spMkLst>
            <pc:docMk/>
            <pc:sldMk cId="1075793544" sldId="2147378706"/>
            <ac:spMk id="14" creationId="{85688145-F176-E15B-9ADA-FF1D4E4EAD73}"/>
          </ac:spMkLst>
        </pc:spChg>
        <pc:spChg chg="add mod">
          <ac:chgData name="内山 裕弥" userId="8d34b9d0-ec49-418d-b1de-019cf6b56da5" providerId="ADAL" clId="{EE417D81-9D62-44B5-9A36-43CC1B66E142}" dt="2024-07-19T11:08:23.418" v="9065" actId="14100"/>
          <ac:spMkLst>
            <pc:docMk/>
            <pc:sldMk cId="1075793544" sldId="2147378706"/>
            <ac:spMk id="15" creationId="{9CA01B65-AA7F-E153-53A0-22F4C72906C9}"/>
          </ac:spMkLst>
        </pc:spChg>
        <pc:spChg chg="add mod">
          <ac:chgData name="内山 裕弥" userId="8d34b9d0-ec49-418d-b1de-019cf6b56da5" providerId="ADAL" clId="{EE417D81-9D62-44B5-9A36-43CC1B66E142}" dt="2024-07-19T11:07:24.040" v="9024" actId="1076"/>
          <ac:spMkLst>
            <pc:docMk/>
            <pc:sldMk cId="1075793544" sldId="2147378706"/>
            <ac:spMk id="16" creationId="{4ED0277C-A056-D022-829C-561BA5F238E4}"/>
          </ac:spMkLst>
        </pc:spChg>
        <pc:spChg chg="add mod">
          <ac:chgData name="内山 裕弥" userId="8d34b9d0-ec49-418d-b1de-019cf6b56da5" providerId="ADAL" clId="{EE417D81-9D62-44B5-9A36-43CC1B66E142}" dt="2024-07-19T11:08:23.418" v="9065" actId="14100"/>
          <ac:spMkLst>
            <pc:docMk/>
            <pc:sldMk cId="1075793544" sldId="2147378706"/>
            <ac:spMk id="20" creationId="{E8836C59-B8B6-C85D-E010-EBC8663348AC}"/>
          </ac:spMkLst>
        </pc:spChg>
        <pc:spChg chg="add mod">
          <ac:chgData name="内山 裕弥" userId="8d34b9d0-ec49-418d-b1de-019cf6b56da5" providerId="ADAL" clId="{EE417D81-9D62-44B5-9A36-43CC1B66E142}" dt="2024-07-19T11:07:24.040" v="9024" actId="1076"/>
          <ac:spMkLst>
            <pc:docMk/>
            <pc:sldMk cId="1075793544" sldId="2147378706"/>
            <ac:spMk id="21" creationId="{8B2388F4-8880-EE2F-03BB-997FC1E6C222}"/>
          </ac:spMkLst>
        </pc:spChg>
        <pc:spChg chg="add mod">
          <ac:chgData name="内山 裕弥" userId="8d34b9d0-ec49-418d-b1de-019cf6b56da5" providerId="ADAL" clId="{EE417D81-9D62-44B5-9A36-43CC1B66E142}" dt="2024-07-19T11:08:23.418" v="9065" actId="14100"/>
          <ac:spMkLst>
            <pc:docMk/>
            <pc:sldMk cId="1075793544" sldId="2147378706"/>
            <ac:spMk id="22" creationId="{9D9B6B73-E941-4FB2-6F67-6D2282E2F654}"/>
          </ac:spMkLst>
        </pc:spChg>
        <pc:spChg chg="add mod">
          <ac:chgData name="内山 裕弥" userId="8d34b9d0-ec49-418d-b1de-019cf6b56da5" providerId="ADAL" clId="{EE417D81-9D62-44B5-9A36-43CC1B66E142}" dt="2024-07-19T11:07:24.040" v="9024" actId="1076"/>
          <ac:spMkLst>
            <pc:docMk/>
            <pc:sldMk cId="1075793544" sldId="2147378706"/>
            <ac:spMk id="23" creationId="{40803D02-B102-890E-D54A-16FBEA6E318B}"/>
          </ac:spMkLst>
        </pc:spChg>
        <pc:spChg chg="add mod">
          <ac:chgData name="内山 裕弥" userId="8d34b9d0-ec49-418d-b1de-019cf6b56da5" providerId="ADAL" clId="{EE417D81-9D62-44B5-9A36-43CC1B66E142}" dt="2024-07-19T11:08:23.418" v="9065" actId="14100"/>
          <ac:spMkLst>
            <pc:docMk/>
            <pc:sldMk cId="1075793544" sldId="2147378706"/>
            <ac:spMk id="24" creationId="{282F57DD-EF41-A330-6783-2B46B29B454B}"/>
          </ac:spMkLst>
        </pc:spChg>
        <pc:spChg chg="add mod">
          <ac:chgData name="内山 裕弥" userId="8d34b9d0-ec49-418d-b1de-019cf6b56da5" providerId="ADAL" clId="{EE417D81-9D62-44B5-9A36-43CC1B66E142}" dt="2024-07-19T11:07:24.040" v="9024" actId="1076"/>
          <ac:spMkLst>
            <pc:docMk/>
            <pc:sldMk cId="1075793544" sldId="2147378706"/>
            <ac:spMk id="25" creationId="{E4B5370A-7499-03A1-CF77-0E693D5DDE7E}"/>
          </ac:spMkLst>
        </pc:spChg>
        <pc:spChg chg="add mod">
          <ac:chgData name="内山 裕弥" userId="8d34b9d0-ec49-418d-b1de-019cf6b56da5" providerId="ADAL" clId="{EE417D81-9D62-44B5-9A36-43CC1B66E142}" dt="2024-07-19T11:08:23.418" v="9065" actId="14100"/>
          <ac:spMkLst>
            <pc:docMk/>
            <pc:sldMk cId="1075793544" sldId="2147378706"/>
            <ac:spMk id="26" creationId="{5E459C84-978B-D044-BE65-FCB09332A3B0}"/>
          </ac:spMkLst>
        </pc:spChg>
        <pc:spChg chg="add mod">
          <ac:chgData name="内山 裕弥" userId="8d34b9d0-ec49-418d-b1de-019cf6b56da5" providerId="ADAL" clId="{EE417D81-9D62-44B5-9A36-43CC1B66E142}" dt="2024-07-19T11:07:24.040" v="9024" actId="1076"/>
          <ac:spMkLst>
            <pc:docMk/>
            <pc:sldMk cId="1075793544" sldId="2147378706"/>
            <ac:spMk id="27" creationId="{C5731C2D-659C-4328-D18C-83B7B6BBC6DF}"/>
          </ac:spMkLst>
        </pc:spChg>
        <pc:spChg chg="add mod">
          <ac:chgData name="内山 裕弥" userId="8d34b9d0-ec49-418d-b1de-019cf6b56da5" providerId="ADAL" clId="{EE417D81-9D62-44B5-9A36-43CC1B66E142}" dt="2024-07-19T11:08:23.418" v="9065" actId="14100"/>
          <ac:spMkLst>
            <pc:docMk/>
            <pc:sldMk cId="1075793544" sldId="2147378706"/>
            <ac:spMk id="28" creationId="{55864B40-97CF-F0B3-B2B5-B6FFCF2C3E5B}"/>
          </ac:spMkLst>
        </pc:spChg>
        <pc:spChg chg="add mod">
          <ac:chgData name="内山 裕弥" userId="8d34b9d0-ec49-418d-b1de-019cf6b56da5" providerId="ADAL" clId="{EE417D81-9D62-44B5-9A36-43CC1B66E142}" dt="2024-07-19T11:07:24.040" v="9024" actId="1076"/>
          <ac:spMkLst>
            <pc:docMk/>
            <pc:sldMk cId="1075793544" sldId="2147378706"/>
            <ac:spMk id="29" creationId="{6066413C-AE1D-EB1F-F755-AA17280E6D6B}"/>
          </ac:spMkLst>
        </pc:spChg>
        <pc:spChg chg="add mod">
          <ac:chgData name="内山 裕弥" userId="8d34b9d0-ec49-418d-b1de-019cf6b56da5" providerId="ADAL" clId="{EE417D81-9D62-44B5-9A36-43CC1B66E142}" dt="2024-07-19T11:08:23.418" v="9065" actId="14100"/>
          <ac:spMkLst>
            <pc:docMk/>
            <pc:sldMk cId="1075793544" sldId="2147378706"/>
            <ac:spMk id="30" creationId="{73C2D3B9-B7E8-F47D-F1E3-D52A1C96AB7D}"/>
          </ac:spMkLst>
        </pc:spChg>
        <pc:spChg chg="add mod">
          <ac:chgData name="内山 裕弥" userId="8d34b9d0-ec49-418d-b1de-019cf6b56da5" providerId="ADAL" clId="{EE417D81-9D62-44B5-9A36-43CC1B66E142}" dt="2024-07-19T11:07:24.040" v="9024" actId="1076"/>
          <ac:spMkLst>
            <pc:docMk/>
            <pc:sldMk cId="1075793544" sldId="2147378706"/>
            <ac:spMk id="31" creationId="{26A09F49-1E75-5FA2-7FCE-7166D389CEA9}"/>
          </ac:spMkLst>
        </pc:spChg>
        <pc:spChg chg="add mod">
          <ac:chgData name="内山 裕弥" userId="8d34b9d0-ec49-418d-b1de-019cf6b56da5" providerId="ADAL" clId="{EE417D81-9D62-44B5-9A36-43CC1B66E142}" dt="2024-07-19T11:08:10.903" v="9062" actId="14100"/>
          <ac:spMkLst>
            <pc:docMk/>
            <pc:sldMk cId="1075793544" sldId="2147378706"/>
            <ac:spMk id="33" creationId="{0B64D96B-A150-F2DE-7473-4CD8D8C60016}"/>
          </ac:spMkLst>
        </pc:spChg>
        <pc:spChg chg="add mod">
          <ac:chgData name="内山 裕弥" userId="8d34b9d0-ec49-418d-b1de-019cf6b56da5" providerId="ADAL" clId="{EE417D81-9D62-44B5-9A36-43CC1B66E142}" dt="2024-07-19T11:07:24.040" v="9024" actId="1076"/>
          <ac:spMkLst>
            <pc:docMk/>
            <pc:sldMk cId="1075793544" sldId="2147378706"/>
            <ac:spMk id="34" creationId="{A7CA29C7-B260-867A-6467-CB38E6F69C54}"/>
          </ac:spMkLst>
        </pc:spChg>
        <pc:spChg chg="add mod">
          <ac:chgData name="内山 裕弥" userId="8d34b9d0-ec49-418d-b1de-019cf6b56da5" providerId="ADAL" clId="{EE417D81-9D62-44B5-9A36-43CC1B66E142}" dt="2024-07-19T11:08:10.903" v="9062" actId="14100"/>
          <ac:spMkLst>
            <pc:docMk/>
            <pc:sldMk cId="1075793544" sldId="2147378706"/>
            <ac:spMk id="36" creationId="{80884C5C-1F6D-E162-A074-F65661FD98B3}"/>
          </ac:spMkLst>
        </pc:spChg>
        <pc:spChg chg="add mod">
          <ac:chgData name="内山 裕弥" userId="8d34b9d0-ec49-418d-b1de-019cf6b56da5" providerId="ADAL" clId="{EE417D81-9D62-44B5-9A36-43CC1B66E142}" dt="2024-07-19T11:07:24.040" v="9024" actId="1076"/>
          <ac:spMkLst>
            <pc:docMk/>
            <pc:sldMk cId="1075793544" sldId="2147378706"/>
            <ac:spMk id="37" creationId="{1DE1309E-B0E0-21F8-EF43-640ECB6D56F5}"/>
          </ac:spMkLst>
        </pc:spChg>
        <pc:spChg chg="add mod">
          <ac:chgData name="内山 裕弥" userId="8d34b9d0-ec49-418d-b1de-019cf6b56da5" providerId="ADAL" clId="{EE417D81-9D62-44B5-9A36-43CC1B66E142}" dt="2024-07-19T11:08:10.903" v="9062" actId="14100"/>
          <ac:spMkLst>
            <pc:docMk/>
            <pc:sldMk cId="1075793544" sldId="2147378706"/>
            <ac:spMk id="38" creationId="{F1D12892-50BC-B332-CA0D-537FABFF159B}"/>
          </ac:spMkLst>
        </pc:spChg>
        <pc:spChg chg="add mod">
          <ac:chgData name="内山 裕弥" userId="8d34b9d0-ec49-418d-b1de-019cf6b56da5" providerId="ADAL" clId="{EE417D81-9D62-44B5-9A36-43CC1B66E142}" dt="2024-07-19T11:07:24.040" v="9024" actId="1076"/>
          <ac:spMkLst>
            <pc:docMk/>
            <pc:sldMk cId="1075793544" sldId="2147378706"/>
            <ac:spMk id="39" creationId="{16E41540-A219-2419-B67C-A2AE13CFB814}"/>
          </ac:spMkLst>
        </pc:spChg>
        <pc:spChg chg="add mod">
          <ac:chgData name="内山 裕弥" userId="8d34b9d0-ec49-418d-b1de-019cf6b56da5" providerId="ADAL" clId="{EE417D81-9D62-44B5-9A36-43CC1B66E142}" dt="2024-07-19T11:08:23.418" v="9065" actId="14100"/>
          <ac:spMkLst>
            <pc:docMk/>
            <pc:sldMk cId="1075793544" sldId="2147378706"/>
            <ac:spMk id="40" creationId="{C2888749-FFD2-DC62-AABB-61DFA8B597C7}"/>
          </ac:spMkLst>
        </pc:spChg>
        <pc:spChg chg="add mod">
          <ac:chgData name="内山 裕弥" userId="8d34b9d0-ec49-418d-b1de-019cf6b56da5" providerId="ADAL" clId="{EE417D81-9D62-44B5-9A36-43CC1B66E142}" dt="2024-07-19T11:07:24.040" v="9024" actId="1076"/>
          <ac:spMkLst>
            <pc:docMk/>
            <pc:sldMk cId="1075793544" sldId="2147378706"/>
            <ac:spMk id="41" creationId="{2249E747-F546-ABD1-FC84-71B243C4B29B}"/>
          </ac:spMkLst>
        </pc:spChg>
        <pc:spChg chg="add mod">
          <ac:chgData name="内山 裕弥" userId="8d34b9d0-ec49-418d-b1de-019cf6b56da5" providerId="ADAL" clId="{EE417D81-9D62-44B5-9A36-43CC1B66E142}" dt="2024-07-19T11:08:10.903" v="9062" actId="14100"/>
          <ac:spMkLst>
            <pc:docMk/>
            <pc:sldMk cId="1075793544" sldId="2147378706"/>
            <ac:spMk id="44" creationId="{11FC1E08-94B3-8FE9-9E3E-BC734176F0F1}"/>
          </ac:spMkLst>
        </pc:spChg>
        <pc:spChg chg="add mod">
          <ac:chgData name="内山 裕弥" userId="8d34b9d0-ec49-418d-b1de-019cf6b56da5" providerId="ADAL" clId="{EE417D81-9D62-44B5-9A36-43CC1B66E142}" dt="2024-07-19T11:07:24.040" v="9024" actId="1076"/>
          <ac:spMkLst>
            <pc:docMk/>
            <pc:sldMk cId="1075793544" sldId="2147378706"/>
            <ac:spMk id="45" creationId="{A34458C2-FB11-5CAF-BCC4-3B2308FFD976}"/>
          </ac:spMkLst>
        </pc:spChg>
        <pc:spChg chg="add mod">
          <ac:chgData name="内山 裕弥" userId="8d34b9d0-ec49-418d-b1de-019cf6b56da5" providerId="ADAL" clId="{EE417D81-9D62-44B5-9A36-43CC1B66E142}" dt="2024-07-19T11:08:10.903" v="9062" actId="14100"/>
          <ac:spMkLst>
            <pc:docMk/>
            <pc:sldMk cId="1075793544" sldId="2147378706"/>
            <ac:spMk id="46" creationId="{EAE7E9A2-9C75-5C55-3083-CF8CFC02DB28}"/>
          </ac:spMkLst>
        </pc:spChg>
        <pc:spChg chg="add mod">
          <ac:chgData name="内山 裕弥" userId="8d34b9d0-ec49-418d-b1de-019cf6b56da5" providerId="ADAL" clId="{EE417D81-9D62-44B5-9A36-43CC1B66E142}" dt="2024-07-19T11:07:24.040" v="9024" actId="1076"/>
          <ac:spMkLst>
            <pc:docMk/>
            <pc:sldMk cId="1075793544" sldId="2147378706"/>
            <ac:spMk id="47" creationId="{A43E12AD-B2EB-E739-14BE-B941DFF7D18A}"/>
          </ac:spMkLst>
        </pc:spChg>
        <pc:spChg chg="add mod">
          <ac:chgData name="内山 裕弥" userId="8d34b9d0-ec49-418d-b1de-019cf6b56da5" providerId="ADAL" clId="{EE417D81-9D62-44B5-9A36-43CC1B66E142}" dt="2024-07-19T11:08:10.903" v="9062" actId="14100"/>
          <ac:spMkLst>
            <pc:docMk/>
            <pc:sldMk cId="1075793544" sldId="2147378706"/>
            <ac:spMk id="48" creationId="{C80863E0-C0EC-A8A5-0450-8E2D5C9CF665}"/>
          </ac:spMkLst>
        </pc:spChg>
        <pc:spChg chg="add mod">
          <ac:chgData name="内山 裕弥" userId="8d34b9d0-ec49-418d-b1de-019cf6b56da5" providerId="ADAL" clId="{EE417D81-9D62-44B5-9A36-43CC1B66E142}" dt="2024-07-19T11:07:24.040" v="9024" actId="1076"/>
          <ac:spMkLst>
            <pc:docMk/>
            <pc:sldMk cId="1075793544" sldId="2147378706"/>
            <ac:spMk id="49" creationId="{A0D0579C-20A3-6CB7-7884-53E4873AFC1C}"/>
          </ac:spMkLst>
        </pc:spChg>
        <pc:spChg chg="add mod">
          <ac:chgData name="内山 裕弥" userId="8d34b9d0-ec49-418d-b1de-019cf6b56da5" providerId="ADAL" clId="{EE417D81-9D62-44B5-9A36-43CC1B66E142}" dt="2024-07-19T11:08:10.903" v="9062" actId="14100"/>
          <ac:spMkLst>
            <pc:docMk/>
            <pc:sldMk cId="1075793544" sldId="2147378706"/>
            <ac:spMk id="54" creationId="{257CE3ED-27EF-8BB9-8AC6-A65A773D1B5F}"/>
          </ac:spMkLst>
        </pc:spChg>
        <pc:spChg chg="add mod">
          <ac:chgData name="内山 裕弥" userId="8d34b9d0-ec49-418d-b1de-019cf6b56da5" providerId="ADAL" clId="{EE417D81-9D62-44B5-9A36-43CC1B66E142}" dt="2024-07-19T11:07:24.040" v="9024" actId="1076"/>
          <ac:spMkLst>
            <pc:docMk/>
            <pc:sldMk cId="1075793544" sldId="2147378706"/>
            <ac:spMk id="55" creationId="{3A150D87-5B38-9F6A-05D1-4FD2C26D10CF}"/>
          </ac:spMkLst>
        </pc:spChg>
        <pc:spChg chg="add mod">
          <ac:chgData name="内山 裕弥" userId="8d34b9d0-ec49-418d-b1de-019cf6b56da5" providerId="ADAL" clId="{EE417D81-9D62-44B5-9A36-43CC1B66E142}" dt="2024-07-19T11:08:10.903" v="9062" actId="14100"/>
          <ac:spMkLst>
            <pc:docMk/>
            <pc:sldMk cId="1075793544" sldId="2147378706"/>
            <ac:spMk id="56" creationId="{E7A256B4-413F-307C-5439-6870A4ACBCED}"/>
          </ac:spMkLst>
        </pc:spChg>
        <pc:spChg chg="add mod">
          <ac:chgData name="内山 裕弥" userId="8d34b9d0-ec49-418d-b1de-019cf6b56da5" providerId="ADAL" clId="{EE417D81-9D62-44B5-9A36-43CC1B66E142}" dt="2024-07-19T11:07:24.040" v="9024" actId="1076"/>
          <ac:spMkLst>
            <pc:docMk/>
            <pc:sldMk cId="1075793544" sldId="2147378706"/>
            <ac:spMk id="57" creationId="{7FADCBDB-26FF-BE72-8F14-BA953AD29C27}"/>
          </ac:spMkLst>
        </pc:spChg>
        <pc:spChg chg="add mod">
          <ac:chgData name="内山 裕弥" userId="8d34b9d0-ec49-418d-b1de-019cf6b56da5" providerId="ADAL" clId="{EE417D81-9D62-44B5-9A36-43CC1B66E142}" dt="2024-07-19T11:07:24.040" v="9024" actId="1076"/>
          <ac:spMkLst>
            <pc:docMk/>
            <pc:sldMk cId="1075793544" sldId="2147378706"/>
            <ac:spMk id="58" creationId="{C9BFE387-081A-F493-758E-0F6BD91A7288}"/>
          </ac:spMkLst>
        </pc:spChg>
        <pc:spChg chg="add mod">
          <ac:chgData name="内山 裕弥" userId="8d34b9d0-ec49-418d-b1de-019cf6b56da5" providerId="ADAL" clId="{EE417D81-9D62-44B5-9A36-43CC1B66E142}" dt="2024-07-19T11:08:10.903" v="9062" actId="14100"/>
          <ac:spMkLst>
            <pc:docMk/>
            <pc:sldMk cId="1075793544" sldId="2147378706"/>
            <ac:spMk id="59" creationId="{814DB610-F1B5-FED4-96F6-356A96984752}"/>
          </ac:spMkLst>
        </pc:spChg>
        <pc:spChg chg="add mod">
          <ac:chgData name="内山 裕弥" userId="8d34b9d0-ec49-418d-b1de-019cf6b56da5" providerId="ADAL" clId="{EE417D81-9D62-44B5-9A36-43CC1B66E142}" dt="2024-07-19T11:07:24.040" v="9024" actId="1076"/>
          <ac:spMkLst>
            <pc:docMk/>
            <pc:sldMk cId="1075793544" sldId="2147378706"/>
            <ac:spMk id="60" creationId="{3FBE18F8-DF94-8BCA-4933-9DC0688EE117}"/>
          </ac:spMkLst>
        </pc:spChg>
        <pc:spChg chg="add mod">
          <ac:chgData name="内山 裕弥" userId="8d34b9d0-ec49-418d-b1de-019cf6b56da5" providerId="ADAL" clId="{EE417D81-9D62-44B5-9A36-43CC1B66E142}" dt="2024-07-19T11:08:38.293" v="9124" actId="20577"/>
          <ac:spMkLst>
            <pc:docMk/>
            <pc:sldMk cId="1075793544" sldId="2147378706"/>
            <ac:spMk id="76" creationId="{B279D241-48ED-92D0-EE51-7E1DABF5D8E2}"/>
          </ac:spMkLst>
        </pc:spChg>
        <pc:grpChg chg="add mod">
          <ac:chgData name="内山 裕弥" userId="8d34b9d0-ec49-418d-b1de-019cf6b56da5" providerId="ADAL" clId="{EE417D81-9D62-44B5-9A36-43CC1B66E142}" dt="2024-07-19T11:07:24.040" v="9024" actId="1076"/>
          <ac:grpSpMkLst>
            <pc:docMk/>
            <pc:sldMk cId="1075793544" sldId="2147378706"/>
            <ac:grpSpMk id="2" creationId="{372A3CF7-5B7A-0B5D-9138-971927D27558}"/>
          </ac:grpSpMkLst>
        </pc:grpChg>
        <pc:cxnChg chg="mod">
          <ac:chgData name="内山 裕弥" userId="8d34b9d0-ec49-418d-b1de-019cf6b56da5" providerId="ADAL" clId="{EE417D81-9D62-44B5-9A36-43CC1B66E142}" dt="2024-07-19T11:07:24.040" v="9024" actId="1076"/>
          <ac:cxnSpMkLst>
            <pc:docMk/>
            <pc:sldMk cId="1075793544" sldId="2147378706"/>
            <ac:cxnSpMk id="7" creationId="{21A3E467-6F88-7859-37D3-00A944DAABE1}"/>
          </ac:cxnSpMkLst>
        </pc:cxnChg>
        <pc:cxnChg chg="add mod">
          <ac:chgData name="内山 裕弥" userId="8d34b9d0-ec49-418d-b1de-019cf6b56da5" providerId="ADAL" clId="{EE417D81-9D62-44B5-9A36-43CC1B66E142}" dt="2024-07-19T11:08:23.418" v="9065" actId="14100"/>
          <ac:cxnSpMkLst>
            <pc:docMk/>
            <pc:sldMk cId="1075793544" sldId="2147378706"/>
            <ac:cxnSpMk id="17" creationId="{B33F1110-77B4-AF22-55D7-F4851EF459EE}"/>
          </ac:cxnSpMkLst>
        </pc:cxnChg>
        <pc:cxnChg chg="add mod">
          <ac:chgData name="内山 裕弥" userId="8d34b9d0-ec49-418d-b1de-019cf6b56da5" providerId="ADAL" clId="{EE417D81-9D62-44B5-9A36-43CC1B66E142}" dt="2024-07-19T11:08:23.418" v="9065" actId="14100"/>
          <ac:cxnSpMkLst>
            <pc:docMk/>
            <pc:sldMk cId="1075793544" sldId="2147378706"/>
            <ac:cxnSpMk id="18" creationId="{891B5930-A38E-A0C5-BE51-42817003E8A5}"/>
          </ac:cxnSpMkLst>
        </pc:cxnChg>
        <pc:cxnChg chg="add mod">
          <ac:chgData name="内山 裕弥" userId="8d34b9d0-ec49-418d-b1de-019cf6b56da5" providerId="ADAL" clId="{EE417D81-9D62-44B5-9A36-43CC1B66E142}" dt="2024-07-19T11:08:23.418" v="9065" actId="14100"/>
          <ac:cxnSpMkLst>
            <pc:docMk/>
            <pc:sldMk cId="1075793544" sldId="2147378706"/>
            <ac:cxnSpMk id="19" creationId="{A844BD0C-0A40-51E8-A09A-D30427306A66}"/>
          </ac:cxnSpMkLst>
        </pc:cxnChg>
        <pc:cxnChg chg="add mod">
          <ac:chgData name="内山 裕弥" userId="8d34b9d0-ec49-418d-b1de-019cf6b56da5" providerId="ADAL" clId="{EE417D81-9D62-44B5-9A36-43CC1B66E142}" dt="2024-07-19T11:08:23.418" v="9065" actId="14100"/>
          <ac:cxnSpMkLst>
            <pc:docMk/>
            <pc:sldMk cId="1075793544" sldId="2147378706"/>
            <ac:cxnSpMk id="32" creationId="{E759765E-E000-B6F8-7FD9-0B57C3A2ABBD}"/>
          </ac:cxnSpMkLst>
        </pc:cxnChg>
        <pc:cxnChg chg="add mod">
          <ac:chgData name="内山 裕弥" userId="8d34b9d0-ec49-418d-b1de-019cf6b56da5" providerId="ADAL" clId="{EE417D81-9D62-44B5-9A36-43CC1B66E142}" dt="2024-07-19T11:08:23.418" v="9065" actId="14100"/>
          <ac:cxnSpMkLst>
            <pc:docMk/>
            <pc:sldMk cId="1075793544" sldId="2147378706"/>
            <ac:cxnSpMk id="35" creationId="{40F97130-3434-E197-FDD8-0A50B799631A}"/>
          </ac:cxnSpMkLst>
        </pc:cxnChg>
        <pc:cxnChg chg="add mod">
          <ac:chgData name="内山 裕弥" userId="8d34b9d0-ec49-418d-b1de-019cf6b56da5" providerId="ADAL" clId="{EE417D81-9D62-44B5-9A36-43CC1B66E142}" dt="2024-07-19T11:08:23.418" v="9065" actId="14100"/>
          <ac:cxnSpMkLst>
            <pc:docMk/>
            <pc:sldMk cId="1075793544" sldId="2147378706"/>
            <ac:cxnSpMk id="42" creationId="{9B4560C3-E523-8803-F24F-44C0F6BB8B8F}"/>
          </ac:cxnSpMkLst>
        </pc:cxnChg>
        <pc:cxnChg chg="add mod">
          <ac:chgData name="内山 裕弥" userId="8d34b9d0-ec49-418d-b1de-019cf6b56da5" providerId="ADAL" clId="{EE417D81-9D62-44B5-9A36-43CC1B66E142}" dt="2024-07-19T11:08:10.903" v="9062" actId="14100"/>
          <ac:cxnSpMkLst>
            <pc:docMk/>
            <pc:sldMk cId="1075793544" sldId="2147378706"/>
            <ac:cxnSpMk id="43" creationId="{C09F7C0D-715C-1DE6-CA70-0114A80EE9E6}"/>
          </ac:cxnSpMkLst>
        </pc:cxnChg>
        <pc:cxnChg chg="add mod">
          <ac:chgData name="内山 裕弥" userId="8d34b9d0-ec49-418d-b1de-019cf6b56da5" providerId="ADAL" clId="{EE417D81-9D62-44B5-9A36-43CC1B66E142}" dt="2024-07-19T11:08:10.903" v="9062" actId="14100"/>
          <ac:cxnSpMkLst>
            <pc:docMk/>
            <pc:sldMk cId="1075793544" sldId="2147378706"/>
            <ac:cxnSpMk id="50" creationId="{70D243EA-17DF-865D-55F4-DDB86E3FC409}"/>
          </ac:cxnSpMkLst>
        </pc:cxnChg>
        <pc:cxnChg chg="add mod">
          <ac:chgData name="内山 裕弥" userId="8d34b9d0-ec49-418d-b1de-019cf6b56da5" providerId="ADAL" clId="{EE417D81-9D62-44B5-9A36-43CC1B66E142}" dt="2024-07-19T11:08:10.903" v="9062" actId="14100"/>
          <ac:cxnSpMkLst>
            <pc:docMk/>
            <pc:sldMk cId="1075793544" sldId="2147378706"/>
            <ac:cxnSpMk id="51" creationId="{89F55B38-D3AD-5356-0792-1365F2725CD9}"/>
          </ac:cxnSpMkLst>
        </pc:cxnChg>
        <pc:cxnChg chg="add mod">
          <ac:chgData name="内山 裕弥" userId="8d34b9d0-ec49-418d-b1de-019cf6b56da5" providerId="ADAL" clId="{EE417D81-9D62-44B5-9A36-43CC1B66E142}" dt="2024-07-19T11:08:23.418" v="9065" actId="14100"/>
          <ac:cxnSpMkLst>
            <pc:docMk/>
            <pc:sldMk cId="1075793544" sldId="2147378706"/>
            <ac:cxnSpMk id="52" creationId="{66B9DD1B-C64B-4F75-5CF8-B98CD9A23B09}"/>
          </ac:cxnSpMkLst>
        </pc:cxnChg>
        <pc:cxnChg chg="add mod">
          <ac:chgData name="内山 裕弥" userId="8d34b9d0-ec49-418d-b1de-019cf6b56da5" providerId="ADAL" clId="{EE417D81-9D62-44B5-9A36-43CC1B66E142}" dt="2024-07-19T11:08:10.903" v="9062" actId="14100"/>
          <ac:cxnSpMkLst>
            <pc:docMk/>
            <pc:sldMk cId="1075793544" sldId="2147378706"/>
            <ac:cxnSpMk id="53" creationId="{BE418135-FB4D-DCAA-9BF1-13BC0FEA9AAB}"/>
          </ac:cxnSpMkLst>
        </pc:cxnChg>
        <pc:cxnChg chg="add mod">
          <ac:chgData name="内山 裕弥" userId="8d34b9d0-ec49-418d-b1de-019cf6b56da5" providerId="ADAL" clId="{EE417D81-9D62-44B5-9A36-43CC1B66E142}" dt="2024-07-19T11:08:10.903" v="9062" actId="14100"/>
          <ac:cxnSpMkLst>
            <pc:docMk/>
            <pc:sldMk cId="1075793544" sldId="2147378706"/>
            <ac:cxnSpMk id="61" creationId="{8294B53B-40A2-5BE4-9CB0-796238DAF687}"/>
          </ac:cxnSpMkLst>
        </pc:cxnChg>
        <pc:cxnChg chg="add mod">
          <ac:chgData name="内山 裕弥" userId="8d34b9d0-ec49-418d-b1de-019cf6b56da5" providerId="ADAL" clId="{EE417D81-9D62-44B5-9A36-43CC1B66E142}" dt="2024-07-19T11:08:10.903" v="9062" actId="14100"/>
          <ac:cxnSpMkLst>
            <pc:docMk/>
            <pc:sldMk cId="1075793544" sldId="2147378706"/>
            <ac:cxnSpMk id="62" creationId="{535A823C-A292-AD77-1929-6FC5127AA2E1}"/>
          </ac:cxnSpMkLst>
        </pc:cxnChg>
      </pc:sldChg>
      <pc:sldChg chg="addSp delSp modSp mod">
        <pc:chgData name="内山 裕弥" userId="8d34b9d0-ec49-418d-b1de-019cf6b56da5" providerId="ADAL" clId="{EE417D81-9D62-44B5-9A36-43CC1B66E142}" dt="2024-07-19T11:11:15.672" v="9405" actId="207"/>
        <pc:sldMkLst>
          <pc:docMk/>
          <pc:sldMk cId="1215250369" sldId="2147378707"/>
        </pc:sldMkLst>
        <pc:spChg chg="del">
          <ac:chgData name="内山 裕弥" userId="8d34b9d0-ec49-418d-b1de-019cf6b56da5" providerId="ADAL" clId="{EE417D81-9D62-44B5-9A36-43CC1B66E142}" dt="2024-07-19T11:09:58.133" v="9177" actId="478"/>
          <ac:spMkLst>
            <pc:docMk/>
            <pc:sldMk cId="1215250369" sldId="2147378707"/>
            <ac:spMk id="6" creationId="{EAC0E584-2ABB-4B91-5A39-F104C91B44D5}"/>
          </ac:spMkLst>
        </pc:spChg>
        <pc:spChg chg="add mod">
          <ac:chgData name="内山 裕弥" userId="8d34b9d0-ec49-418d-b1de-019cf6b56da5" providerId="ADAL" clId="{EE417D81-9D62-44B5-9A36-43CC1B66E142}" dt="2024-07-19T11:11:04.110" v="9404" actId="1076"/>
          <ac:spMkLst>
            <pc:docMk/>
            <pc:sldMk cId="1215250369" sldId="2147378707"/>
            <ac:spMk id="7" creationId="{2918B46C-8769-3057-DF46-3540854E5299}"/>
          </ac:spMkLst>
        </pc:spChg>
        <pc:graphicFrameChg chg="add mod modGraphic">
          <ac:chgData name="内山 裕弥" userId="8d34b9d0-ec49-418d-b1de-019cf6b56da5" providerId="ADAL" clId="{EE417D81-9D62-44B5-9A36-43CC1B66E142}" dt="2024-07-19T11:11:15.672" v="9405" actId="207"/>
          <ac:graphicFrameMkLst>
            <pc:docMk/>
            <pc:sldMk cId="1215250369" sldId="2147378707"/>
            <ac:graphicFrameMk id="2" creationId="{F9E0DDCD-6644-BE19-62E5-D3AB6A2D7C99}"/>
          </ac:graphicFrameMkLst>
        </pc:graphicFrameChg>
      </pc:sldChg>
      <pc:sldChg chg="addSp delSp modSp add mod">
        <pc:chgData name="内山 裕弥" userId="8d34b9d0-ec49-418d-b1de-019cf6b56da5" providerId="ADAL" clId="{EE417D81-9D62-44B5-9A36-43CC1B66E142}" dt="2024-07-19T04:22:45.294" v="1300" actId="20577"/>
        <pc:sldMkLst>
          <pc:docMk/>
          <pc:sldMk cId="3685116316" sldId="2147378709"/>
        </pc:sldMkLst>
        <pc:spChg chg="del">
          <ac:chgData name="内山 裕弥" userId="8d34b9d0-ec49-418d-b1de-019cf6b56da5" providerId="ADAL" clId="{EE417D81-9D62-44B5-9A36-43CC1B66E142}" dt="2024-07-19T04:20:55.364" v="944" actId="21"/>
          <ac:spMkLst>
            <pc:docMk/>
            <pc:sldMk cId="3685116316" sldId="2147378709"/>
            <ac:spMk id="6" creationId="{A9577F56-3CCF-E475-2E51-B70DEBE9BC60}"/>
          </ac:spMkLst>
        </pc:spChg>
        <pc:spChg chg="mod">
          <ac:chgData name="内山 裕弥" userId="8d34b9d0-ec49-418d-b1de-019cf6b56da5" providerId="ADAL" clId="{EE417D81-9D62-44B5-9A36-43CC1B66E142}" dt="2024-07-19T04:20:46.492" v="941" actId="20577"/>
          <ac:spMkLst>
            <pc:docMk/>
            <pc:sldMk cId="3685116316" sldId="2147378709"/>
            <ac:spMk id="9" creationId="{D22A0A06-D5A8-4A1A-B66F-2A8EDBD644F1}"/>
          </ac:spMkLst>
        </pc:spChg>
        <pc:spChg chg="del">
          <ac:chgData name="内山 裕弥" userId="8d34b9d0-ec49-418d-b1de-019cf6b56da5" providerId="ADAL" clId="{EE417D81-9D62-44B5-9A36-43CC1B66E142}" dt="2024-07-19T04:20:52.589" v="942" actId="21"/>
          <ac:spMkLst>
            <pc:docMk/>
            <pc:sldMk cId="3685116316" sldId="2147378709"/>
            <ac:spMk id="14" creationId="{BA7FA382-9723-883E-C088-B51E896148CC}"/>
          </ac:spMkLst>
        </pc:spChg>
        <pc:spChg chg="del">
          <ac:chgData name="内山 裕弥" userId="8d34b9d0-ec49-418d-b1de-019cf6b56da5" providerId="ADAL" clId="{EE417D81-9D62-44B5-9A36-43CC1B66E142}" dt="2024-07-19T04:20:54.357" v="943" actId="21"/>
          <ac:spMkLst>
            <pc:docMk/>
            <pc:sldMk cId="3685116316" sldId="2147378709"/>
            <ac:spMk id="15" creationId="{0C0D5913-6E2D-E5DB-60D1-B3AF669AED14}"/>
          </ac:spMkLst>
        </pc:spChg>
        <pc:spChg chg="del">
          <ac:chgData name="内山 裕弥" userId="8d34b9d0-ec49-418d-b1de-019cf6b56da5" providerId="ADAL" clId="{EE417D81-9D62-44B5-9A36-43CC1B66E142}" dt="2024-07-19T04:20:52.589" v="942" actId="21"/>
          <ac:spMkLst>
            <pc:docMk/>
            <pc:sldMk cId="3685116316" sldId="2147378709"/>
            <ac:spMk id="16" creationId="{E2145D0B-66EB-0BA6-624D-9BC1846E3715}"/>
          </ac:spMkLst>
        </pc:spChg>
        <pc:spChg chg="add mod">
          <ac:chgData name="内山 裕弥" userId="8d34b9d0-ec49-418d-b1de-019cf6b56da5" providerId="ADAL" clId="{EE417D81-9D62-44B5-9A36-43CC1B66E142}" dt="2024-07-19T04:21:13.970" v="959" actId="1076"/>
          <ac:spMkLst>
            <pc:docMk/>
            <pc:sldMk cId="3685116316" sldId="2147378709"/>
            <ac:spMk id="17" creationId="{53F10FF5-7C3A-04E7-4D0E-3EC2A9EB89FC}"/>
          </ac:spMkLst>
        </pc:spChg>
        <pc:spChg chg="add mod">
          <ac:chgData name="内山 裕弥" userId="8d34b9d0-ec49-418d-b1de-019cf6b56da5" providerId="ADAL" clId="{EE417D81-9D62-44B5-9A36-43CC1B66E142}" dt="2024-07-19T04:21:43.619" v="1002" actId="20577"/>
          <ac:spMkLst>
            <pc:docMk/>
            <pc:sldMk cId="3685116316" sldId="2147378709"/>
            <ac:spMk id="18" creationId="{E9664A3C-1A6D-1DEA-5030-08206BBAF59D}"/>
          </ac:spMkLst>
        </pc:spChg>
        <pc:spChg chg="add mod">
          <ac:chgData name="内山 裕弥" userId="8d34b9d0-ec49-418d-b1de-019cf6b56da5" providerId="ADAL" clId="{EE417D81-9D62-44B5-9A36-43CC1B66E142}" dt="2024-07-19T04:21:40.379" v="999" actId="20577"/>
          <ac:spMkLst>
            <pc:docMk/>
            <pc:sldMk cId="3685116316" sldId="2147378709"/>
            <ac:spMk id="20" creationId="{A1D40746-BF49-AC90-B951-2E85999D00C9}"/>
          </ac:spMkLst>
        </pc:spChg>
        <pc:spChg chg="add mod">
          <ac:chgData name="内山 裕弥" userId="8d34b9d0-ec49-418d-b1de-019cf6b56da5" providerId="ADAL" clId="{EE417D81-9D62-44B5-9A36-43CC1B66E142}" dt="2024-07-19T04:21:16.295" v="965"/>
          <ac:spMkLst>
            <pc:docMk/>
            <pc:sldMk cId="3685116316" sldId="2147378709"/>
            <ac:spMk id="22" creationId="{E3A53034-9097-A2B0-BA00-9805C113B3C4}"/>
          </ac:spMkLst>
        </pc:spChg>
        <pc:spChg chg="add mod">
          <ac:chgData name="内山 裕弥" userId="8d34b9d0-ec49-418d-b1de-019cf6b56da5" providerId="ADAL" clId="{EE417D81-9D62-44B5-9A36-43CC1B66E142}" dt="2024-07-19T04:21:19.536" v="971"/>
          <ac:spMkLst>
            <pc:docMk/>
            <pc:sldMk cId="3685116316" sldId="2147378709"/>
            <ac:spMk id="23" creationId="{548B53C1-9515-859C-4FF6-ED37AFEFE4B3}"/>
          </ac:spMkLst>
        </pc:spChg>
        <pc:spChg chg="add mod">
          <ac:chgData name="内山 裕弥" userId="8d34b9d0-ec49-418d-b1de-019cf6b56da5" providerId="ADAL" clId="{EE417D81-9D62-44B5-9A36-43CC1B66E142}" dt="2024-07-19T04:21:11.032" v="951"/>
          <ac:spMkLst>
            <pc:docMk/>
            <pc:sldMk cId="3685116316" sldId="2147378709"/>
            <ac:spMk id="25" creationId="{B623064F-1224-9D0A-91B9-574A09BD6B31}"/>
          </ac:spMkLst>
        </pc:spChg>
        <pc:spChg chg="add mod">
          <ac:chgData name="内山 裕弥" userId="8d34b9d0-ec49-418d-b1de-019cf6b56da5" providerId="ADAL" clId="{EE417D81-9D62-44B5-9A36-43CC1B66E142}" dt="2024-07-19T04:21:25.010" v="972" actId="20577"/>
          <ac:spMkLst>
            <pc:docMk/>
            <pc:sldMk cId="3685116316" sldId="2147378709"/>
            <ac:spMk id="28" creationId="{90FD0E77-3888-581E-76F2-D03B3D6A162F}"/>
          </ac:spMkLst>
        </pc:spChg>
        <pc:spChg chg="add mod">
          <ac:chgData name="内山 裕弥" userId="8d34b9d0-ec49-418d-b1de-019cf6b56da5" providerId="ADAL" clId="{EE417D81-9D62-44B5-9A36-43CC1B66E142}" dt="2024-07-19T04:21:26.720" v="973"/>
          <ac:spMkLst>
            <pc:docMk/>
            <pc:sldMk cId="3685116316" sldId="2147378709"/>
            <ac:spMk id="29" creationId="{51548927-EDC2-8320-9763-1100DEEB5C3D}"/>
          </ac:spMkLst>
        </pc:spChg>
        <pc:spChg chg="add mod">
          <ac:chgData name="内山 裕弥" userId="8d34b9d0-ec49-418d-b1de-019cf6b56da5" providerId="ADAL" clId="{EE417D81-9D62-44B5-9A36-43CC1B66E142}" dt="2024-07-19T04:21:29.714" v="976"/>
          <ac:spMkLst>
            <pc:docMk/>
            <pc:sldMk cId="3685116316" sldId="2147378709"/>
            <ac:spMk id="30" creationId="{ABA7E6E7-22B8-6897-CAD1-5BB1F7243A11}"/>
          </ac:spMkLst>
        </pc:spChg>
        <pc:spChg chg="add mod">
          <ac:chgData name="内山 裕弥" userId="8d34b9d0-ec49-418d-b1de-019cf6b56da5" providerId="ADAL" clId="{EE417D81-9D62-44B5-9A36-43CC1B66E142}" dt="2024-07-19T04:21:30.424" v="977"/>
          <ac:spMkLst>
            <pc:docMk/>
            <pc:sldMk cId="3685116316" sldId="2147378709"/>
            <ac:spMk id="31" creationId="{97AC2652-6A11-4525-3831-C5116BDDAFD4}"/>
          </ac:spMkLst>
        </pc:spChg>
        <pc:spChg chg="add mod">
          <ac:chgData name="内山 裕弥" userId="8d34b9d0-ec49-418d-b1de-019cf6b56da5" providerId="ADAL" clId="{EE417D81-9D62-44B5-9A36-43CC1B66E142}" dt="2024-07-19T04:21:28.023" v="974"/>
          <ac:spMkLst>
            <pc:docMk/>
            <pc:sldMk cId="3685116316" sldId="2147378709"/>
            <ac:spMk id="32" creationId="{226A0974-299A-DA5C-F13B-FA16A7D473D9}"/>
          </ac:spMkLst>
        </pc:spChg>
        <pc:spChg chg="add mod">
          <ac:chgData name="内山 裕弥" userId="8d34b9d0-ec49-418d-b1de-019cf6b56da5" providerId="ADAL" clId="{EE417D81-9D62-44B5-9A36-43CC1B66E142}" dt="2024-07-19T04:21:31.038" v="978"/>
          <ac:spMkLst>
            <pc:docMk/>
            <pc:sldMk cId="3685116316" sldId="2147378709"/>
            <ac:spMk id="33" creationId="{C9FC6D16-CAD4-5B3E-F8B5-81D2A2D8CDCA}"/>
          </ac:spMkLst>
        </pc:spChg>
        <pc:spChg chg="add mod">
          <ac:chgData name="内山 裕弥" userId="8d34b9d0-ec49-418d-b1de-019cf6b56da5" providerId="ADAL" clId="{EE417D81-9D62-44B5-9A36-43CC1B66E142}" dt="2024-07-19T04:21:28.858" v="975"/>
          <ac:spMkLst>
            <pc:docMk/>
            <pc:sldMk cId="3685116316" sldId="2147378709"/>
            <ac:spMk id="34" creationId="{C89FC4AA-2731-E92F-D907-2D16595912E8}"/>
          </ac:spMkLst>
        </pc:spChg>
        <pc:spChg chg="add mod">
          <ac:chgData name="内山 裕弥" userId="8d34b9d0-ec49-418d-b1de-019cf6b56da5" providerId="ADAL" clId="{EE417D81-9D62-44B5-9A36-43CC1B66E142}" dt="2024-07-19T04:21:31.695" v="979"/>
          <ac:spMkLst>
            <pc:docMk/>
            <pc:sldMk cId="3685116316" sldId="2147378709"/>
            <ac:spMk id="35" creationId="{708AB7D6-2CDF-65E4-DFCF-96EFAC6FF818}"/>
          </ac:spMkLst>
        </pc:spChg>
        <pc:spChg chg="add mod">
          <ac:chgData name="内山 裕弥" userId="8d34b9d0-ec49-418d-b1de-019cf6b56da5" providerId="ADAL" clId="{EE417D81-9D62-44B5-9A36-43CC1B66E142}" dt="2024-07-19T04:22:45.294" v="1300" actId="20577"/>
          <ac:spMkLst>
            <pc:docMk/>
            <pc:sldMk cId="3685116316" sldId="2147378709"/>
            <ac:spMk id="36" creationId="{833B7B3B-2AA4-02F5-9605-1CA648B26A9E}"/>
          </ac:spMkLst>
        </pc:spChg>
        <pc:grpChg chg="del">
          <ac:chgData name="内山 裕弥" userId="8d34b9d0-ec49-418d-b1de-019cf6b56da5" providerId="ADAL" clId="{EE417D81-9D62-44B5-9A36-43CC1B66E142}" dt="2024-07-19T04:20:52.589" v="942" actId="21"/>
          <ac:grpSpMkLst>
            <pc:docMk/>
            <pc:sldMk cId="3685116316" sldId="2147378709"/>
            <ac:grpSpMk id="3" creationId="{EBC23DA4-F36B-555D-CA5C-39F94E08823F}"/>
          </ac:grpSpMkLst>
        </pc:grpChg>
        <pc:cxnChg chg="add mod">
          <ac:chgData name="内山 裕弥" userId="8d34b9d0-ec49-418d-b1de-019cf6b56da5" providerId="ADAL" clId="{EE417D81-9D62-44B5-9A36-43CC1B66E142}" dt="2024-07-19T04:21:04.222" v="945"/>
          <ac:cxnSpMkLst>
            <pc:docMk/>
            <pc:sldMk cId="3685116316" sldId="2147378709"/>
            <ac:cxnSpMk id="19" creationId="{988F5D47-E5D3-5BF3-75A0-F784D65E7675}"/>
          </ac:cxnSpMkLst>
        </pc:cxnChg>
        <pc:cxnChg chg="add mod">
          <ac:chgData name="内山 裕弥" userId="8d34b9d0-ec49-418d-b1de-019cf6b56da5" providerId="ADAL" clId="{EE417D81-9D62-44B5-9A36-43CC1B66E142}" dt="2024-07-19T04:21:04.222" v="945"/>
          <ac:cxnSpMkLst>
            <pc:docMk/>
            <pc:sldMk cId="3685116316" sldId="2147378709"/>
            <ac:cxnSpMk id="21" creationId="{2C5A1D27-39E7-7A74-E0C6-11903FAA5D16}"/>
          </ac:cxnSpMkLst>
        </pc:cxnChg>
        <pc:cxnChg chg="add mod">
          <ac:chgData name="内山 裕弥" userId="8d34b9d0-ec49-418d-b1de-019cf6b56da5" providerId="ADAL" clId="{EE417D81-9D62-44B5-9A36-43CC1B66E142}" dt="2024-07-19T04:21:04.222" v="945"/>
          <ac:cxnSpMkLst>
            <pc:docMk/>
            <pc:sldMk cId="3685116316" sldId="2147378709"/>
            <ac:cxnSpMk id="24" creationId="{67CF960F-BF89-4129-340B-68AB5FDE8755}"/>
          </ac:cxnSpMkLst>
        </pc:cxnChg>
        <pc:cxnChg chg="add mod">
          <ac:chgData name="内山 裕弥" userId="8d34b9d0-ec49-418d-b1de-019cf6b56da5" providerId="ADAL" clId="{EE417D81-9D62-44B5-9A36-43CC1B66E142}" dt="2024-07-19T04:21:04.222" v="945"/>
          <ac:cxnSpMkLst>
            <pc:docMk/>
            <pc:sldMk cId="3685116316" sldId="2147378709"/>
            <ac:cxnSpMk id="26" creationId="{D275D890-34D1-720A-5568-058C5CE60E89}"/>
          </ac:cxnSpMkLst>
        </pc:cxnChg>
        <pc:cxnChg chg="add mod">
          <ac:chgData name="内山 裕弥" userId="8d34b9d0-ec49-418d-b1de-019cf6b56da5" providerId="ADAL" clId="{EE417D81-9D62-44B5-9A36-43CC1B66E142}" dt="2024-07-19T04:21:04.222" v="945"/>
          <ac:cxnSpMkLst>
            <pc:docMk/>
            <pc:sldMk cId="3685116316" sldId="2147378709"/>
            <ac:cxnSpMk id="27" creationId="{E7CB3556-2936-30A4-AEC6-65D0A1738CDB}"/>
          </ac:cxnSpMkLst>
        </pc:cxnChg>
      </pc:sldChg>
      <pc:sldChg chg="addSp delSp modSp add mod">
        <pc:chgData name="内山 裕弥" userId="8d34b9d0-ec49-418d-b1de-019cf6b56da5" providerId="ADAL" clId="{EE417D81-9D62-44B5-9A36-43CC1B66E142}" dt="2024-07-19T04:25:59.013" v="1817" actId="20577"/>
        <pc:sldMkLst>
          <pc:docMk/>
          <pc:sldMk cId="2249235288" sldId="2147378710"/>
        </pc:sldMkLst>
        <pc:spChg chg="mod">
          <ac:chgData name="内山 裕弥" userId="8d34b9d0-ec49-418d-b1de-019cf6b56da5" providerId="ADAL" clId="{EE417D81-9D62-44B5-9A36-43CC1B66E142}" dt="2024-07-19T04:23:10.055" v="1303"/>
          <ac:spMkLst>
            <pc:docMk/>
            <pc:sldMk cId="2249235288" sldId="2147378710"/>
            <ac:spMk id="7" creationId="{081FA0EF-B0D7-A6B9-D177-CBA186431769}"/>
          </ac:spMkLst>
        </pc:spChg>
        <pc:spChg chg="mod">
          <ac:chgData name="内山 裕弥" userId="8d34b9d0-ec49-418d-b1de-019cf6b56da5" providerId="ADAL" clId="{EE417D81-9D62-44B5-9A36-43CC1B66E142}" dt="2024-07-19T04:23:29.758" v="1369" actId="20577"/>
          <ac:spMkLst>
            <pc:docMk/>
            <pc:sldMk cId="2249235288" sldId="2147378710"/>
            <ac:spMk id="9" creationId="{D22A0A06-D5A8-4A1A-B66F-2A8EDBD644F1}"/>
          </ac:spMkLst>
        </pc:spChg>
        <pc:spChg chg="mod">
          <ac:chgData name="内山 裕弥" userId="8d34b9d0-ec49-418d-b1de-019cf6b56da5" providerId="ADAL" clId="{EE417D81-9D62-44B5-9A36-43CC1B66E142}" dt="2024-07-19T04:23:10.055" v="1303"/>
          <ac:spMkLst>
            <pc:docMk/>
            <pc:sldMk cId="2249235288" sldId="2147378710"/>
            <ac:spMk id="10" creationId="{1A383005-B1A5-AD52-BAD8-1851206F59CA}"/>
          </ac:spMkLst>
        </pc:spChg>
        <pc:spChg chg="add mod">
          <ac:chgData name="内山 裕弥" userId="8d34b9d0-ec49-418d-b1de-019cf6b56da5" providerId="ADAL" clId="{EE417D81-9D62-44B5-9A36-43CC1B66E142}" dt="2024-07-19T04:23:45.570" v="1386"/>
          <ac:spMkLst>
            <pc:docMk/>
            <pc:sldMk cId="2249235288" sldId="2147378710"/>
            <ac:spMk id="13" creationId="{EDAD2185-EC0D-868E-795C-E7F2FB4ACC64}"/>
          </ac:spMkLst>
        </pc:spChg>
        <pc:spChg chg="add mod">
          <ac:chgData name="内山 裕弥" userId="8d34b9d0-ec49-418d-b1de-019cf6b56da5" providerId="ADAL" clId="{EE417D81-9D62-44B5-9A36-43CC1B66E142}" dt="2024-07-19T04:23:48.079" v="1387"/>
          <ac:spMkLst>
            <pc:docMk/>
            <pc:sldMk cId="2249235288" sldId="2147378710"/>
            <ac:spMk id="14" creationId="{EB154E72-D468-E337-5176-249A512E7AD4}"/>
          </ac:spMkLst>
        </pc:spChg>
        <pc:spChg chg="add mod">
          <ac:chgData name="内山 裕弥" userId="8d34b9d0-ec49-418d-b1de-019cf6b56da5" providerId="ADAL" clId="{EE417D81-9D62-44B5-9A36-43CC1B66E142}" dt="2024-07-19T04:25:59.013" v="1817" actId="20577"/>
          <ac:spMkLst>
            <pc:docMk/>
            <pc:sldMk cId="2249235288" sldId="2147378710"/>
            <ac:spMk id="15" creationId="{023910BE-64AD-C23C-E1DF-2E35F066FA1D}"/>
          </ac:spMkLst>
        </pc:spChg>
        <pc:spChg chg="add del mod">
          <ac:chgData name="内山 裕弥" userId="8d34b9d0-ec49-418d-b1de-019cf6b56da5" providerId="ADAL" clId="{EE417D81-9D62-44B5-9A36-43CC1B66E142}" dt="2024-07-19T04:25:00.601" v="1667" actId="21"/>
          <ac:spMkLst>
            <pc:docMk/>
            <pc:sldMk cId="2249235288" sldId="2147378710"/>
            <ac:spMk id="16" creationId="{8F42B5C1-BCA6-4E92-465B-2BE5747EB03F}"/>
          </ac:spMkLst>
        </pc:spChg>
        <pc:spChg chg="del">
          <ac:chgData name="内山 裕弥" userId="8d34b9d0-ec49-418d-b1de-019cf6b56da5" providerId="ADAL" clId="{EE417D81-9D62-44B5-9A36-43CC1B66E142}" dt="2024-07-19T04:23:03.185" v="1302" actId="21"/>
          <ac:spMkLst>
            <pc:docMk/>
            <pc:sldMk cId="2249235288" sldId="2147378710"/>
            <ac:spMk id="17" creationId="{53F10FF5-7C3A-04E7-4D0E-3EC2A9EB89FC}"/>
          </ac:spMkLst>
        </pc:spChg>
        <pc:spChg chg="del">
          <ac:chgData name="内山 裕弥" userId="8d34b9d0-ec49-418d-b1de-019cf6b56da5" providerId="ADAL" clId="{EE417D81-9D62-44B5-9A36-43CC1B66E142}" dt="2024-07-19T04:23:03.185" v="1302" actId="21"/>
          <ac:spMkLst>
            <pc:docMk/>
            <pc:sldMk cId="2249235288" sldId="2147378710"/>
            <ac:spMk id="18" creationId="{E9664A3C-1A6D-1DEA-5030-08206BBAF59D}"/>
          </ac:spMkLst>
        </pc:spChg>
        <pc:spChg chg="del">
          <ac:chgData name="内山 裕弥" userId="8d34b9d0-ec49-418d-b1de-019cf6b56da5" providerId="ADAL" clId="{EE417D81-9D62-44B5-9A36-43CC1B66E142}" dt="2024-07-19T04:23:03.185" v="1302" actId="21"/>
          <ac:spMkLst>
            <pc:docMk/>
            <pc:sldMk cId="2249235288" sldId="2147378710"/>
            <ac:spMk id="20" creationId="{A1D40746-BF49-AC90-B951-2E85999D00C9}"/>
          </ac:spMkLst>
        </pc:spChg>
        <pc:spChg chg="del">
          <ac:chgData name="内山 裕弥" userId="8d34b9d0-ec49-418d-b1de-019cf6b56da5" providerId="ADAL" clId="{EE417D81-9D62-44B5-9A36-43CC1B66E142}" dt="2024-07-19T04:23:03.185" v="1302" actId="21"/>
          <ac:spMkLst>
            <pc:docMk/>
            <pc:sldMk cId="2249235288" sldId="2147378710"/>
            <ac:spMk id="22" creationId="{E3A53034-9097-A2B0-BA00-9805C113B3C4}"/>
          </ac:spMkLst>
        </pc:spChg>
        <pc:spChg chg="del">
          <ac:chgData name="内山 裕弥" userId="8d34b9d0-ec49-418d-b1de-019cf6b56da5" providerId="ADAL" clId="{EE417D81-9D62-44B5-9A36-43CC1B66E142}" dt="2024-07-19T04:23:03.185" v="1302" actId="21"/>
          <ac:spMkLst>
            <pc:docMk/>
            <pc:sldMk cId="2249235288" sldId="2147378710"/>
            <ac:spMk id="23" creationId="{548B53C1-9515-859C-4FF6-ED37AFEFE4B3}"/>
          </ac:spMkLst>
        </pc:spChg>
        <pc:spChg chg="del">
          <ac:chgData name="内山 裕弥" userId="8d34b9d0-ec49-418d-b1de-019cf6b56da5" providerId="ADAL" clId="{EE417D81-9D62-44B5-9A36-43CC1B66E142}" dt="2024-07-19T04:23:03.185" v="1302" actId="21"/>
          <ac:spMkLst>
            <pc:docMk/>
            <pc:sldMk cId="2249235288" sldId="2147378710"/>
            <ac:spMk id="25" creationId="{B623064F-1224-9D0A-91B9-574A09BD6B31}"/>
          </ac:spMkLst>
        </pc:spChg>
        <pc:spChg chg="del">
          <ac:chgData name="内山 裕弥" userId="8d34b9d0-ec49-418d-b1de-019cf6b56da5" providerId="ADAL" clId="{EE417D81-9D62-44B5-9A36-43CC1B66E142}" dt="2024-07-19T04:23:03.185" v="1302" actId="21"/>
          <ac:spMkLst>
            <pc:docMk/>
            <pc:sldMk cId="2249235288" sldId="2147378710"/>
            <ac:spMk id="28" creationId="{90FD0E77-3888-581E-76F2-D03B3D6A162F}"/>
          </ac:spMkLst>
        </pc:spChg>
        <pc:spChg chg="del">
          <ac:chgData name="内山 裕弥" userId="8d34b9d0-ec49-418d-b1de-019cf6b56da5" providerId="ADAL" clId="{EE417D81-9D62-44B5-9A36-43CC1B66E142}" dt="2024-07-19T04:23:03.185" v="1302" actId="21"/>
          <ac:spMkLst>
            <pc:docMk/>
            <pc:sldMk cId="2249235288" sldId="2147378710"/>
            <ac:spMk id="29" creationId="{51548927-EDC2-8320-9763-1100DEEB5C3D}"/>
          </ac:spMkLst>
        </pc:spChg>
        <pc:spChg chg="del">
          <ac:chgData name="内山 裕弥" userId="8d34b9d0-ec49-418d-b1de-019cf6b56da5" providerId="ADAL" clId="{EE417D81-9D62-44B5-9A36-43CC1B66E142}" dt="2024-07-19T04:23:03.185" v="1302" actId="21"/>
          <ac:spMkLst>
            <pc:docMk/>
            <pc:sldMk cId="2249235288" sldId="2147378710"/>
            <ac:spMk id="30" creationId="{ABA7E6E7-22B8-6897-CAD1-5BB1F7243A11}"/>
          </ac:spMkLst>
        </pc:spChg>
        <pc:spChg chg="del">
          <ac:chgData name="内山 裕弥" userId="8d34b9d0-ec49-418d-b1de-019cf6b56da5" providerId="ADAL" clId="{EE417D81-9D62-44B5-9A36-43CC1B66E142}" dt="2024-07-19T04:23:03.185" v="1302" actId="21"/>
          <ac:spMkLst>
            <pc:docMk/>
            <pc:sldMk cId="2249235288" sldId="2147378710"/>
            <ac:spMk id="31" creationId="{97AC2652-6A11-4525-3831-C5116BDDAFD4}"/>
          </ac:spMkLst>
        </pc:spChg>
        <pc:spChg chg="del">
          <ac:chgData name="内山 裕弥" userId="8d34b9d0-ec49-418d-b1de-019cf6b56da5" providerId="ADAL" clId="{EE417D81-9D62-44B5-9A36-43CC1B66E142}" dt="2024-07-19T04:23:03.185" v="1302" actId="21"/>
          <ac:spMkLst>
            <pc:docMk/>
            <pc:sldMk cId="2249235288" sldId="2147378710"/>
            <ac:spMk id="32" creationId="{226A0974-299A-DA5C-F13B-FA16A7D473D9}"/>
          </ac:spMkLst>
        </pc:spChg>
        <pc:spChg chg="del">
          <ac:chgData name="内山 裕弥" userId="8d34b9d0-ec49-418d-b1de-019cf6b56da5" providerId="ADAL" clId="{EE417D81-9D62-44B5-9A36-43CC1B66E142}" dt="2024-07-19T04:23:03.185" v="1302" actId="21"/>
          <ac:spMkLst>
            <pc:docMk/>
            <pc:sldMk cId="2249235288" sldId="2147378710"/>
            <ac:spMk id="33" creationId="{C9FC6D16-CAD4-5B3E-F8B5-81D2A2D8CDCA}"/>
          </ac:spMkLst>
        </pc:spChg>
        <pc:spChg chg="del">
          <ac:chgData name="内山 裕弥" userId="8d34b9d0-ec49-418d-b1de-019cf6b56da5" providerId="ADAL" clId="{EE417D81-9D62-44B5-9A36-43CC1B66E142}" dt="2024-07-19T04:23:03.185" v="1302" actId="21"/>
          <ac:spMkLst>
            <pc:docMk/>
            <pc:sldMk cId="2249235288" sldId="2147378710"/>
            <ac:spMk id="34" creationId="{C89FC4AA-2731-E92F-D907-2D16595912E8}"/>
          </ac:spMkLst>
        </pc:spChg>
        <pc:spChg chg="del">
          <ac:chgData name="内山 裕弥" userId="8d34b9d0-ec49-418d-b1de-019cf6b56da5" providerId="ADAL" clId="{EE417D81-9D62-44B5-9A36-43CC1B66E142}" dt="2024-07-19T04:23:03.185" v="1302" actId="21"/>
          <ac:spMkLst>
            <pc:docMk/>
            <pc:sldMk cId="2249235288" sldId="2147378710"/>
            <ac:spMk id="35" creationId="{708AB7D6-2CDF-65E4-DFCF-96EFAC6FF818}"/>
          </ac:spMkLst>
        </pc:spChg>
        <pc:spChg chg="del">
          <ac:chgData name="内山 裕弥" userId="8d34b9d0-ec49-418d-b1de-019cf6b56da5" providerId="ADAL" clId="{EE417D81-9D62-44B5-9A36-43CC1B66E142}" dt="2024-07-19T04:23:03.185" v="1302" actId="21"/>
          <ac:spMkLst>
            <pc:docMk/>
            <pc:sldMk cId="2249235288" sldId="2147378710"/>
            <ac:spMk id="36" creationId="{833B7B3B-2AA4-02F5-9605-1CA648B26A9E}"/>
          </ac:spMkLst>
        </pc:spChg>
        <pc:grpChg chg="add mod">
          <ac:chgData name="内山 裕弥" userId="8d34b9d0-ec49-418d-b1de-019cf6b56da5" providerId="ADAL" clId="{EE417D81-9D62-44B5-9A36-43CC1B66E142}" dt="2024-07-19T04:23:10.055" v="1303"/>
          <ac:grpSpMkLst>
            <pc:docMk/>
            <pc:sldMk cId="2249235288" sldId="2147378710"/>
            <ac:grpSpMk id="3" creationId="{F85333DF-4E5C-DAEA-926C-1A154E2103A9}"/>
          </ac:grpSpMkLst>
        </pc:grpChg>
        <pc:grpChg chg="mod">
          <ac:chgData name="内山 裕弥" userId="8d34b9d0-ec49-418d-b1de-019cf6b56da5" providerId="ADAL" clId="{EE417D81-9D62-44B5-9A36-43CC1B66E142}" dt="2024-07-19T04:23:10.055" v="1303"/>
          <ac:grpSpMkLst>
            <pc:docMk/>
            <pc:sldMk cId="2249235288" sldId="2147378710"/>
            <ac:grpSpMk id="4" creationId="{EAB62C42-9CF0-6E2B-28F8-CFEDB26FC1DD}"/>
          </ac:grpSpMkLst>
        </pc:grpChg>
        <pc:grpChg chg="mod">
          <ac:chgData name="内山 裕弥" userId="8d34b9d0-ec49-418d-b1de-019cf6b56da5" providerId="ADAL" clId="{EE417D81-9D62-44B5-9A36-43CC1B66E142}" dt="2024-07-19T04:23:10.055" v="1303"/>
          <ac:grpSpMkLst>
            <pc:docMk/>
            <pc:sldMk cId="2249235288" sldId="2147378710"/>
            <ac:grpSpMk id="6" creationId="{A2007A34-9A61-3C01-D672-C413701B3445}"/>
          </ac:grpSpMkLst>
        </pc:grpChg>
        <pc:cxnChg chg="mod">
          <ac:chgData name="内山 裕弥" userId="8d34b9d0-ec49-418d-b1de-019cf6b56da5" providerId="ADAL" clId="{EE417D81-9D62-44B5-9A36-43CC1B66E142}" dt="2024-07-19T04:23:10.055" v="1303"/>
          <ac:cxnSpMkLst>
            <pc:docMk/>
            <pc:sldMk cId="2249235288" sldId="2147378710"/>
            <ac:cxnSpMk id="8" creationId="{99FBEF6F-94C3-52B0-FA40-DD378C8E4F64}"/>
          </ac:cxnSpMkLst>
        </pc:cxnChg>
        <pc:cxnChg chg="mod">
          <ac:chgData name="内山 裕弥" userId="8d34b9d0-ec49-418d-b1de-019cf6b56da5" providerId="ADAL" clId="{EE417D81-9D62-44B5-9A36-43CC1B66E142}" dt="2024-07-19T04:23:10.055" v="1303"/>
          <ac:cxnSpMkLst>
            <pc:docMk/>
            <pc:sldMk cId="2249235288" sldId="2147378710"/>
            <ac:cxnSpMk id="12" creationId="{3653E4DF-7A5D-EE67-D31F-6D64D03C04E6}"/>
          </ac:cxnSpMkLst>
        </pc:cxnChg>
        <pc:cxnChg chg="del">
          <ac:chgData name="内山 裕弥" userId="8d34b9d0-ec49-418d-b1de-019cf6b56da5" providerId="ADAL" clId="{EE417D81-9D62-44B5-9A36-43CC1B66E142}" dt="2024-07-19T04:23:03.185" v="1302" actId="21"/>
          <ac:cxnSpMkLst>
            <pc:docMk/>
            <pc:sldMk cId="2249235288" sldId="2147378710"/>
            <ac:cxnSpMk id="19" creationId="{988F5D47-E5D3-5BF3-75A0-F784D65E7675}"/>
          </ac:cxnSpMkLst>
        </pc:cxnChg>
        <pc:cxnChg chg="del">
          <ac:chgData name="内山 裕弥" userId="8d34b9d0-ec49-418d-b1de-019cf6b56da5" providerId="ADAL" clId="{EE417D81-9D62-44B5-9A36-43CC1B66E142}" dt="2024-07-19T04:23:03.185" v="1302" actId="21"/>
          <ac:cxnSpMkLst>
            <pc:docMk/>
            <pc:sldMk cId="2249235288" sldId="2147378710"/>
            <ac:cxnSpMk id="21" creationId="{2C5A1D27-39E7-7A74-E0C6-11903FAA5D16}"/>
          </ac:cxnSpMkLst>
        </pc:cxnChg>
        <pc:cxnChg chg="del">
          <ac:chgData name="内山 裕弥" userId="8d34b9d0-ec49-418d-b1de-019cf6b56da5" providerId="ADAL" clId="{EE417D81-9D62-44B5-9A36-43CC1B66E142}" dt="2024-07-19T04:23:03.185" v="1302" actId="21"/>
          <ac:cxnSpMkLst>
            <pc:docMk/>
            <pc:sldMk cId="2249235288" sldId="2147378710"/>
            <ac:cxnSpMk id="24" creationId="{67CF960F-BF89-4129-340B-68AB5FDE8755}"/>
          </ac:cxnSpMkLst>
        </pc:cxnChg>
        <pc:cxnChg chg="del">
          <ac:chgData name="内山 裕弥" userId="8d34b9d0-ec49-418d-b1de-019cf6b56da5" providerId="ADAL" clId="{EE417D81-9D62-44B5-9A36-43CC1B66E142}" dt="2024-07-19T04:23:03.185" v="1302" actId="21"/>
          <ac:cxnSpMkLst>
            <pc:docMk/>
            <pc:sldMk cId="2249235288" sldId="2147378710"/>
            <ac:cxnSpMk id="26" creationId="{D275D890-34D1-720A-5568-058C5CE60E89}"/>
          </ac:cxnSpMkLst>
        </pc:cxnChg>
        <pc:cxnChg chg="del">
          <ac:chgData name="内山 裕弥" userId="8d34b9d0-ec49-418d-b1de-019cf6b56da5" providerId="ADAL" clId="{EE417D81-9D62-44B5-9A36-43CC1B66E142}" dt="2024-07-19T04:23:03.185" v="1302" actId="21"/>
          <ac:cxnSpMkLst>
            <pc:docMk/>
            <pc:sldMk cId="2249235288" sldId="2147378710"/>
            <ac:cxnSpMk id="27" creationId="{E7CB3556-2936-30A4-AEC6-65D0A1738CDB}"/>
          </ac:cxnSpMkLst>
        </pc:cxnChg>
      </pc:sldChg>
      <pc:sldChg chg="addSp delSp modSp add mod">
        <pc:chgData name="内山 裕弥" userId="8d34b9d0-ec49-418d-b1de-019cf6b56da5" providerId="ADAL" clId="{EE417D81-9D62-44B5-9A36-43CC1B66E142}" dt="2024-07-19T04:27:00.385" v="2054"/>
        <pc:sldMkLst>
          <pc:docMk/>
          <pc:sldMk cId="1302942433" sldId="2147378711"/>
        </pc:sldMkLst>
        <pc:spChg chg="mod">
          <ac:chgData name="内山 裕弥" userId="8d34b9d0-ec49-418d-b1de-019cf6b56da5" providerId="ADAL" clId="{EE417D81-9D62-44B5-9A36-43CC1B66E142}" dt="2024-07-19T04:25:25.063" v="1717" actId="20577"/>
          <ac:spMkLst>
            <pc:docMk/>
            <pc:sldMk cId="1302942433" sldId="2147378711"/>
            <ac:spMk id="7" creationId="{081FA0EF-B0D7-A6B9-D177-CBA186431769}"/>
          </ac:spMkLst>
        </pc:spChg>
        <pc:spChg chg="mod">
          <ac:chgData name="内山 裕弥" userId="8d34b9d0-ec49-418d-b1de-019cf6b56da5" providerId="ADAL" clId="{EE417D81-9D62-44B5-9A36-43CC1B66E142}" dt="2024-07-19T04:25:15.527" v="1708" actId="20577"/>
          <ac:spMkLst>
            <pc:docMk/>
            <pc:sldMk cId="1302942433" sldId="2147378711"/>
            <ac:spMk id="9" creationId="{D22A0A06-D5A8-4A1A-B66F-2A8EDBD644F1}"/>
          </ac:spMkLst>
        </pc:spChg>
        <pc:spChg chg="mod">
          <ac:chgData name="内山 裕弥" userId="8d34b9d0-ec49-418d-b1de-019cf6b56da5" providerId="ADAL" clId="{EE417D81-9D62-44B5-9A36-43CC1B66E142}" dt="2024-07-19T04:25:22.662" v="1709" actId="1076"/>
          <ac:spMkLst>
            <pc:docMk/>
            <pc:sldMk cId="1302942433" sldId="2147378711"/>
            <ac:spMk id="10" creationId="{1A383005-B1A5-AD52-BAD8-1851206F59CA}"/>
          </ac:spMkLst>
        </pc:spChg>
        <pc:spChg chg="mod">
          <ac:chgData name="内山 裕弥" userId="8d34b9d0-ec49-418d-b1de-019cf6b56da5" providerId="ADAL" clId="{EE417D81-9D62-44B5-9A36-43CC1B66E142}" dt="2024-07-19T04:25:40.673" v="1728" actId="20577"/>
          <ac:spMkLst>
            <pc:docMk/>
            <pc:sldMk cId="1302942433" sldId="2147378711"/>
            <ac:spMk id="13" creationId="{EDAD2185-EC0D-868E-795C-E7F2FB4ACC64}"/>
          </ac:spMkLst>
        </pc:spChg>
        <pc:spChg chg="del">
          <ac:chgData name="内山 裕弥" userId="8d34b9d0-ec49-418d-b1de-019cf6b56da5" providerId="ADAL" clId="{EE417D81-9D62-44B5-9A36-43CC1B66E142}" dt="2024-07-19T04:25:30.437" v="1719" actId="478"/>
          <ac:spMkLst>
            <pc:docMk/>
            <pc:sldMk cId="1302942433" sldId="2147378711"/>
            <ac:spMk id="14" creationId="{EB154E72-D468-E337-5176-249A512E7AD4}"/>
          </ac:spMkLst>
        </pc:spChg>
        <pc:spChg chg="mod">
          <ac:chgData name="内山 裕弥" userId="8d34b9d0-ec49-418d-b1de-019cf6b56da5" providerId="ADAL" clId="{EE417D81-9D62-44B5-9A36-43CC1B66E142}" dt="2024-07-19T04:26:21.330" v="1901" actId="20577"/>
          <ac:spMkLst>
            <pc:docMk/>
            <pc:sldMk cId="1302942433" sldId="2147378711"/>
            <ac:spMk id="15" creationId="{023910BE-64AD-C23C-E1DF-2E35F066FA1D}"/>
          </ac:spMkLst>
        </pc:spChg>
        <pc:spChg chg="add mod">
          <ac:chgData name="内山 裕弥" userId="8d34b9d0-ec49-418d-b1de-019cf6b56da5" providerId="ADAL" clId="{EE417D81-9D62-44B5-9A36-43CC1B66E142}" dt="2024-07-19T04:27:00.385" v="2054"/>
          <ac:spMkLst>
            <pc:docMk/>
            <pc:sldMk cId="1302942433" sldId="2147378711"/>
            <ac:spMk id="16" creationId="{9BE531E5-4F22-4DE9-B6DB-7FD8253B5070}"/>
          </ac:spMkLst>
        </pc:spChg>
        <pc:grpChg chg="mod">
          <ac:chgData name="内山 裕弥" userId="8d34b9d0-ec49-418d-b1de-019cf6b56da5" providerId="ADAL" clId="{EE417D81-9D62-44B5-9A36-43CC1B66E142}" dt="2024-07-19T04:25:22.662" v="1709" actId="1076"/>
          <ac:grpSpMkLst>
            <pc:docMk/>
            <pc:sldMk cId="1302942433" sldId="2147378711"/>
            <ac:grpSpMk id="3" creationId="{F85333DF-4E5C-DAEA-926C-1A154E2103A9}"/>
          </ac:grpSpMkLst>
        </pc:grpChg>
        <pc:grpChg chg="mod">
          <ac:chgData name="内山 裕弥" userId="8d34b9d0-ec49-418d-b1de-019cf6b56da5" providerId="ADAL" clId="{EE417D81-9D62-44B5-9A36-43CC1B66E142}" dt="2024-07-19T04:25:22.662" v="1709" actId="1076"/>
          <ac:grpSpMkLst>
            <pc:docMk/>
            <pc:sldMk cId="1302942433" sldId="2147378711"/>
            <ac:grpSpMk id="4" creationId="{EAB62C42-9CF0-6E2B-28F8-CFEDB26FC1DD}"/>
          </ac:grpSpMkLst>
        </pc:grpChg>
        <pc:grpChg chg="mod">
          <ac:chgData name="内山 裕弥" userId="8d34b9d0-ec49-418d-b1de-019cf6b56da5" providerId="ADAL" clId="{EE417D81-9D62-44B5-9A36-43CC1B66E142}" dt="2024-07-19T04:25:22.662" v="1709" actId="1076"/>
          <ac:grpSpMkLst>
            <pc:docMk/>
            <pc:sldMk cId="1302942433" sldId="2147378711"/>
            <ac:grpSpMk id="6" creationId="{A2007A34-9A61-3C01-D672-C413701B3445}"/>
          </ac:grpSpMkLst>
        </pc:grpChg>
        <pc:cxnChg chg="mod">
          <ac:chgData name="内山 裕弥" userId="8d34b9d0-ec49-418d-b1de-019cf6b56da5" providerId="ADAL" clId="{EE417D81-9D62-44B5-9A36-43CC1B66E142}" dt="2024-07-19T04:25:22.662" v="1709" actId="1076"/>
          <ac:cxnSpMkLst>
            <pc:docMk/>
            <pc:sldMk cId="1302942433" sldId="2147378711"/>
            <ac:cxnSpMk id="8" creationId="{99FBEF6F-94C3-52B0-FA40-DD378C8E4F64}"/>
          </ac:cxnSpMkLst>
        </pc:cxnChg>
        <pc:cxnChg chg="mod">
          <ac:chgData name="内山 裕弥" userId="8d34b9d0-ec49-418d-b1de-019cf6b56da5" providerId="ADAL" clId="{EE417D81-9D62-44B5-9A36-43CC1B66E142}" dt="2024-07-19T04:25:22.662" v="1709" actId="1076"/>
          <ac:cxnSpMkLst>
            <pc:docMk/>
            <pc:sldMk cId="1302942433" sldId="2147378711"/>
            <ac:cxnSpMk id="12" creationId="{3653E4DF-7A5D-EE67-D31F-6D64D03C04E6}"/>
          </ac:cxnSpMkLst>
        </pc:cxnChg>
      </pc:sldChg>
      <pc:sldChg chg="addSp delSp modSp add mod">
        <pc:chgData name="内山 裕弥" userId="8d34b9d0-ec49-418d-b1de-019cf6b56da5" providerId="ADAL" clId="{EE417D81-9D62-44B5-9A36-43CC1B66E142}" dt="2024-07-19T04:29:03.172" v="2359" actId="20577"/>
        <pc:sldMkLst>
          <pc:docMk/>
          <pc:sldMk cId="958813593" sldId="2147378712"/>
        </pc:sldMkLst>
        <pc:spChg chg="mod">
          <ac:chgData name="内山 裕弥" userId="8d34b9d0-ec49-418d-b1de-019cf6b56da5" providerId="ADAL" clId="{EE417D81-9D62-44B5-9A36-43CC1B66E142}" dt="2024-07-19T04:29:03.172" v="2359" actId="20577"/>
          <ac:spMkLst>
            <pc:docMk/>
            <pc:sldMk cId="958813593" sldId="2147378712"/>
            <ac:spMk id="9" creationId="{D22A0A06-D5A8-4A1A-B66F-2A8EDBD644F1}"/>
          </ac:spMkLst>
        </pc:spChg>
        <pc:spChg chg="del">
          <ac:chgData name="内山 裕弥" userId="8d34b9d0-ec49-418d-b1de-019cf6b56da5" providerId="ADAL" clId="{EE417D81-9D62-44B5-9A36-43CC1B66E142}" dt="2024-07-19T04:28:10.201" v="2089" actId="478"/>
          <ac:spMkLst>
            <pc:docMk/>
            <pc:sldMk cId="958813593" sldId="2147378712"/>
            <ac:spMk id="13" creationId="{EDAD2185-EC0D-868E-795C-E7F2FB4ACC64}"/>
          </ac:spMkLst>
        </pc:spChg>
        <pc:spChg chg="del">
          <ac:chgData name="内山 裕弥" userId="8d34b9d0-ec49-418d-b1de-019cf6b56da5" providerId="ADAL" clId="{EE417D81-9D62-44B5-9A36-43CC1B66E142}" dt="2024-07-19T04:28:10.201" v="2089" actId="478"/>
          <ac:spMkLst>
            <pc:docMk/>
            <pc:sldMk cId="958813593" sldId="2147378712"/>
            <ac:spMk id="15" creationId="{023910BE-64AD-C23C-E1DF-2E35F066FA1D}"/>
          </ac:spMkLst>
        </pc:spChg>
        <pc:spChg chg="del">
          <ac:chgData name="内山 裕弥" userId="8d34b9d0-ec49-418d-b1de-019cf6b56da5" providerId="ADAL" clId="{EE417D81-9D62-44B5-9A36-43CC1B66E142}" dt="2024-07-19T04:28:10.201" v="2089" actId="478"/>
          <ac:spMkLst>
            <pc:docMk/>
            <pc:sldMk cId="958813593" sldId="2147378712"/>
            <ac:spMk id="16" creationId="{9BE531E5-4F22-4DE9-B6DB-7FD8253B5070}"/>
          </ac:spMkLst>
        </pc:spChg>
        <pc:spChg chg="add mod">
          <ac:chgData name="内山 裕弥" userId="8d34b9d0-ec49-418d-b1de-019cf6b56da5" providerId="ADAL" clId="{EE417D81-9D62-44B5-9A36-43CC1B66E142}" dt="2024-07-19T04:28:58.853" v="2350" actId="20577"/>
          <ac:spMkLst>
            <pc:docMk/>
            <pc:sldMk cId="958813593" sldId="2147378712"/>
            <ac:spMk id="17" creationId="{8E12BC20-AEA4-4454-E75A-D818ACE447A8}"/>
          </ac:spMkLst>
        </pc:spChg>
        <pc:grpChg chg="del">
          <ac:chgData name="内山 裕弥" userId="8d34b9d0-ec49-418d-b1de-019cf6b56da5" providerId="ADAL" clId="{EE417D81-9D62-44B5-9A36-43CC1B66E142}" dt="2024-07-19T04:28:10.201" v="2089" actId="478"/>
          <ac:grpSpMkLst>
            <pc:docMk/>
            <pc:sldMk cId="958813593" sldId="2147378712"/>
            <ac:grpSpMk id="3" creationId="{F85333DF-4E5C-DAEA-926C-1A154E2103A9}"/>
          </ac:grpSpMkLst>
        </pc:grpChg>
        <pc:graphicFrameChg chg="add mod">
          <ac:chgData name="内山 裕弥" userId="8d34b9d0-ec49-418d-b1de-019cf6b56da5" providerId="ADAL" clId="{EE417D81-9D62-44B5-9A36-43CC1B66E142}" dt="2024-07-19T04:28:13.470" v="2091" actId="1076"/>
          <ac:graphicFrameMkLst>
            <pc:docMk/>
            <pc:sldMk cId="958813593" sldId="2147378712"/>
            <ac:graphicFrameMk id="14" creationId="{9887595F-90B6-1EDC-9BF9-62AD79C17B7E}"/>
          </ac:graphicFrameMkLst>
        </pc:graphicFrameChg>
      </pc:sldChg>
      <pc:sldChg chg="delSp modSp add mod">
        <pc:chgData name="内山 裕弥" userId="8d34b9d0-ec49-418d-b1de-019cf6b56da5" providerId="ADAL" clId="{EE417D81-9D62-44B5-9A36-43CC1B66E142}" dt="2024-07-19T04:40:00.646" v="3980" actId="1076"/>
        <pc:sldMkLst>
          <pc:docMk/>
          <pc:sldMk cId="2848558883" sldId="2147378713"/>
        </pc:sldMkLst>
        <pc:spChg chg="mod">
          <ac:chgData name="内山 裕弥" userId="8d34b9d0-ec49-418d-b1de-019cf6b56da5" providerId="ADAL" clId="{EE417D81-9D62-44B5-9A36-43CC1B66E142}" dt="2024-07-19T04:39:04.675" v="3798" actId="20577"/>
          <ac:spMkLst>
            <pc:docMk/>
            <pc:sldMk cId="2848558883" sldId="2147378713"/>
            <ac:spMk id="4" creationId="{29DB748F-EFF5-4509-B381-6B8D73B31303}"/>
          </ac:spMkLst>
        </pc:spChg>
        <pc:spChg chg="mod">
          <ac:chgData name="内山 裕弥" userId="8d34b9d0-ec49-418d-b1de-019cf6b56da5" providerId="ADAL" clId="{EE417D81-9D62-44B5-9A36-43CC1B66E142}" dt="2024-07-19T04:40:00.646" v="3980" actId="1076"/>
          <ac:spMkLst>
            <pc:docMk/>
            <pc:sldMk cId="2848558883" sldId="2147378713"/>
            <ac:spMk id="6" creationId="{9E4631E7-964D-E009-B2BB-C8E7CB208D67}"/>
          </ac:spMkLst>
        </pc:spChg>
        <pc:spChg chg="mod">
          <ac:chgData name="内山 裕弥" userId="8d34b9d0-ec49-418d-b1de-019cf6b56da5" providerId="ADAL" clId="{EE417D81-9D62-44B5-9A36-43CC1B66E142}" dt="2024-07-19T04:39:57.013" v="3979" actId="20577"/>
          <ac:spMkLst>
            <pc:docMk/>
            <pc:sldMk cId="2848558883" sldId="2147378713"/>
            <ac:spMk id="7" creationId="{44C5D2AE-5A67-8B16-4D64-05BEA1BC14F5}"/>
          </ac:spMkLst>
        </pc:spChg>
        <pc:graphicFrameChg chg="del">
          <ac:chgData name="内山 裕弥" userId="8d34b9d0-ec49-418d-b1de-019cf6b56da5" providerId="ADAL" clId="{EE417D81-9D62-44B5-9A36-43CC1B66E142}" dt="2024-07-19T04:39:10.354" v="3799" actId="21"/>
          <ac:graphicFrameMkLst>
            <pc:docMk/>
            <pc:sldMk cId="2848558883" sldId="2147378713"/>
            <ac:graphicFrameMk id="2" creationId="{11947C01-3F25-5707-DF65-95146B28736C}"/>
          </ac:graphicFrameMkLst>
        </pc:graphicFrameChg>
      </pc:sldChg>
      <pc:sldChg chg="delSp modSp add mod">
        <pc:chgData name="内山 裕弥" userId="8d34b9d0-ec49-418d-b1de-019cf6b56da5" providerId="ADAL" clId="{EE417D81-9D62-44B5-9A36-43CC1B66E142}" dt="2024-07-19T04:52:25.224" v="4790" actId="478"/>
        <pc:sldMkLst>
          <pc:docMk/>
          <pc:sldMk cId="3334367261" sldId="2147378714"/>
        </pc:sldMkLst>
        <pc:spChg chg="mod">
          <ac:chgData name="内山 裕弥" userId="8d34b9d0-ec49-418d-b1de-019cf6b56da5" providerId="ADAL" clId="{EE417D81-9D62-44B5-9A36-43CC1B66E142}" dt="2024-07-19T04:47:56.774" v="4498" actId="1076"/>
          <ac:spMkLst>
            <pc:docMk/>
            <pc:sldMk cId="3334367261" sldId="2147378714"/>
            <ac:spMk id="4" creationId="{2D9DF4BF-A6B4-F174-8EB6-98CC10E01A36}"/>
          </ac:spMkLst>
        </pc:spChg>
        <pc:spChg chg="del">
          <ac:chgData name="内山 裕弥" userId="8d34b9d0-ec49-418d-b1de-019cf6b56da5" providerId="ADAL" clId="{EE417D81-9D62-44B5-9A36-43CC1B66E142}" dt="2024-07-19T04:52:25.224" v="4790" actId="478"/>
          <ac:spMkLst>
            <pc:docMk/>
            <pc:sldMk cId="3334367261" sldId="2147378714"/>
            <ac:spMk id="7" creationId="{A0503B66-1299-571B-996C-A6BEA9AA3FFB}"/>
          </ac:spMkLst>
        </pc:spChg>
        <pc:spChg chg="mod">
          <ac:chgData name="内山 裕弥" userId="8d34b9d0-ec49-418d-b1de-019cf6b56da5" providerId="ADAL" clId="{EE417D81-9D62-44B5-9A36-43CC1B66E142}" dt="2024-07-19T04:45:41.753" v="4238" actId="20577"/>
          <ac:spMkLst>
            <pc:docMk/>
            <pc:sldMk cId="3334367261" sldId="2147378714"/>
            <ac:spMk id="9" creationId="{D22A0A06-D5A8-4A1A-B66F-2A8EDBD644F1}"/>
          </ac:spMkLst>
        </pc:spChg>
        <pc:graphicFrameChg chg="mod modGraphic">
          <ac:chgData name="内山 裕弥" userId="8d34b9d0-ec49-418d-b1de-019cf6b56da5" providerId="ADAL" clId="{EE417D81-9D62-44B5-9A36-43CC1B66E142}" dt="2024-07-19T04:47:54.331" v="4497" actId="20577"/>
          <ac:graphicFrameMkLst>
            <pc:docMk/>
            <pc:sldMk cId="3334367261" sldId="2147378714"/>
            <ac:graphicFrameMk id="3" creationId="{789DCD94-CACD-CC79-48EF-F13A5ACFBD8A}"/>
          </ac:graphicFrameMkLst>
        </pc:graphicFrameChg>
      </pc:sldChg>
      <pc:sldChg chg="addSp delSp modSp add mod">
        <pc:chgData name="内山 裕弥" userId="8d34b9d0-ec49-418d-b1de-019cf6b56da5" providerId="ADAL" clId="{EE417D81-9D62-44B5-9A36-43CC1B66E142}" dt="2024-07-19T05:07:46.038" v="6720" actId="20577"/>
        <pc:sldMkLst>
          <pc:docMk/>
          <pc:sldMk cId="89963991" sldId="2147378715"/>
        </pc:sldMkLst>
        <pc:spChg chg="mod">
          <ac:chgData name="内山 裕弥" userId="8d34b9d0-ec49-418d-b1de-019cf6b56da5" providerId="ADAL" clId="{EE417D81-9D62-44B5-9A36-43CC1B66E142}" dt="2024-07-19T05:07:46.038" v="6720" actId="20577"/>
          <ac:spMkLst>
            <pc:docMk/>
            <pc:sldMk cId="89963991" sldId="2147378715"/>
            <ac:spMk id="4" creationId="{9986CF63-9F4F-EEC8-16B1-03EAAE162369}"/>
          </ac:spMkLst>
        </pc:spChg>
        <pc:spChg chg="mod">
          <ac:chgData name="内山 裕弥" userId="8d34b9d0-ec49-418d-b1de-019cf6b56da5" providerId="ADAL" clId="{EE417D81-9D62-44B5-9A36-43CC1B66E142}" dt="2024-07-19T05:03:52.208" v="6121" actId="20577"/>
          <ac:spMkLst>
            <pc:docMk/>
            <pc:sldMk cId="89963991" sldId="2147378715"/>
            <ac:spMk id="9" creationId="{F7DA7227-3724-60C8-1F06-5A8A2F4AF1F8}"/>
          </ac:spMkLst>
        </pc:spChg>
        <pc:spChg chg="mod">
          <ac:chgData name="内山 裕弥" userId="8d34b9d0-ec49-418d-b1de-019cf6b56da5" providerId="ADAL" clId="{EE417D81-9D62-44B5-9A36-43CC1B66E142}" dt="2024-07-19T05:04:00.439" v="6123"/>
          <ac:spMkLst>
            <pc:docMk/>
            <pc:sldMk cId="89963991" sldId="2147378715"/>
            <ac:spMk id="10" creationId="{2760C657-E546-400B-F795-216C14288289}"/>
          </ac:spMkLst>
        </pc:spChg>
        <pc:spChg chg="mod">
          <ac:chgData name="内山 裕弥" userId="8d34b9d0-ec49-418d-b1de-019cf6b56da5" providerId="ADAL" clId="{EE417D81-9D62-44B5-9A36-43CC1B66E142}" dt="2024-07-19T05:04:00.439" v="6123"/>
          <ac:spMkLst>
            <pc:docMk/>
            <pc:sldMk cId="89963991" sldId="2147378715"/>
            <ac:spMk id="11" creationId="{66BF40DF-FEE7-20C6-E70D-8323FB5F5C92}"/>
          </ac:spMkLst>
        </pc:spChg>
        <pc:grpChg chg="add del mod">
          <ac:chgData name="内山 裕弥" userId="8d34b9d0-ec49-418d-b1de-019cf6b56da5" providerId="ADAL" clId="{EE417D81-9D62-44B5-9A36-43CC1B66E142}" dt="2024-07-19T05:04:04.663" v="6124"/>
          <ac:grpSpMkLst>
            <pc:docMk/>
            <pc:sldMk cId="89963991" sldId="2147378715"/>
            <ac:grpSpMk id="7" creationId="{00050D12-A362-11F1-3082-B0DD69466372}"/>
          </ac:grpSpMkLst>
        </pc:grpChg>
        <pc:picChg chg="add del mod">
          <ac:chgData name="内山 裕弥" userId="8d34b9d0-ec49-418d-b1de-019cf6b56da5" providerId="ADAL" clId="{EE417D81-9D62-44B5-9A36-43CC1B66E142}" dt="2024-07-19T05:04:04.663" v="6124"/>
          <ac:picMkLst>
            <pc:docMk/>
            <pc:sldMk cId="89963991" sldId="2147378715"/>
            <ac:picMk id="3" creationId="{1E18EF1D-C4A1-0613-789E-7AECDA0A9B21}"/>
          </ac:picMkLst>
        </pc:picChg>
        <pc:picChg chg="mod">
          <ac:chgData name="内山 裕弥" userId="8d34b9d0-ec49-418d-b1de-019cf6b56da5" providerId="ADAL" clId="{EE417D81-9D62-44B5-9A36-43CC1B66E142}" dt="2024-07-19T05:04:00.439" v="6123"/>
          <ac:picMkLst>
            <pc:docMk/>
            <pc:sldMk cId="89963991" sldId="2147378715"/>
            <ac:picMk id="8" creationId="{FC089C0A-4125-B46A-F1F8-86204FD0543E}"/>
          </ac:picMkLst>
        </pc:picChg>
        <pc:picChg chg="add mod ord">
          <ac:chgData name="内山 裕弥" userId="8d34b9d0-ec49-418d-b1de-019cf6b56da5" providerId="ADAL" clId="{EE417D81-9D62-44B5-9A36-43CC1B66E142}" dt="2024-07-19T05:04:09.868" v="6128" actId="1076"/>
          <ac:picMkLst>
            <pc:docMk/>
            <pc:sldMk cId="89963991" sldId="2147378715"/>
            <ac:picMk id="12" creationId="{4FAFF68C-D7FF-A72F-07AE-666C52F083D6}"/>
          </ac:picMkLst>
        </pc:picChg>
        <pc:picChg chg="del">
          <ac:chgData name="内山 裕弥" userId="8d34b9d0-ec49-418d-b1de-019cf6b56da5" providerId="ADAL" clId="{EE417D81-9D62-44B5-9A36-43CC1B66E142}" dt="2024-07-19T05:03:54.278" v="6122" actId="478"/>
          <ac:picMkLst>
            <pc:docMk/>
            <pc:sldMk cId="89963991" sldId="2147378715"/>
            <ac:picMk id="31" creationId="{16020430-00B1-287F-A924-BAA06D233495}"/>
          </ac:picMkLst>
        </pc:picChg>
      </pc:sldChg>
      <pc:sldChg chg="addSp delSp modSp add mod">
        <pc:chgData name="内山 裕弥" userId="8d34b9d0-ec49-418d-b1de-019cf6b56da5" providerId="ADAL" clId="{EE417D81-9D62-44B5-9A36-43CC1B66E142}" dt="2024-07-19T05:07:34.889" v="6714" actId="21"/>
        <pc:sldMkLst>
          <pc:docMk/>
          <pc:sldMk cId="1575785639" sldId="2147378716"/>
        </pc:sldMkLst>
        <pc:spChg chg="mod">
          <ac:chgData name="内山 裕弥" userId="8d34b9d0-ec49-418d-b1de-019cf6b56da5" providerId="ADAL" clId="{EE417D81-9D62-44B5-9A36-43CC1B66E142}" dt="2024-07-19T05:07:34.889" v="6714" actId="21"/>
          <ac:spMkLst>
            <pc:docMk/>
            <pc:sldMk cId="1575785639" sldId="2147378716"/>
            <ac:spMk id="4" creationId="{9986CF63-9F4F-EEC8-16B1-03EAAE162369}"/>
          </ac:spMkLst>
        </pc:spChg>
        <pc:spChg chg="add del mod">
          <ac:chgData name="内山 裕弥" userId="8d34b9d0-ec49-418d-b1de-019cf6b56da5" providerId="ADAL" clId="{EE417D81-9D62-44B5-9A36-43CC1B66E142}" dt="2024-07-19T05:05:23.985" v="6424"/>
          <ac:spMkLst>
            <pc:docMk/>
            <pc:sldMk cId="1575785639" sldId="2147378716"/>
            <ac:spMk id="8" creationId="{8D36D045-D539-12A8-6294-8DE2CF48886D}"/>
          </ac:spMkLst>
        </pc:spChg>
        <pc:spChg chg="mod">
          <ac:chgData name="内山 裕弥" userId="8d34b9d0-ec49-418d-b1de-019cf6b56da5" providerId="ADAL" clId="{EE417D81-9D62-44B5-9A36-43CC1B66E142}" dt="2024-07-19T05:05:16.555" v="6421" actId="20577"/>
          <ac:spMkLst>
            <pc:docMk/>
            <pc:sldMk cId="1575785639" sldId="2147378716"/>
            <ac:spMk id="9" creationId="{F7DA7227-3724-60C8-1F06-5A8A2F4AF1F8}"/>
          </ac:spMkLst>
        </pc:spChg>
        <pc:spChg chg="add del mod">
          <ac:chgData name="内山 裕弥" userId="8d34b9d0-ec49-418d-b1de-019cf6b56da5" providerId="ADAL" clId="{EE417D81-9D62-44B5-9A36-43CC1B66E142}" dt="2024-07-19T05:05:23.985" v="6424"/>
          <ac:spMkLst>
            <pc:docMk/>
            <pc:sldMk cId="1575785639" sldId="2147378716"/>
            <ac:spMk id="10" creationId="{C85F3F67-EA06-AD4E-1DB8-1A9A8125C8CE}"/>
          </ac:spMkLst>
        </pc:spChg>
        <pc:spChg chg="add del mod">
          <ac:chgData name="内山 裕弥" userId="8d34b9d0-ec49-418d-b1de-019cf6b56da5" providerId="ADAL" clId="{EE417D81-9D62-44B5-9A36-43CC1B66E142}" dt="2024-07-19T05:05:23.985" v="6424"/>
          <ac:spMkLst>
            <pc:docMk/>
            <pc:sldMk cId="1575785639" sldId="2147378716"/>
            <ac:spMk id="11" creationId="{A9CF1634-7B2C-C3B2-BDE4-6C87BA0A384D}"/>
          </ac:spMkLst>
        </pc:spChg>
        <pc:spChg chg="add del mod">
          <ac:chgData name="内山 裕弥" userId="8d34b9d0-ec49-418d-b1de-019cf6b56da5" providerId="ADAL" clId="{EE417D81-9D62-44B5-9A36-43CC1B66E142}" dt="2024-07-19T05:05:23.985" v="6424"/>
          <ac:spMkLst>
            <pc:docMk/>
            <pc:sldMk cId="1575785639" sldId="2147378716"/>
            <ac:spMk id="13" creationId="{FA98E4E2-ACAB-BF8A-9CE3-749808AD499E}"/>
          </ac:spMkLst>
        </pc:spChg>
        <pc:picChg chg="add del mod">
          <ac:chgData name="内山 裕弥" userId="8d34b9d0-ec49-418d-b1de-019cf6b56da5" providerId="ADAL" clId="{EE417D81-9D62-44B5-9A36-43CC1B66E142}" dt="2024-07-19T05:05:23.985" v="6424"/>
          <ac:picMkLst>
            <pc:docMk/>
            <pc:sldMk cId="1575785639" sldId="2147378716"/>
            <ac:picMk id="3" creationId="{32350EDC-425A-E341-322A-324BA6663E6B}"/>
          </ac:picMkLst>
        </pc:picChg>
        <pc:picChg chg="add del mod">
          <ac:chgData name="内山 裕弥" userId="8d34b9d0-ec49-418d-b1de-019cf6b56da5" providerId="ADAL" clId="{EE417D81-9D62-44B5-9A36-43CC1B66E142}" dt="2024-07-19T05:05:23.985" v="6424"/>
          <ac:picMkLst>
            <pc:docMk/>
            <pc:sldMk cId="1575785639" sldId="2147378716"/>
            <ac:picMk id="7" creationId="{7F319213-AD3E-D3A9-81A9-EACAFDAE99FD}"/>
          </ac:picMkLst>
        </pc:picChg>
        <pc:picChg chg="del">
          <ac:chgData name="内山 裕弥" userId="8d34b9d0-ec49-418d-b1de-019cf6b56da5" providerId="ADAL" clId="{EE417D81-9D62-44B5-9A36-43CC1B66E142}" dt="2024-07-19T05:05:22.151" v="6422" actId="478"/>
          <ac:picMkLst>
            <pc:docMk/>
            <pc:sldMk cId="1575785639" sldId="2147378716"/>
            <ac:picMk id="12" creationId="{4FAFF68C-D7FF-A72F-07AE-666C52F083D6}"/>
          </ac:picMkLst>
        </pc:picChg>
        <pc:picChg chg="add mod ord">
          <ac:chgData name="内山 裕弥" userId="8d34b9d0-ec49-418d-b1de-019cf6b56da5" providerId="ADAL" clId="{EE417D81-9D62-44B5-9A36-43CC1B66E142}" dt="2024-07-19T05:05:27.088" v="6427" actId="1076"/>
          <ac:picMkLst>
            <pc:docMk/>
            <pc:sldMk cId="1575785639" sldId="2147378716"/>
            <ac:picMk id="14" creationId="{14F881AA-A9DD-5D4C-6B41-DC64E37C5F31}"/>
          </ac:picMkLst>
        </pc:picChg>
      </pc:sldChg>
      <pc:sldChg chg="addSp delSp modSp add mod">
        <pc:chgData name="内山 裕弥" userId="8d34b9d0-ec49-418d-b1de-019cf6b56da5" providerId="ADAL" clId="{EE417D81-9D62-44B5-9A36-43CC1B66E142}" dt="2024-07-19T05:33:50.062" v="8566" actId="1076"/>
        <pc:sldMkLst>
          <pc:docMk/>
          <pc:sldMk cId="1334307493" sldId="2147378717"/>
        </pc:sldMkLst>
        <pc:spChg chg="mod">
          <ac:chgData name="内山 裕弥" userId="8d34b9d0-ec49-418d-b1de-019cf6b56da5" providerId="ADAL" clId="{EE417D81-9D62-44B5-9A36-43CC1B66E142}" dt="2024-07-19T05:33:21.398" v="8428" actId="20577"/>
          <ac:spMkLst>
            <pc:docMk/>
            <pc:sldMk cId="1334307493" sldId="2147378717"/>
            <ac:spMk id="4" creationId="{4F1B8C31-A2AA-E8B5-6842-B8CA68666E37}"/>
          </ac:spMkLst>
        </pc:spChg>
        <pc:spChg chg="mod ord">
          <ac:chgData name="内山 裕弥" userId="8d34b9d0-ec49-418d-b1de-019cf6b56da5" providerId="ADAL" clId="{EE417D81-9D62-44B5-9A36-43CC1B66E142}" dt="2024-07-19T05:33:50.062" v="8566" actId="1076"/>
          <ac:spMkLst>
            <pc:docMk/>
            <pc:sldMk cId="1334307493" sldId="2147378717"/>
            <ac:spMk id="13" creationId="{ED88E5C2-1CEC-3507-1A41-A32A9F740D09}"/>
          </ac:spMkLst>
        </pc:spChg>
        <pc:graphicFrameChg chg="add del mod">
          <ac:chgData name="内山 裕弥" userId="8d34b9d0-ec49-418d-b1de-019cf6b56da5" providerId="ADAL" clId="{EE417D81-9D62-44B5-9A36-43CC1B66E142}" dt="2024-07-19T05:33:03.185" v="8397"/>
          <ac:graphicFrameMkLst>
            <pc:docMk/>
            <pc:sldMk cId="1334307493" sldId="2147378717"/>
            <ac:graphicFrameMk id="5" creationId="{98417A8D-9AEF-B2C3-0908-984CD11D52E5}"/>
          </ac:graphicFrameMkLst>
        </pc:graphicFrameChg>
        <pc:graphicFrameChg chg="add mod modGraphic">
          <ac:chgData name="内山 裕弥" userId="8d34b9d0-ec49-418d-b1de-019cf6b56da5" providerId="ADAL" clId="{EE417D81-9D62-44B5-9A36-43CC1B66E142}" dt="2024-07-19T05:33:47.518" v="8565" actId="207"/>
          <ac:graphicFrameMkLst>
            <pc:docMk/>
            <pc:sldMk cId="1334307493" sldId="2147378717"/>
            <ac:graphicFrameMk id="8" creationId="{1E5897B3-2F6F-760C-55F3-ADE995C99D64}"/>
          </ac:graphicFrameMkLst>
        </pc:graphicFrameChg>
        <pc:picChg chg="add del">
          <ac:chgData name="内山 裕弥" userId="8d34b9d0-ec49-418d-b1de-019cf6b56da5" providerId="ADAL" clId="{EE417D81-9D62-44B5-9A36-43CC1B66E142}" dt="2024-07-19T05:33:05.335" v="8399"/>
          <ac:picMkLst>
            <pc:docMk/>
            <pc:sldMk cId="1334307493" sldId="2147378717"/>
            <ac:picMk id="7" creationId="{E6DD9AB0-E0EE-D612-BC04-576794DAEFB8}"/>
          </ac:picMkLst>
        </pc:picChg>
        <pc:picChg chg="del">
          <ac:chgData name="内山 裕弥" userId="8d34b9d0-ec49-418d-b1de-019cf6b56da5" providerId="ADAL" clId="{EE417D81-9D62-44B5-9A36-43CC1B66E142}" dt="2024-07-19T05:33:00.803" v="8395" actId="478"/>
          <ac:picMkLst>
            <pc:docMk/>
            <pc:sldMk cId="1334307493" sldId="2147378717"/>
            <ac:picMk id="12" creationId="{920D49B5-780A-0B0E-081E-8188B35BACC6}"/>
          </ac:picMkLst>
        </pc:picChg>
      </pc:sldChg>
      <pc:sldChg chg="addSp delSp modSp add mod">
        <pc:chgData name="内山 裕弥" userId="8d34b9d0-ec49-418d-b1de-019cf6b56da5" providerId="ADAL" clId="{EE417D81-9D62-44B5-9A36-43CC1B66E142}" dt="2024-07-19T05:44:35.564" v="8793" actId="1076"/>
        <pc:sldMkLst>
          <pc:docMk/>
          <pc:sldMk cId="2574112575" sldId="2147378718"/>
        </pc:sldMkLst>
        <pc:spChg chg="mod">
          <ac:chgData name="内山 裕弥" userId="8d34b9d0-ec49-418d-b1de-019cf6b56da5" providerId="ADAL" clId="{EE417D81-9D62-44B5-9A36-43CC1B66E142}" dt="2024-07-19T05:40:34.675" v="8594"/>
          <ac:spMkLst>
            <pc:docMk/>
            <pc:sldMk cId="2574112575" sldId="2147378718"/>
            <ac:spMk id="4" creationId="{12C53150-040F-52DA-C62A-71223FB5EBC3}"/>
          </ac:spMkLst>
        </pc:spChg>
        <pc:spChg chg="mod">
          <ac:chgData name="内山 裕弥" userId="8d34b9d0-ec49-418d-b1de-019cf6b56da5" providerId="ADAL" clId="{EE417D81-9D62-44B5-9A36-43CC1B66E142}" dt="2024-07-19T05:44:35.564" v="8793" actId="1076"/>
          <ac:spMkLst>
            <pc:docMk/>
            <pc:sldMk cId="2574112575" sldId="2147378718"/>
            <ac:spMk id="7" creationId="{91D9460F-1390-32F5-1B0E-70693C6D1EFA}"/>
          </ac:spMkLst>
        </pc:spChg>
        <pc:graphicFrameChg chg="del">
          <ac:chgData name="内山 裕弥" userId="8d34b9d0-ec49-418d-b1de-019cf6b56da5" providerId="ADAL" clId="{EE417D81-9D62-44B5-9A36-43CC1B66E142}" dt="2024-07-19T05:40:39.926" v="8595" actId="478"/>
          <ac:graphicFrameMkLst>
            <pc:docMk/>
            <pc:sldMk cId="2574112575" sldId="2147378718"/>
            <ac:graphicFrameMk id="2" creationId="{160D2BC7-24B6-9403-A602-4F7ED4041F1F}"/>
          </ac:graphicFrameMkLst>
        </pc:graphicFrameChg>
        <pc:graphicFrameChg chg="add mod ord modGraphic">
          <ac:chgData name="内山 裕弥" userId="8d34b9d0-ec49-418d-b1de-019cf6b56da5" providerId="ADAL" clId="{EE417D81-9D62-44B5-9A36-43CC1B66E142}" dt="2024-07-19T05:41:39.056" v="8670" actId="207"/>
          <ac:graphicFrameMkLst>
            <pc:docMk/>
            <pc:sldMk cId="2574112575" sldId="2147378718"/>
            <ac:graphicFrameMk id="6" creationId="{D49F8818-13D5-031F-17C9-B075602B9F36}"/>
          </ac:graphicFrameMkLst>
        </pc:graphicFrameChg>
      </pc:sldChg>
      <pc:sldChg chg="addSp delSp modSp add mod">
        <pc:chgData name="内山 裕弥" userId="8d34b9d0-ec49-418d-b1de-019cf6b56da5" providerId="ADAL" clId="{EE417D81-9D62-44B5-9A36-43CC1B66E142}" dt="2024-07-19T11:11:50.763" v="9436" actId="20577"/>
        <pc:sldMkLst>
          <pc:docMk/>
          <pc:sldMk cId="2029142166" sldId="2147378719"/>
        </pc:sldMkLst>
        <pc:spChg chg="mod">
          <ac:chgData name="内山 裕弥" userId="8d34b9d0-ec49-418d-b1de-019cf6b56da5" providerId="ADAL" clId="{EE417D81-9D62-44B5-9A36-43CC1B66E142}" dt="2024-07-19T11:11:34.860" v="9409"/>
          <ac:spMkLst>
            <pc:docMk/>
            <pc:sldMk cId="2029142166" sldId="2147378719"/>
            <ac:spMk id="4" creationId="{DCD11E60-C345-0156-A89F-36AE8A4A9155}"/>
          </ac:spMkLst>
        </pc:spChg>
        <pc:spChg chg="del">
          <ac:chgData name="内山 裕弥" userId="8d34b9d0-ec49-418d-b1de-019cf6b56da5" providerId="ADAL" clId="{EE417D81-9D62-44B5-9A36-43CC1B66E142}" dt="2024-07-19T11:11:43.170" v="9411" actId="21"/>
          <ac:spMkLst>
            <pc:docMk/>
            <pc:sldMk cId="2029142166" sldId="2147378719"/>
            <ac:spMk id="6" creationId="{A8716A6B-6EAA-4A8E-9F4B-40B17BD58816}"/>
          </ac:spMkLst>
        </pc:spChg>
        <pc:spChg chg="add mod">
          <ac:chgData name="内山 裕弥" userId="8d34b9d0-ec49-418d-b1de-019cf6b56da5" providerId="ADAL" clId="{EE417D81-9D62-44B5-9A36-43CC1B66E142}" dt="2024-07-19T11:11:50.763" v="9436" actId="20577"/>
          <ac:spMkLst>
            <pc:docMk/>
            <pc:sldMk cId="2029142166" sldId="2147378719"/>
            <ac:spMk id="7" creationId="{788BF72B-2A40-D353-4A4A-032265572BA3}"/>
          </ac:spMkLst>
        </pc:spChg>
        <pc:graphicFrameChg chg="del">
          <ac:chgData name="内山 裕弥" userId="8d34b9d0-ec49-418d-b1de-019cf6b56da5" providerId="ADAL" clId="{EE417D81-9D62-44B5-9A36-43CC1B66E142}" dt="2024-07-19T11:11:40.318" v="9410" actId="21"/>
          <ac:graphicFrameMkLst>
            <pc:docMk/>
            <pc:sldMk cId="2029142166" sldId="2147378719"/>
            <ac:graphicFrameMk id="2" creationId="{C643ECC8-A3AC-933C-3E81-E0D6449A8658}"/>
          </ac:graphicFrameMkLst>
        </pc:graphicFrameChg>
      </pc:sldChg>
      <pc:sldChg chg="delSp new mod modClrScheme chgLayout">
        <pc:chgData name="内山 裕弥" userId="8d34b9d0-ec49-418d-b1de-019cf6b56da5" providerId="ADAL" clId="{EE417D81-9D62-44B5-9A36-43CC1B66E142}" dt="2024-07-19T11:12:04.522" v="9438" actId="700"/>
        <pc:sldMkLst>
          <pc:docMk/>
          <pc:sldMk cId="2471951817" sldId="2147378720"/>
        </pc:sldMkLst>
        <pc:spChg chg="del">
          <ac:chgData name="内山 裕弥" userId="8d34b9d0-ec49-418d-b1de-019cf6b56da5" providerId="ADAL" clId="{EE417D81-9D62-44B5-9A36-43CC1B66E142}" dt="2024-07-19T11:12:04.522" v="9438" actId="700"/>
          <ac:spMkLst>
            <pc:docMk/>
            <pc:sldMk cId="2471951817" sldId="2147378720"/>
            <ac:spMk id="2" creationId="{702C539A-A362-A7FB-DE15-85D097ED1087}"/>
          </ac:spMkLst>
        </pc:spChg>
        <pc:spChg chg="del">
          <ac:chgData name="内山 裕弥" userId="8d34b9d0-ec49-418d-b1de-019cf6b56da5" providerId="ADAL" clId="{EE417D81-9D62-44B5-9A36-43CC1B66E142}" dt="2024-07-19T11:12:04.522" v="9438" actId="700"/>
          <ac:spMkLst>
            <pc:docMk/>
            <pc:sldMk cId="2471951817" sldId="2147378720"/>
            <ac:spMk id="3" creationId="{3184CF29-4B0B-D5FC-0205-1D38FE6B56D2}"/>
          </ac:spMkLst>
        </pc:spChg>
        <pc:spChg chg="del">
          <ac:chgData name="内山 裕弥" userId="8d34b9d0-ec49-418d-b1de-019cf6b56da5" providerId="ADAL" clId="{EE417D81-9D62-44B5-9A36-43CC1B66E142}" dt="2024-07-19T11:12:04.522" v="9438" actId="700"/>
          <ac:spMkLst>
            <pc:docMk/>
            <pc:sldMk cId="2471951817" sldId="2147378720"/>
            <ac:spMk id="4" creationId="{18157C57-C3BB-9732-EE75-D803475E3F30}"/>
          </ac:spMkLst>
        </pc:spChg>
      </pc:sldChg>
      <pc:sldChg chg="addSp delSp modSp add mod">
        <pc:chgData name="内山 裕弥" userId="8d34b9d0-ec49-418d-b1de-019cf6b56da5" providerId="ADAL" clId="{EE417D81-9D62-44B5-9A36-43CC1B66E142}" dt="2024-07-19T11:14:09.836" v="9807" actId="1076"/>
        <pc:sldMkLst>
          <pc:docMk/>
          <pc:sldMk cId="1590769032" sldId="2147378721"/>
        </pc:sldMkLst>
        <pc:spChg chg="mod">
          <ac:chgData name="内山 裕弥" userId="8d34b9d0-ec49-418d-b1de-019cf6b56da5" providerId="ADAL" clId="{EE417D81-9D62-44B5-9A36-43CC1B66E142}" dt="2024-07-19T11:12:22.130" v="9453" actId="20577"/>
          <ac:spMkLst>
            <pc:docMk/>
            <pc:sldMk cId="1590769032" sldId="2147378721"/>
            <ac:spMk id="4" creationId="{DCD11E60-C345-0156-A89F-36AE8A4A9155}"/>
          </ac:spMkLst>
        </pc:spChg>
        <pc:spChg chg="del">
          <ac:chgData name="内山 裕弥" userId="8d34b9d0-ec49-418d-b1de-019cf6b56da5" providerId="ADAL" clId="{EE417D81-9D62-44B5-9A36-43CC1B66E142}" dt="2024-07-19T11:12:26.937" v="9454" actId="478"/>
          <ac:spMkLst>
            <pc:docMk/>
            <pc:sldMk cId="1590769032" sldId="2147378721"/>
            <ac:spMk id="6" creationId="{A8716A6B-6EAA-4A8E-9F4B-40B17BD58816}"/>
          </ac:spMkLst>
        </pc:spChg>
        <pc:spChg chg="add mod">
          <ac:chgData name="内山 裕弥" userId="8d34b9d0-ec49-418d-b1de-019cf6b56da5" providerId="ADAL" clId="{EE417D81-9D62-44B5-9A36-43CC1B66E142}" dt="2024-07-19T11:14:09.836" v="9807" actId="1076"/>
          <ac:spMkLst>
            <pc:docMk/>
            <pc:sldMk cId="1590769032" sldId="2147378721"/>
            <ac:spMk id="8" creationId="{1F7B5859-1E66-F963-5C70-1C8AFDBB7C58}"/>
          </ac:spMkLst>
        </pc:spChg>
        <pc:graphicFrameChg chg="del">
          <ac:chgData name="内山 裕弥" userId="8d34b9d0-ec49-418d-b1de-019cf6b56da5" providerId="ADAL" clId="{EE417D81-9D62-44B5-9A36-43CC1B66E142}" dt="2024-07-19T11:12:31.713" v="9455" actId="478"/>
          <ac:graphicFrameMkLst>
            <pc:docMk/>
            <pc:sldMk cId="1590769032" sldId="2147378721"/>
            <ac:graphicFrameMk id="2" creationId="{C643ECC8-A3AC-933C-3E81-E0D6449A8658}"/>
          </ac:graphicFrameMkLst>
        </pc:graphicFrameChg>
        <pc:graphicFrameChg chg="add mod modGraphic">
          <ac:chgData name="内山 裕弥" userId="8d34b9d0-ec49-418d-b1de-019cf6b56da5" providerId="ADAL" clId="{EE417D81-9D62-44B5-9A36-43CC1B66E142}" dt="2024-07-19T11:12:44.958" v="9459" actId="207"/>
          <ac:graphicFrameMkLst>
            <pc:docMk/>
            <pc:sldMk cId="1590769032" sldId="2147378721"/>
            <ac:graphicFrameMk id="7" creationId="{D27285E1-CFEC-7133-4B2F-3A60A9DA58C6}"/>
          </ac:graphicFrameMkLst>
        </pc:graphicFrameChg>
      </pc:sldChg>
      <pc:sldMasterChg chg="del delSldLayout">
        <pc:chgData name="内山 裕弥" userId="8d34b9d0-ec49-418d-b1de-019cf6b56da5" providerId="ADAL" clId="{EE417D81-9D62-44B5-9A36-43CC1B66E142}" dt="2024-07-19T04:05:44.908" v="218" actId="2696"/>
        <pc:sldMasterMkLst>
          <pc:docMk/>
          <pc:sldMasterMk cId="2378666199" sldId="2147483681"/>
        </pc:sldMasterMkLst>
        <pc:sldLayoutChg chg="del">
          <pc:chgData name="内山 裕弥" userId="8d34b9d0-ec49-418d-b1de-019cf6b56da5" providerId="ADAL" clId="{EE417D81-9D62-44B5-9A36-43CC1B66E142}" dt="2024-07-19T04:05:44.895" v="213" actId="2696"/>
          <pc:sldLayoutMkLst>
            <pc:docMk/>
            <pc:sldMasterMk cId="2378666199" sldId="2147483681"/>
            <pc:sldLayoutMk cId="2901919220" sldId="2147483682"/>
          </pc:sldLayoutMkLst>
        </pc:sldLayoutChg>
        <pc:sldLayoutChg chg="del">
          <pc:chgData name="内山 裕弥" userId="8d34b9d0-ec49-418d-b1de-019cf6b56da5" providerId="ADAL" clId="{EE417D81-9D62-44B5-9A36-43CC1B66E142}" dt="2024-07-19T04:05:44.898" v="214" actId="2696"/>
          <pc:sldLayoutMkLst>
            <pc:docMk/>
            <pc:sldMasterMk cId="2378666199" sldId="2147483681"/>
            <pc:sldLayoutMk cId="67245665" sldId="2147483684"/>
          </pc:sldLayoutMkLst>
        </pc:sldLayoutChg>
        <pc:sldLayoutChg chg="del">
          <pc:chgData name="内山 裕弥" userId="8d34b9d0-ec49-418d-b1de-019cf6b56da5" providerId="ADAL" clId="{EE417D81-9D62-44B5-9A36-43CC1B66E142}" dt="2024-07-19T04:05:44.902" v="215" actId="2696"/>
          <pc:sldLayoutMkLst>
            <pc:docMk/>
            <pc:sldMasterMk cId="2378666199" sldId="2147483681"/>
            <pc:sldLayoutMk cId="162629755" sldId="2147483693"/>
          </pc:sldLayoutMkLst>
        </pc:sldLayoutChg>
        <pc:sldLayoutChg chg="del">
          <pc:chgData name="内山 裕弥" userId="8d34b9d0-ec49-418d-b1de-019cf6b56da5" providerId="ADAL" clId="{EE417D81-9D62-44B5-9A36-43CC1B66E142}" dt="2024-07-19T04:05:44.904" v="216" actId="2696"/>
          <pc:sldLayoutMkLst>
            <pc:docMk/>
            <pc:sldMasterMk cId="2378666199" sldId="2147483681"/>
            <pc:sldLayoutMk cId="2964629554" sldId="2147483788"/>
          </pc:sldLayoutMkLst>
        </pc:sldLayoutChg>
        <pc:sldLayoutChg chg="del">
          <pc:chgData name="内山 裕弥" userId="8d34b9d0-ec49-418d-b1de-019cf6b56da5" providerId="ADAL" clId="{EE417D81-9D62-44B5-9A36-43CC1B66E142}" dt="2024-07-19T04:05:44.906" v="217" actId="2696"/>
          <pc:sldLayoutMkLst>
            <pc:docMk/>
            <pc:sldMasterMk cId="2378666199" sldId="2147483681"/>
            <pc:sldLayoutMk cId="3424219500" sldId="2147483789"/>
          </pc:sldLayoutMkLst>
        </pc:sldLayoutChg>
      </pc:sldMasterChg>
      <pc:sldMasterChg chg="del delSldLayout">
        <pc:chgData name="内山 裕弥" userId="8d34b9d0-ec49-418d-b1de-019cf6b56da5" providerId="ADAL" clId="{EE417D81-9D62-44B5-9A36-43CC1B66E142}" dt="2024-07-19T04:05:45.881" v="220" actId="2696"/>
        <pc:sldMasterMkLst>
          <pc:docMk/>
          <pc:sldMasterMk cId="1409019568" sldId="2147483714"/>
        </pc:sldMasterMkLst>
        <pc:sldLayoutChg chg="del">
          <pc:chgData name="内山 裕弥" userId="8d34b9d0-ec49-418d-b1de-019cf6b56da5" providerId="ADAL" clId="{EE417D81-9D62-44B5-9A36-43CC1B66E142}" dt="2024-07-19T04:05:45.879" v="219" actId="2696"/>
          <pc:sldLayoutMkLst>
            <pc:docMk/>
            <pc:sldMasterMk cId="1409019568" sldId="2147483714"/>
            <pc:sldLayoutMk cId="1045914008" sldId="2147483809"/>
          </pc:sldLayoutMkLst>
        </pc:sldLayoutChg>
      </pc:sldMasterChg>
      <pc:sldMasterChg chg="del delSldLayout">
        <pc:chgData name="内山 裕弥" userId="8d34b9d0-ec49-418d-b1de-019cf6b56da5" providerId="ADAL" clId="{EE417D81-9D62-44B5-9A36-43CC1B66E142}" dt="2024-07-19T04:05:46.922" v="222" actId="2696"/>
        <pc:sldMasterMkLst>
          <pc:docMk/>
          <pc:sldMasterMk cId="3804727514" sldId="2147483716"/>
        </pc:sldMasterMkLst>
        <pc:sldLayoutChg chg="del">
          <pc:chgData name="内山 裕弥" userId="8d34b9d0-ec49-418d-b1de-019cf6b56da5" providerId="ADAL" clId="{EE417D81-9D62-44B5-9A36-43CC1B66E142}" dt="2024-07-19T04:05:46.918" v="221" actId="2696"/>
          <pc:sldLayoutMkLst>
            <pc:docMk/>
            <pc:sldMasterMk cId="3804727514" sldId="2147483716"/>
            <pc:sldLayoutMk cId="1087610556" sldId="2147483717"/>
          </pc:sldLayoutMkLst>
        </pc:sldLayoutChg>
      </pc:sldMasterChg>
      <pc:sldMasterChg chg="del delSldLayout">
        <pc:chgData name="内山 裕弥" userId="8d34b9d0-ec49-418d-b1de-019cf6b56da5" providerId="ADAL" clId="{EE417D81-9D62-44B5-9A36-43CC1B66E142}" dt="2024-07-19T04:05:43.774" v="212" actId="2696"/>
        <pc:sldMasterMkLst>
          <pc:docMk/>
          <pc:sldMasterMk cId="3265404265" sldId="2147483745"/>
        </pc:sldMasterMkLst>
        <pc:sldLayoutChg chg="del">
          <pc:chgData name="内山 裕弥" userId="8d34b9d0-ec49-418d-b1de-019cf6b56da5" providerId="ADAL" clId="{EE417D81-9D62-44B5-9A36-43CC1B66E142}" dt="2024-07-19T04:05:43.746" v="203" actId="2696"/>
          <pc:sldLayoutMkLst>
            <pc:docMk/>
            <pc:sldMasterMk cId="3265404265" sldId="2147483745"/>
            <pc:sldLayoutMk cId="3114736461" sldId="2147483746"/>
          </pc:sldLayoutMkLst>
        </pc:sldLayoutChg>
        <pc:sldLayoutChg chg="del">
          <pc:chgData name="内山 裕弥" userId="8d34b9d0-ec49-418d-b1de-019cf6b56da5" providerId="ADAL" clId="{EE417D81-9D62-44B5-9A36-43CC1B66E142}" dt="2024-07-19T04:05:43.749" v="204" actId="2696"/>
          <pc:sldLayoutMkLst>
            <pc:docMk/>
            <pc:sldMasterMk cId="3265404265" sldId="2147483745"/>
            <pc:sldLayoutMk cId="2509301793" sldId="2147483747"/>
          </pc:sldLayoutMkLst>
        </pc:sldLayoutChg>
        <pc:sldLayoutChg chg="del">
          <pc:chgData name="内山 裕弥" userId="8d34b9d0-ec49-418d-b1de-019cf6b56da5" providerId="ADAL" clId="{EE417D81-9D62-44B5-9A36-43CC1B66E142}" dt="2024-07-19T04:05:43.751" v="205" actId="2696"/>
          <pc:sldLayoutMkLst>
            <pc:docMk/>
            <pc:sldMasterMk cId="3265404265" sldId="2147483745"/>
            <pc:sldLayoutMk cId="3632430116" sldId="2147483748"/>
          </pc:sldLayoutMkLst>
        </pc:sldLayoutChg>
        <pc:sldLayoutChg chg="del">
          <pc:chgData name="内山 裕弥" userId="8d34b9d0-ec49-418d-b1de-019cf6b56da5" providerId="ADAL" clId="{EE417D81-9D62-44B5-9A36-43CC1B66E142}" dt="2024-07-19T04:05:43.754" v="206" actId="2696"/>
          <pc:sldLayoutMkLst>
            <pc:docMk/>
            <pc:sldMasterMk cId="3265404265" sldId="2147483745"/>
            <pc:sldLayoutMk cId="2384322098" sldId="2147483749"/>
          </pc:sldLayoutMkLst>
        </pc:sldLayoutChg>
        <pc:sldLayoutChg chg="del">
          <pc:chgData name="内山 裕弥" userId="8d34b9d0-ec49-418d-b1de-019cf6b56da5" providerId="ADAL" clId="{EE417D81-9D62-44B5-9A36-43CC1B66E142}" dt="2024-07-19T04:05:43.756" v="207" actId="2696"/>
          <pc:sldLayoutMkLst>
            <pc:docMk/>
            <pc:sldMasterMk cId="3265404265" sldId="2147483745"/>
            <pc:sldLayoutMk cId="4002526101" sldId="2147483750"/>
          </pc:sldLayoutMkLst>
        </pc:sldLayoutChg>
        <pc:sldLayoutChg chg="del">
          <pc:chgData name="内山 裕弥" userId="8d34b9d0-ec49-418d-b1de-019cf6b56da5" providerId="ADAL" clId="{EE417D81-9D62-44B5-9A36-43CC1B66E142}" dt="2024-07-19T04:05:43.759" v="208" actId="2696"/>
          <pc:sldLayoutMkLst>
            <pc:docMk/>
            <pc:sldMasterMk cId="3265404265" sldId="2147483745"/>
            <pc:sldLayoutMk cId="1348462619" sldId="2147483751"/>
          </pc:sldLayoutMkLst>
        </pc:sldLayoutChg>
        <pc:sldLayoutChg chg="del">
          <pc:chgData name="内山 裕弥" userId="8d34b9d0-ec49-418d-b1de-019cf6b56da5" providerId="ADAL" clId="{EE417D81-9D62-44B5-9A36-43CC1B66E142}" dt="2024-07-19T04:05:43.762" v="209" actId="2696"/>
          <pc:sldLayoutMkLst>
            <pc:docMk/>
            <pc:sldMasterMk cId="3265404265" sldId="2147483745"/>
            <pc:sldLayoutMk cId="73333963" sldId="2147483752"/>
          </pc:sldLayoutMkLst>
        </pc:sldLayoutChg>
        <pc:sldLayoutChg chg="del">
          <pc:chgData name="内山 裕弥" userId="8d34b9d0-ec49-418d-b1de-019cf6b56da5" providerId="ADAL" clId="{EE417D81-9D62-44B5-9A36-43CC1B66E142}" dt="2024-07-19T04:05:43.764" v="210" actId="2696"/>
          <pc:sldLayoutMkLst>
            <pc:docMk/>
            <pc:sldMasterMk cId="3265404265" sldId="2147483745"/>
            <pc:sldLayoutMk cId="1450092248" sldId="2147483753"/>
          </pc:sldLayoutMkLst>
        </pc:sldLayoutChg>
        <pc:sldLayoutChg chg="del">
          <pc:chgData name="内山 裕弥" userId="8d34b9d0-ec49-418d-b1de-019cf6b56da5" providerId="ADAL" clId="{EE417D81-9D62-44B5-9A36-43CC1B66E142}" dt="2024-07-19T04:05:43.766" v="211" actId="2696"/>
          <pc:sldLayoutMkLst>
            <pc:docMk/>
            <pc:sldMasterMk cId="3265404265" sldId="2147483745"/>
            <pc:sldLayoutMk cId="510017649" sldId="2147483754"/>
          </pc:sldLayoutMkLst>
        </pc:sldLayoutChg>
      </pc:sldMasterChg>
      <pc:sldMasterChg chg="addSp delSp modSp mod delSldLayout modSldLayout">
        <pc:chgData name="内山 裕弥" userId="8d34b9d0-ec49-418d-b1de-019cf6b56da5" providerId="ADAL" clId="{EE417D81-9D62-44B5-9A36-43CC1B66E142}" dt="2024-07-19T04:06:03.151" v="253" actId="2696"/>
        <pc:sldMasterMkLst>
          <pc:docMk/>
          <pc:sldMasterMk cId="2162003807" sldId="2147483755"/>
        </pc:sldMasterMkLst>
        <pc:spChg chg="add mod">
          <ac:chgData name="内山 裕弥" userId="8d34b9d0-ec49-418d-b1de-019cf6b56da5" providerId="ADAL" clId="{EE417D81-9D62-44B5-9A36-43CC1B66E142}" dt="2024-07-19T04:05:09.404" v="143"/>
          <ac:spMkLst>
            <pc:docMk/>
            <pc:sldMasterMk cId="2162003807" sldId="2147483755"/>
            <ac:spMk id="3" creationId="{87D0FF6D-A520-87F6-851A-32670B6B9442}"/>
          </ac:spMkLst>
        </pc:spChg>
        <pc:spChg chg="del mod">
          <ac:chgData name="内山 裕弥" userId="8d34b9d0-ec49-418d-b1de-019cf6b56da5" providerId="ADAL" clId="{EE417D81-9D62-44B5-9A36-43CC1B66E142}" dt="2024-07-19T04:05:10.604" v="144" actId="21"/>
          <ac:spMkLst>
            <pc:docMk/>
            <pc:sldMasterMk cId="2162003807" sldId="2147483755"/>
            <ac:spMk id="6" creationId="{75B2146D-AFCA-47AF-9929-EFD6AF8CE1A0}"/>
          </ac:spMkLst>
        </pc:spChg>
        <pc:picChg chg="add mod">
          <ac:chgData name="内山 裕弥" userId="8d34b9d0-ec49-418d-b1de-019cf6b56da5" providerId="ADAL" clId="{EE417D81-9D62-44B5-9A36-43CC1B66E142}" dt="2024-07-19T04:05:09.404" v="143"/>
          <ac:picMkLst>
            <pc:docMk/>
            <pc:sldMasterMk cId="2162003807" sldId="2147483755"/>
            <ac:picMk id="4" creationId="{C12C3DD6-97B4-BE5F-B436-9C7F3023ECB5}"/>
          </ac:picMkLst>
        </pc:picChg>
        <pc:sldLayoutChg chg="addSp modSp mod">
          <pc:chgData name="内山 裕弥" userId="8d34b9d0-ec49-418d-b1de-019cf6b56da5" providerId="ADAL" clId="{EE417D81-9D62-44B5-9A36-43CC1B66E142}" dt="2024-07-19T04:05:55.302" v="251"/>
          <pc:sldLayoutMkLst>
            <pc:docMk/>
            <pc:sldMasterMk cId="2162003807" sldId="2147483755"/>
            <pc:sldLayoutMk cId="291536866" sldId="2147483756"/>
          </pc:sldLayoutMkLst>
          <pc:spChg chg="add mod">
            <ac:chgData name="内山 裕弥" userId="8d34b9d0-ec49-418d-b1de-019cf6b56da5" providerId="ADAL" clId="{EE417D81-9D62-44B5-9A36-43CC1B66E142}" dt="2024-07-19T04:05:55.302" v="251"/>
            <ac:spMkLst>
              <pc:docMk/>
              <pc:sldMasterMk cId="2162003807" sldId="2147483755"/>
              <pc:sldLayoutMk cId="291536866" sldId="2147483756"/>
              <ac:spMk id="2" creationId="{A3FB6309-E751-E5DF-C7C2-D7D80856905C}"/>
            </ac:spMkLst>
          </pc:spChg>
          <pc:spChg chg="mod">
            <ac:chgData name="内山 裕弥" userId="8d34b9d0-ec49-418d-b1de-019cf6b56da5" providerId="ADAL" clId="{EE417D81-9D62-44B5-9A36-43CC1B66E142}" dt="2024-07-19T04:05:33.349" v="202" actId="20577"/>
            <ac:spMkLst>
              <pc:docMk/>
              <pc:sldMasterMk cId="2162003807" sldId="2147483755"/>
              <pc:sldLayoutMk cId="291536866" sldId="2147483756"/>
              <ac:spMk id="24" creationId="{00000000-0000-0000-0000-000000000000}"/>
            </ac:spMkLst>
          </pc:spChg>
          <pc:picChg chg="add mod">
            <ac:chgData name="内山 裕弥" userId="8d34b9d0-ec49-418d-b1de-019cf6b56da5" providerId="ADAL" clId="{EE417D81-9D62-44B5-9A36-43CC1B66E142}" dt="2024-07-19T04:05:55.302" v="251"/>
            <ac:picMkLst>
              <pc:docMk/>
              <pc:sldMasterMk cId="2162003807" sldId="2147483755"/>
              <pc:sldLayoutMk cId="291536866" sldId="2147483756"/>
              <ac:picMk id="3" creationId="{98005F8C-E287-4376-1BEE-6B296973F659}"/>
            </ac:picMkLst>
          </pc:picChg>
        </pc:sldLayoutChg>
        <pc:sldLayoutChg chg="del">
          <pc:chgData name="内山 裕弥" userId="8d34b9d0-ec49-418d-b1de-019cf6b56da5" providerId="ADAL" clId="{EE417D81-9D62-44B5-9A36-43CC1B66E142}" dt="2024-07-19T04:06:02.641" v="252" actId="2696"/>
          <pc:sldLayoutMkLst>
            <pc:docMk/>
            <pc:sldMasterMk cId="2162003807" sldId="2147483755"/>
            <pc:sldLayoutMk cId="4158934519" sldId="2147483757"/>
          </pc:sldLayoutMkLst>
        </pc:sldLayoutChg>
        <pc:sldLayoutChg chg="del">
          <pc:chgData name="内山 裕弥" userId="8d34b9d0-ec49-418d-b1de-019cf6b56da5" providerId="ADAL" clId="{EE417D81-9D62-44B5-9A36-43CC1B66E142}" dt="2024-07-19T04:06:03.151" v="253" actId="2696"/>
          <pc:sldLayoutMkLst>
            <pc:docMk/>
            <pc:sldMasterMk cId="2162003807" sldId="2147483755"/>
            <pc:sldLayoutMk cId="3286202414" sldId="2147483758"/>
          </pc:sldLayoutMkLst>
        </pc:sldLayoutChg>
      </pc:sldMasterChg>
      <pc:sldMasterChg chg="del delSldLayout">
        <pc:chgData name="内山 裕弥" userId="8d34b9d0-ec49-418d-b1de-019cf6b56da5" providerId="ADAL" clId="{EE417D81-9D62-44B5-9A36-43CC1B66E142}" dt="2024-07-19T04:05:49.793" v="236" actId="2696"/>
        <pc:sldMasterMkLst>
          <pc:docMk/>
          <pc:sldMasterMk cId="1657818025" sldId="2147483774"/>
        </pc:sldMasterMkLst>
        <pc:sldLayoutChg chg="del">
          <pc:chgData name="内山 裕弥" userId="8d34b9d0-ec49-418d-b1de-019cf6b56da5" providerId="ADAL" clId="{EE417D81-9D62-44B5-9A36-43CC1B66E142}" dt="2024-07-19T04:05:49.751" v="223" actId="2696"/>
          <pc:sldLayoutMkLst>
            <pc:docMk/>
            <pc:sldMasterMk cId="1657818025" sldId="2147483774"/>
            <pc:sldLayoutMk cId="2298188456" sldId="2147483775"/>
          </pc:sldLayoutMkLst>
        </pc:sldLayoutChg>
        <pc:sldLayoutChg chg="del">
          <pc:chgData name="内山 裕弥" userId="8d34b9d0-ec49-418d-b1de-019cf6b56da5" providerId="ADAL" clId="{EE417D81-9D62-44B5-9A36-43CC1B66E142}" dt="2024-07-19T04:05:49.754" v="224" actId="2696"/>
          <pc:sldLayoutMkLst>
            <pc:docMk/>
            <pc:sldMasterMk cId="1657818025" sldId="2147483774"/>
            <pc:sldLayoutMk cId="4292109827" sldId="2147483776"/>
          </pc:sldLayoutMkLst>
        </pc:sldLayoutChg>
        <pc:sldLayoutChg chg="del">
          <pc:chgData name="内山 裕弥" userId="8d34b9d0-ec49-418d-b1de-019cf6b56da5" providerId="ADAL" clId="{EE417D81-9D62-44B5-9A36-43CC1B66E142}" dt="2024-07-19T04:05:49.758" v="225" actId="2696"/>
          <pc:sldLayoutMkLst>
            <pc:docMk/>
            <pc:sldMasterMk cId="1657818025" sldId="2147483774"/>
            <pc:sldLayoutMk cId="2936517992" sldId="2147483777"/>
          </pc:sldLayoutMkLst>
        </pc:sldLayoutChg>
        <pc:sldLayoutChg chg="del">
          <pc:chgData name="内山 裕弥" userId="8d34b9d0-ec49-418d-b1de-019cf6b56da5" providerId="ADAL" clId="{EE417D81-9D62-44B5-9A36-43CC1B66E142}" dt="2024-07-19T04:05:49.761" v="226" actId="2696"/>
          <pc:sldLayoutMkLst>
            <pc:docMk/>
            <pc:sldMasterMk cId="1657818025" sldId="2147483774"/>
            <pc:sldLayoutMk cId="137738386" sldId="2147483778"/>
          </pc:sldLayoutMkLst>
        </pc:sldLayoutChg>
        <pc:sldLayoutChg chg="del">
          <pc:chgData name="内山 裕弥" userId="8d34b9d0-ec49-418d-b1de-019cf6b56da5" providerId="ADAL" clId="{EE417D81-9D62-44B5-9A36-43CC1B66E142}" dt="2024-07-19T04:05:49.764" v="227" actId="2696"/>
          <pc:sldLayoutMkLst>
            <pc:docMk/>
            <pc:sldMasterMk cId="1657818025" sldId="2147483774"/>
            <pc:sldLayoutMk cId="585607159" sldId="2147483779"/>
          </pc:sldLayoutMkLst>
        </pc:sldLayoutChg>
        <pc:sldLayoutChg chg="del">
          <pc:chgData name="内山 裕弥" userId="8d34b9d0-ec49-418d-b1de-019cf6b56da5" providerId="ADAL" clId="{EE417D81-9D62-44B5-9A36-43CC1B66E142}" dt="2024-07-19T04:05:49.766" v="228" actId="2696"/>
          <pc:sldLayoutMkLst>
            <pc:docMk/>
            <pc:sldMasterMk cId="1657818025" sldId="2147483774"/>
            <pc:sldLayoutMk cId="3827882261" sldId="2147483780"/>
          </pc:sldLayoutMkLst>
        </pc:sldLayoutChg>
        <pc:sldLayoutChg chg="del">
          <pc:chgData name="内山 裕弥" userId="8d34b9d0-ec49-418d-b1de-019cf6b56da5" providerId="ADAL" clId="{EE417D81-9D62-44B5-9A36-43CC1B66E142}" dt="2024-07-19T04:05:49.768" v="229" actId="2696"/>
          <pc:sldLayoutMkLst>
            <pc:docMk/>
            <pc:sldMasterMk cId="1657818025" sldId="2147483774"/>
            <pc:sldLayoutMk cId="2819582620" sldId="2147483781"/>
          </pc:sldLayoutMkLst>
        </pc:sldLayoutChg>
        <pc:sldLayoutChg chg="del">
          <pc:chgData name="内山 裕弥" userId="8d34b9d0-ec49-418d-b1de-019cf6b56da5" providerId="ADAL" clId="{EE417D81-9D62-44B5-9A36-43CC1B66E142}" dt="2024-07-19T04:05:49.772" v="230" actId="2696"/>
          <pc:sldLayoutMkLst>
            <pc:docMk/>
            <pc:sldMasterMk cId="1657818025" sldId="2147483774"/>
            <pc:sldLayoutMk cId="2698601596" sldId="2147483782"/>
          </pc:sldLayoutMkLst>
        </pc:sldLayoutChg>
        <pc:sldLayoutChg chg="del">
          <pc:chgData name="内山 裕弥" userId="8d34b9d0-ec49-418d-b1de-019cf6b56da5" providerId="ADAL" clId="{EE417D81-9D62-44B5-9A36-43CC1B66E142}" dt="2024-07-19T04:05:49.774" v="231" actId="2696"/>
          <pc:sldLayoutMkLst>
            <pc:docMk/>
            <pc:sldMasterMk cId="1657818025" sldId="2147483774"/>
            <pc:sldLayoutMk cId="2235022082" sldId="2147483783"/>
          </pc:sldLayoutMkLst>
        </pc:sldLayoutChg>
        <pc:sldLayoutChg chg="del">
          <pc:chgData name="内山 裕弥" userId="8d34b9d0-ec49-418d-b1de-019cf6b56da5" providerId="ADAL" clId="{EE417D81-9D62-44B5-9A36-43CC1B66E142}" dt="2024-07-19T04:05:49.777" v="232" actId="2696"/>
          <pc:sldLayoutMkLst>
            <pc:docMk/>
            <pc:sldMasterMk cId="1657818025" sldId="2147483774"/>
            <pc:sldLayoutMk cId="3948903752" sldId="2147483784"/>
          </pc:sldLayoutMkLst>
        </pc:sldLayoutChg>
        <pc:sldLayoutChg chg="del">
          <pc:chgData name="内山 裕弥" userId="8d34b9d0-ec49-418d-b1de-019cf6b56da5" providerId="ADAL" clId="{EE417D81-9D62-44B5-9A36-43CC1B66E142}" dt="2024-07-19T04:05:49.780" v="233" actId="2696"/>
          <pc:sldLayoutMkLst>
            <pc:docMk/>
            <pc:sldMasterMk cId="1657818025" sldId="2147483774"/>
            <pc:sldLayoutMk cId="3370459686" sldId="2147483785"/>
          </pc:sldLayoutMkLst>
        </pc:sldLayoutChg>
        <pc:sldLayoutChg chg="del">
          <pc:chgData name="内山 裕弥" userId="8d34b9d0-ec49-418d-b1de-019cf6b56da5" providerId="ADAL" clId="{EE417D81-9D62-44B5-9A36-43CC1B66E142}" dt="2024-07-19T04:05:49.782" v="234" actId="2696"/>
          <pc:sldLayoutMkLst>
            <pc:docMk/>
            <pc:sldMasterMk cId="1657818025" sldId="2147483774"/>
            <pc:sldLayoutMk cId="1988775701" sldId="2147483786"/>
          </pc:sldLayoutMkLst>
        </pc:sldLayoutChg>
        <pc:sldLayoutChg chg="del">
          <pc:chgData name="内山 裕弥" userId="8d34b9d0-ec49-418d-b1de-019cf6b56da5" providerId="ADAL" clId="{EE417D81-9D62-44B5-9A36-43CC1B66E142}" dt="2024-07-19T04:05:49.785" v="235" actId="2696"/>
          <pc:sldLayoutMkLst>
            <pc:docMk/>
            <pc:sldMasterMk cId="1657818025" sldId="2147483774"/>
            <pc:sldLayoutMk cId="2881629326" sldId="2147483787"/>
          </pc:sldLayoutMkLst>
        </pc:sldLayoutChg>
      </pc:sldMasterChg>
      <pc:sldMasterChg chg="del delSldLayout">
        <pc:chgData name="内山 裕弥" userId="8d34b9d0-ec49-418d-b1de-019cf6b56da5" providerId="ADAL" clId="{EE417D81-9D62-44B5-9A36-43CC1B66E142}" dt="2024-07-19T04:05:50.793" v="250" actId="2696"/>
        <pc:sldMasterMkLst>
          <pc:docMk/>
          <pc:sldMasterMk cId="1323487226" sldId="2147483794"/>
        </pc:sldMasterMkLst>
        <pc:sldLayoutChg chg="del">
          <pc:chgData name="内山 裕弥" userId="8d34b9d0-ec49-418d-b1de-019cf6b56da5" providerId="ADAL" clId="{EE417D81-9D62-44B5-9A36-43CC1B66E142}" dt="2024-07-19T04:05:50.729" v="237" actId="2696"/>
          <pc:sldLayoutMkLst>
            <pc:docMk/>
            <pc:sldMasterMk cId="1323487226" sldId="2147483794"/>
            <pc:sldLayoutMk cId="3198547896" sldId="2147483795"/>
          </pc:sldLayoutMkLst>
        </pc:sldLayoutChg>
        <pc:sldLayoutChg chg="del">
          <pc:chgData name="内山 裕弥" userId="8d34b9d0-ec49-418d-b1de-019cf6b56da5" providerId="ADAL" clId="{EE417D81-9D62-44B5-9A36-43CC1B66E142}" dt="2024-07-19T04:05:50.732" v="238" actId="2696"/>
          <pc:sldLayoutMkLst>
            <pc:docMk/>
            <pc:sldMasterMk cId="1323487226" sldId="2147483794"/>
            <pc:sldLayoutMk cId="4201963330" sldId="2147483796"/>
          </pc:sldLayoutMkLst>
        </pc:sldLayoutChg>
        <pc:sldLayoutChg chg="del">
          <pc:chgData name="内山 裕弥" userId="8d34b9d0-ec49-418d-b1de-019cf6b56da5" providerId="ADAL" clId="{EE417D81-9D62-44B5-9A36-43CC1B66E142}" dt="2024-07-19T04:05:50.736" v="239" actId="2696"/>
          <pc:sldLayoutMkLst>
            <pc:docMk/>
            <pc:sldMasterMk cId="1323487226" sldId="2147483794"/>
            <pc:sldLayoutMk cId="3747134652" sldId="2147483797"/>
          </pc:sldLayoutMkLst>
        </pc:sldLayoutChg>
        <pc:sldLayoutChg chg="del">
          <pc:chgData name="内山 裕弥" userId="8d34b9d0-ec49-418d-b1de-019cf6b56da5" providerId="ADAL" clId="{EE417D81-9D62-44B5-9A36-43CC1B66E142}" dt="2024-07-19T04:05:50.765" v="240" actId="2696"/>
          <pc:sldLayoutMkLst>
            <pc:docMk/>
            <pc:sldMasterMk cId="1323487226" sldId="2147483794"/>
            <pc:sldLayoutMk cId="2373699153" sldId="2147483798"/>
          </pc:sldLayoutMkLst>
        </pc:sldLayoutChg>
        <pc:sldLayoutChg chg="del">
          <pc:chgData name="内山 裕弥" userId="8d34b9d0-ec49-418d-b1de-019cf6b56da5" providerId="ADAL" clId="{EE417D81-9D62-44B5-9A36-43CC1B66E142}" dt="2024-07-19T04:05:50.770" v="241" actId="2696"/>
          <pc:sldLayoutMkLst>
            <pc:docMk/>
            <pc:sldMasterMk cId="1323487226" sldId="2147483794"/>
            <pc:sldLayoutMk cId="3924135083" sldId="2147483799"/>
          </pc:sldLayoutMkLst>
        </pc:sldLayoutChg>
        <pc:sldLayoutChg chg="del">
          <pc:chgData name="内山 裕弥" userId="8d34b9d0-ec49-418d-b1de-019cf6b56da5" providerId="ADAL" clId="{EE417D81-9D62-44B5-9A36-43CC1B66E142}" dt="2024-07-19T04:05:50.772" v="242" actId="2696"/>
          <pc:sldLayoutMkLst>
            <pc:docMk/>
            <pc:sldMasterMk cId="1323487226" sldId="2147483794"/>
            <pc:sldLayoutMk cId="2821489798" sldId="2147483800"/>
          </pc:sldLayoutMkLst>
        </pc:sldLayoutChg>
        <pc:sldLayoutChg chg="del">
          <pc:chgData name="内山 裕弥" userId="8d34b9d0-ec49-418d-b1de-019cf6b56da5" providerId="ADAL" clId="{EE417D81-9D62-44B5-9A36-43CC1B66E142}" dt="2024-07-19T04:05:50.774" v="243" actId="2696"/>
          <pc:sldLayoutMkLst>
            <pc:docMk/>
            <pc:sldMasterMk cId="1323487226" sldId="2147483794"/>
            <pc:sldLayoutMk cId="1854283866" sldId="2147483801"/>
          </pc:sldLayoutMkLst>
        </pc:sldLayoutChg>
        <pc:sldLayoutChg chg="del">
          <pc:chgData name="内山 裕弥" userId="8d34b9d0-ec49-418d-b1de-019cf6b56da5" providerId="ADAL" clId="{EE417D81-9D62-44B5-9A36-43CC1B66E142}" dt="2024-07-19T04:05:50.777" v="244" actId="2696"/>
          <pc:sldLayoutMkLst>
            <pc:docMk/>
            <pc:sldMasterMk cId="1323487226" sldId="2147483794"/>
            <pc:sldLayoutMk cId="1086763629" sldId="2147483802"/>
          </pc:sldLayoutMkLst>
        </pc:sldLayoutChg>
        <pc:sldLayoutChg chg="del">
          <pc:chgData name="内山 裕弥" userId="8d34b9d0-ec49-418d-b1de-019cf6b56da5" providerId="ADAL" clId="{EE417D81-9D62-44B5-9A36-43CC1B66E142}" dt="2024-07-19T04:05:50.779" v="245" actId="2696"/>
          <pc:sldLayoutMkLst>
            <pc:docMk/>
            <pc:sldMasterMk cId="1323487226" sldId="2147483794"/>
            <pc:sldLayoutMk cId="2096497774" sldId="2147483803"/>
          </pc:sldLayoutMkLst>
        </pc:sldLayoutChg>
        <pc:sldLayoutChg chg="del">
          <pc:chgData name="内山 裕弥" userId="8d34b9d0-ec49-418d-b1de-019cf6b56da5" providerId="ADAL" clId="{EE417D81-9D62-44B5-9A36-43CC1B66E142}" dt="2024-07-19T04:05:50.783" v="246" actId="2696"/>
          <pc:sldLayoutMkLst>
            <pc:docMk/>
            <pc:sldMasterMk cId="1323487226" sldId="2147483794"/>
            <pc:sldLayoutMk cId="2773940887" sldId="2147483804"/>
          </pc:sldLayoutMkLst>
        </pc:sldLayoutChg>
        <pc:sldLayoutChg chg="del">
          <pc:chgData name="内山 裕弥" userId="8d34b9d0-ec49-418d-b1de-019cf6b56da5" providerId="ADAL" clId="{EE417D81-9D62-44B5-9A36-43CC1B66E142}" dt="2024-07-19T04:05:50.786" v="247" actId="2696"/>
          <pc:sldLayoutMkLst>
            <pc:docMk/>
            <pc:sldMasterMk cId="1323487226" sldId="2147483794"/>
            <pc:sldLayoutMk cId="3663685616" sldId="2147483805"/>
          </pc:sldLayoutMkLst>
        </pc:sldLayoutChg>
        <pc:sldLayoutChg chg="del">
          <pc:chgData name="内山 裕弥" userId="8d34b9d0-ec49-418d-b1de-019cf6b56da5" providerId="ADAL" clId="{EE417D81-9D62-44B5-9A36-43CC1B66E142}" dt="2024-07-19T04:05:50.788" v="248" actId="2696"/>
          <pc:sldLayoutMkLst>
            <pc:docMk/>
            <pc:sldMasterMk cId="1323487226" sldId="2147483794"/>
            <pc:sldLayoutMk cId="2500790750" sldId="2147483806"/>
          </pc:sldLayoutMkLst>
        </pc:sldLayoutChg>
        <pc:sldLayoutChg chg="del">
          <pc:chgData name="内山 裕弥" userId="8d34b9d0-ec49-418d-b1de-019cf6b56da5" providerId="ADAL" clId="{EE417D81-9D62-44B5-9A36-43CC1B66E142}" dt="2024-07-19T04:05:50.790" v="249" actId="2696"/>
          <pc:sldLayoutMkLst>
            <pc:docMk/>
            <pc:sldMasterMk cId="1323487226" sldId="2147483794"/>
            <pc:sldLayoutMk cId="716948760" sldId="2147483807"/>
          </pc:sldLayoutMkLst>
        </pc:sldLayoutChg>
      </pc:sldMasterChg>
    </pc:docChg>
  </pc:docChgLst>
  <pc:docChgLst>
    <pc:chgData name="野沢 龍太郎" userId="a69d7eb3-acfc-4d2f-8244-da7c6277a67f" providerId="ADAL" clId="{F1EEBFAA-C528-4695-BC80-8FDEDE905BA9}"/>
    <pc:docChg chg="modSld">
      <pc:chgData name="野沢 龍太郎" userId="a69d7eb3-acfc-4d2f-8244-da7c6277a67f" providerId="ADAL" clId="{F1EEBFAA-C528-4695-BC80-8FDEDE905BA9}" dt="2024-07-12T08:24:26.454" v="307" actId="20577"/>
      <pc:docMkLst>
        <pc:docMk/>
      </pc:docMkLst>
      <pc:sldChg chg="modSp mod">
        <pc:chgData name="野沢 龍太郎" userId="a69d7eb3-acfc-4d2f-8244-da7c6277a67f" providerId="ADAL" clId="{F1EEBFAA-C528-4695-BC80-8FDEDE905BA9}" dt="2024-07-12T08:20:18.320" v="66" actId="14100"/>
        <pc:sldMkLst>
          <pc:docMk/>
          <pc:sldMk cId="1786860980" sldId="2147378654"/>
        </pc:sldMkLst>
        <pc:spChg chg="mod">
          <ac:chgData name="野沢 龍太郎" userId="a69d7eb3-acfc-4d2f-8244-da7c6277a67f" providerId="ADAL" clId="{F1EEBFAA-C528-4695-BC80-8FDEDE905BA9}" dt="2024-07-12T08:20:18.320" v="66" actId="14100"/>
          <ac:spMkLst>
            <pc:docMk/>
            <pc:sldMk cId="1786860980" sldId="2147378654"/>
            <ac:spMk id="10" creationId="{C1084721-7EDF-0DAE-BBA0-0ED1A14E3AE7}"/>
          </ac:spMkLst>
        </pc:spChg>
      </pc:sldChg>
      <pc:sldChg chg="modNotesTx">
        <pc:chgData name="野沢 龍太郎" userId="a69d7eb3-acfc-4d2f-8244-da7c6277a67f" providerId="ADAL" clId="{F1EEBFAA-C528-4695-BC80-8FDEDE905BA9}" dt="2024-07-12T08:19:54.469" v="65" actId="20577"/>
        <pc:sldMkLst>
          <pc:docMk/>
          <pc:sldMk cId="959679513" sldId="2147378701"/>
        </pc:sldMkLst>
      </pc:sldChg>
      <pc:sldChg chg="modNotesTx">
        <pc:chgData name="野沢 龍太郎" userId="a69d7eb3-acfc-4d2f-8244-da7c6277a67f" providerId="ADAL" clId="{F1EEBFAA-C528-4695-BC80-8FDEDE905BA9}" dt="2024-07-12T08:22:34.313" v="242" actId="20577"/>
        <pc:sldMkLst>
          <pc:docMk/>
          <pc:sldMk cId="936371591" sldId="2147378704"/>
        </pc:sldMkLst>
      </pc:sldChg>
      <pc:sldChg chg="modNotesTx">
        <pc:chgData name="野沢 龍太郎" userId="a69d7eb3-acfc-4d2f-8244-da7c6277a67f" providerId="ADAL" clId="{F1EEBFAA-C528-4695-BC80-8FDEDE905BA9}" dt="2024-07-12T08:24:26.454" v="307" actId="20577"/>
        <pc:sldMkLst>
          <pc:docMk/>
          <pc:sldMk cId="355750652" sldId="2147378708"/>
        </pc:sldMkLst>
      </pc:sldChg>
    </pc:docChg>
  </pc:docChgLst>
  <pc:docChgLst>
    <pc:chgData name="丁野 光理" userId="53361c9a-10d0-4268-b39c-a1f4044b33f4" providerId="ADAL" clId="{31A483AB-3ACD-4C31-80F9-FE8A9CCBC644}"/>
    <pc:docChg chg="undo redo custSel addSld delSld modSld sldOrd delSection modSection">
      <pc:chgData name="丁野 光理" userId="53361c9a-10d0-4268-b39c-a1f4044b33f4" providerId="ADAL" clId="{31A483AB-3ACD-4C31-80F9-FE8A9CCBC644}" dt="2025-02-10T01:49:25.534" v="5805" actId="20577"/>
      <pc:docMkLst>
        <pc:docMk/>
      </pc:docMkLst>
      <pc:sldChg chg="modSp mod addCm modCm">
        <pc:chgData name="丁野 光理" userId="53361c9a-10d0-4268-b39c-a1f4044b33f4" providerId="ADAL" clId="{31A483AB-3ACD-4C31-80F9-FE8A9CCBC644}" dt="2025-02-10T00:41:20.418" v="68" actId="1076"/>
        <pc:sldMkLst>
          <pc:docMk/>
          <pc:sldMk cId="2708077593" sldId="2147378681"/>
        </pc:sldMkLst>
        <pc:spChg chg="mod">
          <ac:chgData name="丁野 光理" userId="53361c9a-10d0-4268-b39c-a1f4044b33f4" providerId="ADAL" clId="{31A483AB-3ACD-4C31-80F9-FE8A9CCBC644}" dt="2025-02-10T00:41:09.574" v="66"/>
          <ac:spMkLst>
            <pc:docMk/>
            <pc:sldMk cId="2708077593" sldId="2147378681"/>
            <ac:spMk id="6" creationId="{95B7D5A6-3733-419F-5F47-1323A3D8D852}"/>
          </ac:spMkLst>
        </pc:spChg>
        <pc:spChg chg="mod">
          <ac:chgData name="丁野 光理" userId="53361c9a-10d0-4268-b39c-a1f4044b33f4" providerId="ADAL" clId="{31A483AB-3ACD-4C31-80F9-FE8A9CCBC644}" dt="2025-02-10T00:41:20.418" v="68" actId="1076"/>
          <ac:spMkLst>
            <pc:docMk/>
            <pc:sldMk cId="2708077593" sldId="2147378681"/>
            <ac:spMk id="53" creationId="{600AE28E-2F7C-E1F6-5796-97DD1A8A0830}"/>
          </ac:spMkLst>
        </pc:spChg>
        <pc:extLst>
          <p:ext xmlns:p="http://schemas.openxmlformats.org/presentationml/2006/main" uri="{D6D511B9-2390-475A-947B-AFAB55BFBCF1}">
            <pc226:cmChg xmlns:pc226="http://schemas.microsoft.com/office/powerpoint/2022/06/main/command" chg="add mod">
              <pc226:chgData name="丁野 光理" userId="53361c9a-10d0-4268-b39c-a1f4044b33f4" providerId="ADAL" clId="{31A483AB-3ACD-4C31-80F9-FE8A9CCBC644}" dt="2025-02-10T00:41:15.201" v="67"/>
              <pc2:cmMkLst xmlns:pc2="http://schemas.microsoft.com/office/powerpoint/2019/9/main/command">
                <pc:docMk/>
                <pc:sldMk cId="2708077593" sldId="2147378681"/>
                <pc2:cmMk id="{10E894B6-00D4-4AA1-BC2A-40560235DEBF}"/>
              </pc2:cmMkLst>
              <pc226:cmRplyChg chg="add">
                <pc226:chgData name="丁野 光理" userId="53361c9a-10d0-4268-b39c-a1f4044b33f4" providerId="ADAL" clId="{31A483AB-3ACD-4C31-80F9-FE8A9CCBC644}" dt="2025-02-10T00:41:15.201" v="67"/>
                <pc2:cmRplyMkLst xmlns:pc2="http://schemas.microsoft.com/office/powerpoint/2019/9/main/command">
                  <pc:docMk/>
                  <pc:sldMk cId="2708077593" sldId="2147378681"/>
                  <pc2:cmMk id="{10E894B6-00D4-4AA1-BC2A-40560235DEBF}"/>
                  <pc2:cmRplyMk id="{16A151AB-FC79-4BD8-8EA9-2485911D7C6E}"/>
                </pc2:cmRplyMkLst>
              </pc226:cmRplyChg>
            </pc226:cmChg>
          </p:ext>
        </pc:extLst>
      </pc:sldChg>
      <pc:sldChg chg="addSp delSp modSp mod addCm delCm modCm">
        <pc:chgData name="丁野 光理" userId="53361c9a-10d0-4268-b39c-a1f4044b33f4" providerId="ADAL" clId="{31A483AB-3ACD-4C31-80F9-FE8A9CCBC644}" dt="2025-02-10T00:56:32.485" v="975" actId="1076"/>
        <pc:sldMkLst>
          <pc:docMk/>
          <pc:sldMk cId="2807815468" sldId="2147378693"/>
        </pc:sldMkLst>
        <pc:spChg chg="mod">
          <ac:chgData name="丁野 光理" userId="53361c9a-10d0-4268-b39c-a1f4044b33f4" providerId="ADAL" clId="{31A483AB-3ACD-4C31-80F9-FE8A9CCBC644}" dt="2025-02-10T00:56:03.194" v="892"/>
          <ac:spMkLst>
            <pc:docMk/>
            <pc:sldMk cId="2807815468" sldId="2147378693"/>
            <ac:spMk id="6" creationId="{8D964562-8FEF-B52B-66B0-79C37D6E2C54}"/>
          </ac:spMkLst>
        </pc:spChg>
        <pc:spChg chg="mod">
          <ac:chgData name="丁野 光理" userId="53361c9a-10d0-4268-b39c-a1f4044b33f4" providerId="ADAL" clId="{31A483AB-3ACD-4C31-80F9-FE8A9CCBC644}" dt="2025-02-10T00:56:03.194" v="892"/>
          <ac:spMkLst>
            <pc:docMk/>
            <pc:sldMk cId="2807815468" sldId="2147378693"/>
            <ac:spMk id="7" creationId="{7F57451E-427B-D470-020A-37DC328A5912}"/>
          </ac:spMkLst>
        </pc:spChg>
        <pc:spChg chg="mod">
          <ac:chgData name="丁野 光理" userId="53361c9a-10d0-4268-b39c-a1f4044b33f4" providerId="ADAL" clId="{31A483AB-3ACD-4C31-80F9-FE8A9CCBC644}" dt="2025-02-10T00:56:03.194" v="892"/>
          <ac:spMkLst>
            <pc:docMk/>
            <pc:sldMk cId="2807815468" sldId="2147378693"/>
            <ac:spMk id="26" creationId="{20327334-4563-B8EB-EFC5-975E04860A98}"/>
          </ac:spMkLst>
        </pc:spChg>
        <pc:spChg chg="mod">
          <ac:chgData name="丁野 光理" userId="53361c9a-10d0-4268-b39c-a1f4044b33f4" providerId="ADAL" clId="{31A483AB-3ACD-4C31-80F9-FE8A9CCBC644}" dt="2025-02-10T00:56:03.194" v="892"/>
          <ac:spMkLst>
            <pc:docMk/>
            <pc:sldMk cId="2807815468" sldId="2147378693"/>
            <ac:spMk id="27" creationId="{639DF235-6E7F-FB96-685E-51E8442820D6}"/>
          </ac:spMkLst>
        </pc:spChg>
        <pc:spChg chg="mod">
          <ac:chgData name="丁野 光理" userId="53361c9a-10d0-4268-b39c-a1f4044b33f4" providerId="ADAL" clId="{31A483AB-3ACD-4C31-80F9-FE8A9CCBC644}" dt="2025-02-10T00:56:03.194" v="892"/>
          <ac:spMkLst>
            <pc:docMk/>
            <pc:sldMk cId="2807815468" sldId="2147378693"/>
            <ac:spMk id="28" creationId="{9665FF95-4D3C-45A7-3525-F32392F1719D}"/>
          </ac:spMkLst>
        </pc:spChg>
        <pc:spChg chg="mod">
          <ac:chgData name="丁野 光理" userId="53361c9a-10d0-4268-b39c-a1f4044b33f4" providerId="ADAL" clId="{31A483AB-3ACD-4C31-80F9-FE8A9CCBC644}" dt="2025-02-10T00:56:03.194" v="892"/>
          <ac:spMkLst>
            <pc:docMk/>
            <pc:sldMk cId="2807815468" sldId="2147378693"/>
            <ac:spMk id="30" creationId="{33B82005-AF0F-A0DE-FBBC-81F4CBB60EE6}"/>
          </ac:spMkLst>
        </pc:spChg>
        <pc:spChg chg="mod">
          <ac:chgData name="丁野 光理" userId="53361c9a-10d0-4268-b39c-a1f4044b33f4" providerId="ADAL" clId="{31A483AB-3ACD-4C31-80F9-FE8A9CCBC644}" dt="2025-02-10T00:56:03.194" v="892"/>
          <ac:spMkLst>
            <pc:docMk/>
            <pc:sldMk cId="2807815468" sldId="2147378693"/>
            <ac:spMk id="31" creationId="{EB4C11CC-7AE7-B6E6-975E-C1CFD44206EB}"/>
          </ac:spMkLst>
        </pc:spChg>
        <pc:spChg chg="mod">
          <ac:chgData name="丁野 光理" userId="53361c9a-10d0-4268-b39c-a1f4044b33f4" providerId="ADAL" clId="{31A483AB-3ACD-4C31-80F9-FE8A9CCBC644}" dt="2025-02-10T00:56:03.194" v="892"/>
          <ac:spMkLst>
            <pc:docMk/>
            <pc:sldMk cId="2807815468" sldId="2147378693"/>
            <ac:spMk id="32" creationId="{3333D500-5988-D875-939C-FABAB2AF7910}"/>
          </ac:spMkLst>
        </pc:spChg>
        <pc:spChg chg="mod">
          <ac:chgData name="丁野 光理" userId="53361c9a-10d0-4268-b39c-a1f4044b33f4" providerId="ADAL" clId="{31A483AB-3ACD-4C31-80F9-FE8A9CCBC644}" dt="2025-02-10T00:56:03.194" v="892"/>
          <ac:spMkLst>
            <pc:docMk/>
            <pc:sldMk cId="2807815468" sldId="2147378693"/>
            <ac:spMk id="34" creationId="{2A3566E1-1308-8439-82EB-B07131627614}"/>
          </ac:spMkLst>
        </pc:spChg>
        <pc:spChg chg="mod">
          <ac:chgData name="丁野 光理" userId="53361c9a-10d0-4268-b39c-a1f4044b33f4" providerId="ADAL" clId="{31A483AB-3ACD-4C31-80F9-FE8A9CCBC644}" dt="2025-02-10T00:56:03.194" v="892"/>
          <ac:spMkLst>
            <pc:docMk/>
            <pc:sldMk cId="2807815468" sldId="2147378693"/>
            <ac:spMk id="37" creationId="{CCC817B5-7698-6A1E-8419-4657FEE82C56}"/>
          </ac:spMkLst>
        </pc:spChg>
        <pc:spChg chg="add mod">
          <ac:chgData name="丁野 光理" userId="53361c9a-10d0-4268-b39c-a1f4044b33f4" providerId="ADAL" clId="{31A483AB-3ACD-4C31-80F9-FE8A9CCBC644}" dt="2025-02-10T00:56:03.194" v="892"/>
          <ac:spMkLst>
            <pc:docMk/>
            <pc:sldMk cId="2807815468" sldId="2147378693"/>
            <ac:spMk id="41" creationId="{670A360E-5022-D5AA-125A-C3FA6B6513F5}"/>
          </ac:spMkLst>
        </pc:spChg>
        <pc:spChg chg="mod">
          <ac:chgData name="丁野 光理" userId="53361c9a-10d0-4268-b39c-a1f4044b33f4" providerId="ADAL" clId="{31A483AB-3ACD-4C31-80F9-FE8A9CCBC644}" dt="2025-02-10T00:56:05.607" v="893"/>
          <ac:spMkLst>
            <pc:docMk/>
            <pc:sldMk cId="2807815468" sldId="2147378693"/>
            <ac:spMk id="43" creationId="{D83458F3-8122-247E-4484-2FA08BF1EE75}"/>
          </ac:spMkLst>
        </pc:spChg>
        <pc:spChg chg="mod">
          <ac:chgData name="丁野 光理" userId="53361c9a-10d0-4268-b39c-a1f4044b33f4" providerId="ADAL" clId="{31A483AB-3ACD-4C31-80F9-FE8A9CCBC644}" dt="2025-02-10T00:56:05.607" v="893"/>
          <ac:spMkLst>
            <pc:docMk/>
            <pc:sldMk cId="2807815468" sldId="2147378693"/>
            <ac:spMk id="44" creationId="{E9EA0CCD-03BE-38B7-6217-9D2A682A129C}"/>
          </ac:spMkLst>
        </pc:spChg>
        <pc:spChg chg="mod">
          <ac:chgData name="丁野 光理" userId="53361c9a-10d0-4268-b39c-a1f4044b33f4" providerId="ADAL" clId="{31A483AB-3ACD-4C31-80F9-FE8A9CCBC644}" dt="2025-02-10T00:56:05.607" v="893"/>
          <ac:spMkLst>
            <pc:docMk/>
            <pc:sldMk cId="2807815468" sldId="2147378693"/>
            <ac:spMk id="45" creationId="{1626F230-4DA6-7E27-3291-6AB485BD618B}"/>
          </ac:spMkLst>
        </pc:spChg>
        <pc:spChg chg="mod">
          <ac:chgData name="丁野 光理" userId="53361c9a-10d0-4268-b39c-a1f4044b33f4" providerId="ADAL" clId="{31A483AB-3ACD-4C31-80F9-FE8A9CCBC644}" dt="2025-02-10T00:56:05.607" v="893"/>
          <ac:spMkLst>
            <pc:docMk/>
            <pc:sldMk cId="2807815468" sldId="2147378693"/>
            <ac:spMk id="46" creationId="{C446BA36-FBA2-4574-4DCA-255903E8BBD8}"/>
          </ac:spMkLst>
        </pc:spChg>
        <pc:spChg chg="mod">
          <ac:chgData name="丁野 光理" userId="53361c9a-10d0-4268-b39c-a1f4044b33f4" providerId="ADAL" clId="{31A483AB-3ACD-4C31-80F9-FE8A9CCBC644}" dt="2025-02-10T00:56:05.607" v="893"/>
          <ac:spMkLst>
            <pc:docMk/>
            <pc:sldMk cId="2807815468" sldId="2147378693"/>
            <ac:spMk id="47" creationId="{5B8F0A26-72DD-B943-684A-A39914E2ED0C}"/>
          </ac:spMkLst>
        </pc:spChg>
        <pc:spChg chg="mod">
          <ac:chgData name="丁野 光理" userId="53361c9a-10d0-4268-b39c-a1f4044b33f4" providerId="ADAL" clId="{31A483AB-3ACD-4C31-80F9-FE8A9CCBC644}" dt="2025-02-10T00:56:05.607" v="893"/>
          <ac:spMkLst>
            <pc:docMk/>
            <pc:sldMk cId="2807815468" sldId="2147378693"/>
            <ac:spMk id="49" creationId="{B65F952F-7DB3-5DB7-063A-425767447BBA}"/>
          </ac:spMkLst>
        </pc:spChg>
        <pc:spChg chg="mod">
          <ac:chgData name="丁野 光理" userId="53361c9a-10d0-4268-b39c-a1f4044b33f4" providerId="ADAL" clId="{31A483AB-3ACD-4C31-80F9-FE8A9CCBC644}" dt="2025-02-10T00:56:05.607" v="893"/>
          <ac:spMkLst>
            <pc:docMk/>
            <pc:sldMk cId="2807815468" sldId="2147378693"/>
            <ac:spMk id="50" creationId="{FA14CE69-B9F2-1A57-9D83-26F4D47B6A2E}"/>
          </ac:spMkLst>
        </pc:spChg>
        <pc:spChg chg="mod">
          <ac:chgData name="丁野 光理" userId="53361c9a-10d0-4268-b39c-a1f4044b33f4" providerId="ADAL" clId="{31A483AB-3ACD-4C31-80F9-FE8A9CCBC644}" dt="2025-02-10T00:56:05.607" v="893"/>
          <ac:spMkLst>
            <pc:docMk/>
            <pc:sldMk cId="2807815468" sldId="2147378693"/>
            <ac:spMk id="51" creationId="{D9A01F47-6656-C213-8664-C4D0B3D6F47F}"/>
          </ac:spMkLst>
        </pc:spChg>
        <pc:spChg chg="mod">
          <ac:chgData name="丁野 光理" userId="53361c9a-10d0-4268-b39c-a1f4044b33f4" providerId="ADAL" clId="{31A483AB-3ACD-4C31-80F9-FE8A9CCBC644}" dt="2025-02-10T00:56:05.607" v="893"/>
          <ac:spMkLst>
            <pc:docMk/>
            <pc:sldMk cId="2807815468" sldId="2147378693"/>
            <ac:spMk id="53" creationId="{C3A80ABC-629D-5929-8563-4304CA56C096}"/>
          </ac:spMkLst>
        </pc:spChg>
        <pc:spChg chg="mod">
          <ac:chgData name="丁野 光理" userId="53361c9a-10d0-4268-b39c-a1f4044b33f4" providerId="ADAL" clId="{31A483AB-3ACD-4C31-80F9-FE8A9CCBC644}" dt="2025-02-10T00:56:05.607" v="893"/>
          <ac:spMkLst>
            <pc:docMk/>
            <pc:sldMk cId="2807815468" sldId="2147378693"/>
            <ac:spMk id="56" creationId="{77A71208-31F6-A6BD-8A56-646E47CF690F}"/>
          </ac:spMkLst>
        </pc:spChg>
        <pc:spChg chg="add del mod">
          <ac:chgData name="丁野 光理" userId="53361c9a-10d0-4268-b39c-a1f4044b33f4" providerId="ADAL" clId="{31A483AB-3ACD-4C31-80F9-FE8A9CCBC644}" dt="2025-02-10T00:56:17.731" v="973" actId="478"/>
          <ac:spMkLst>
            <pc:docMk/>
            <pc:sldMk cId="2807815468" sldId="2147378693"/>
            <ac:spMk id="60" creationId="{9195E192-7EFF-A65F-7013-27D0D2FE34AF}"/>
          </ac:spMkLst>
        </pc:spChg>
        <pc:spChg chg="mod">
          <ac:chgData name="丁野 光理" userId="53361c9a-10d0-4268-b39c-a1f4044b33f4" providerId="ADAL" clId="{31A483AB-3ACD-4C31-80F9-FE8A9CCBC644}" dt="2025-02-10T00:55:30.828" v="885"/>
          <ac:spMkLst>
            <pc:docMk/>
            <pc:sldMk cId="2807815468" sldId="2147378693"/>
            <ac:spMk id="83" creationId="{69F23CBD-6543-7D9D-3CFC-2AACB5B6B755}"/>
          </ac:spMkLst>
        </pc:spChg>
        <pc:spChg chg="mod">
          <ac:chgData name="丁野 光理" userId="53361c9a-10d0-4268-b39c-a1f4044b33f4" providerId="ADAL" clId="{31A483AB-3ACD-4C31-80F9-FE8A9CCBC644}" dt="2025-02-10T00:55:37.073" v="887"/>
          <ac:spMkLst>
            <pc:docMk/>
            <pc:sldMk cId="2807815468" sldId="2147378693"/>
            <ac:spMk id="89" creationId="{0E60EBF1-9844-4160-B79F-D64343B948C5}"/>
          </ac:spMkLst>
        </pc:spChg>
        <pc:spChg chg="mod">
          <ac:chgData name="丁野 光理" userId="53361c9a-10d0-4268-b39c-a1f4044b33f4" providerId="ADAL" clId="{31A483AB-3ACD-4C31-80F9-FE8A9CCBC644}" dt="2025-02-10T00:54:38.219" v="825"/>
          <ac:spMkLst>
            <pc:docMk/>
            <pc:sldMk cId="2807815468" sldId="2147378693"/>
            <ac:spMk id="100" creationId="{792ED3B5-00B5-1B9D-E8C7-7E30A7FC9B67}"/>
          </ac:spMkLst>
        </pc:spChg>
        <pc:spChg chg="mod">
          <ac:chgData name="丁野 光理" userId="53361c9a-10d0-4268-b39c-a1f4044b33f4" providerId="ADAL" clId="{31A483AB-3ACD-4C31-80F9-FE8A9CCBC644}" dt="2025-02-10T00:56:32.485" v="975" actId="1076"/>
          <ac:spMkLst>
            <pc:docMk/>
            <pc:sldMk cId="2807815468" sldId="2147378693"/>
            <ac:spMk id="101" creationId="{E1C966D4-D0DE-6EFA-035B-F40658EB06CF}"/>
          </ac:spMkLst>
        </pc:spChg>
        <pc:grpChg chg="add mod">
          <ac:chgData name="丁野 光理" userId="53361c9a-10d0-4268-b39c-a1f4044b33f4" providerId="ADAL" clId="{31A483AB-3ACD-4C31-80F9-FE8A9CCBC644}" dt="2025-02-10T00:56:03.194" v="892"/>
          <ac:grpSpMkLst>
            <pc:docMk/>
            <pc:sldMk cId="2807815468" sldId="2147378693"/>
            <ac:grpSpMk id="3" creationId="{A4E5E98B-7EE7-D8AF-4508-3DF1185B952C}"/>
          </ac:grpSpMkLst>
        </pc:grpChg>
        <pc:grpChg chg="add mod">
          <ac:chgData name="丁野 光理" userId="53361c9a-10d0-4268-b39c-a1f4044b33f4" providerId="ADAL" clId="{31A483AB-3ACD-4C31-80F9-FE8A9CCBC644}" dt="2025-02-10T00:56:03.194" v="892"/>
          <ac:grpSpMkLst>
            <pc:docMk/>
            <pc:sldMk cId="2807815468" sldId="2147378693"/>
            <ac:grpSpMk id="29" creationId="{9AFED882-78AF-460D-0E16-39401CD994F7}"/>
          </ac:grpSpMkLst>
        </pc:grpChg>
        <pc:grpChg chg="mod">
          <ac:chgData name="丁野 光理" userId="53361c9a-10d0-4268-b39c-a1f4044b33f4" providerId="ADAL" clId="{31A483AB-3ACD-4C31-80F9-FE8A9CCBC644}" dt="2025-02-10T00:56:03.194" v="892"/>
          <ac:grpSpMkLst>
            <pc:docMk/>
            <pc:sldMk cId="2807815468" sldId="2147378693"/>
            <ac:grpSpMk id="33" creationId="{6B739AD1-E3A0-8DAE-E9E3-8544626DE505}"/>
          </ac:grpSpMkLst>
        </pc:grpChg>
        <pc:grpChg chg="add mod">
          <ac:chgData name="丁野 光理" userId="53361c9a-10d0-4268-b39c-a1f4044b33f4" providerId="ADAL" clId="{31A483AB-3ACD-4C31-80F9-FE8A9CCBC644}" dt="2025-02-10T00:56:14.718" v="972" actId="1036"/>
          <ac:grpSpMkLst>
            <pc:docMk/>
            <pc:sldMk cId="2807815468" sldId="2147378693"/>
            <ac:grpSpMk id="42" creationId="{355A6BDE-529C-BBF9-BF22-7206DC63923B}"/>
          </ac:grpSpMkLst>
        </pc:grpChg>
        <pc:grpChg chg="add mod">
          <ac:chgData name="丁野 光理" userId="53361c9a-10d0-4268-b39c-a1f4044b33f4" providerId="ADAL" clId="{31A483AB-3ACD-4C31-80F9-FE8A9CCBC644}" dt="2025-02-10T00:56:14.718" v="972" actId="1036"/>
          <ac:grpSpMkLst>
            <pc:docMk/>
            <pc:sldMk cId="2807815468" sldId="2147378693"/>
            <ac:grpSpMk id="48" creationId="{B0FD96A9-153B-B8A8-D56A-A539BB899F98}"/>
          </ac:grpSpMkLst>
        </pc:grpChg>
        <pc:grpChg chg="mod">
          <ac:chgData name="丁野 光理" userId="53361c9a-10d0-4268-b39c-a1f4044b33f4" providerId="ADAL" clId="{31A483AB-3ACD-4C31-80F9-FE8A9CCBC644}" dt="2025-02-10T00:56:05.607" v="893"/>
          <ac:grpSpMkLst>
            <pc:docMk/>
            <pc:sldMk cId="2807815468" sldId="2147378693"/>
            <ac:grpSpMk id="52" creationId="{41D6A6EF-F576-4908-5E1C-B823BD3F9CA4}"/>
          </ac:grpSpMkLst>
        </pc:grpChg>
        <pc:grpChg chg="del">
          <ac:chgData name="丁野 光理" userId="53361c9a-10d0-4268-b39c-a1f4044b33f4" providerId="ADAL" clId="{31A483AB-3ACD-4C31-80F9-FE8A9CCBC644}" dt="2025-02-10T00:56:02.698" v="890" actId="478"/>
          <ac:grpSpMkLst>
            <pc:docMk/>
            <pc:sldMk cId="2807815468" sldId="2147378693"/>
            <ac:grpSpMk id="80" creationId="{72475D61-7C98-64F9-5265-E5444D31E86A}"/>
          </ac:grpSpMkLst>
        </pc:grpChg>
        <pc:grpChg chg="del mod">
          <ac:chgData name="丁野 光理" userId="53361c9a-10d0-4268-b39c-a1f4044b33f4" providerId="ADAL" clId="{31A483AB-3ACD-4C31-80F9-FE8A9CCBC644}" dt="2025-02-10T00:56:02.698" v="890" actId="478"/>
          <ac:grpSpMkLst>
            <pc:docMk/>
            <pc:sldMk cId="2807815468" sldId="2147378693"/>
            <ac:grpSpMk id="86" creationId="{DA4A3C24-040A-3EFC-BA3E-412B0C9D6C6E}"/>
          </ac:grpSpMkLst>
        </pc:grpChg>
        <pc:cxnChg chg="mod">
          <ac:chgData name="丁野 光理" userId="53361c9a-10d0-4268-b39c-a1f4044b33f4" providerId="ADAL" clId="{31A483AB-3ACD-4C31-80F9-FE8A9CCBC644}" dt="2025-02-10T00:56:03.194" v="892"/>
          <ac:cxnSpMkLst>
            <pc:docMk/>
            <pc:sldMk cId="2807815468" sldId="2147378693"/>
            <ac:cxnSpMk id="35" creationId="{032ED5F6-F528-4893-54F7-A0C9E22827DB}"/>
          </ac:cxnSpMkLst>
        </pc:cxnChg>
        <pc:cxnChg chg="mod">
          <ac:chgData name="丁野 光理" userId="53361c9a-10d0-4268-b39c-a1f4044b33f4" providerId="ADAL" clId="{31A483AB-3ACD-4C31-80F9-FE8A9CCBC644}" dt="2025-02-10T00:56:03.194" v="892"/>
          <ac:cxnSpMkLst>
            <pc:docMk/>
            <pc:sldMk cId="2807815468" sldId="2147378693"/>
            <ac:cxnSpMk id="36" creationId="{804E4CE3-5935-99E5-107F-C0AB0BD69A9D}"/>
          </ac:cxnSpMkLst>
        </pc:cxnChg>
        <pc:cxnChg chg="mod">
          <ac:chgData name="丁野 光理" userId="53361c9a-10d0-4268-b39c-a1f4044b33f4" providerId="ADAL" clId="{31A483AB-3ACD-4C31-80F9-FE8A9CCBC644}" dt="2025-02-10T00:56:03.194" v="892"/>
          <ac:cxnSpMkLst>
            <pc:docMk/>
            <pc:sldMk cId="2807815468" sldId="2147378693"/>
            <ac:cxnSpMk id="38" creationId="{543D0254-4A75-FDB4-E11E-431802A2BC19}"/>
          </ac:cxnSpMkLst>
        </pc:cxnChg>
        <pc:cxnChg chg="mod">
          <ac:chgData name="丁野 光理" userId="53361c9a-10d0-4268-b39c-a1f4044b33f4" providerId="ADAL" clId="{31A483AB-3ACD-4C31-80F9-FE8A9CCBC644}" dt="2025-02-10T00:56:03.194" v="892"/>
          <ac:cxnSpMkLst>
            <pc:docMk/>
            <pc:sldMk cId="2807815468" sldId="2147378693"/>
            <ac:cxnSpMk id="39" creationId="{8EB1BEF3-8220-4D07-CA6C-9E3C372F2525}"/>
          </ac:cxnSpMkLst>
        </pc:cxnChg>
        <pc:cxnChg chg="mod">
          <ac:chgData name="丁野 光理" userId="53361c9a-10d0-4268-b39c-a1f4044b33f4" providerId="ADAL" clId="{31A483AB-3ACD-4C31-80F9-FE8A9CCBC644}" dt="2025-02-10T00:56:03.194" v="892"/>
          <ac:cxnSpMkLst>
            <pc:docMk/>
            <pc:sldMk cId="2807815468" sldId="2147378693"/>
            <ac:cxnSpMk id="40" creationId="{1FD93286-57B5-D6B0-328B-360553BCAE8F}"/>
          </ac:cxnSpMkLst>
        </pc:cxnChg>
        <pc:cxnChg chg="mod">
          <ac:chgData name="丁野 光理" userId="53361c9a-10d0-4268-b39c-a1f4044b33f4" providerId="ADAL" clId="{31A483AB-3ACD-4C31-80F9-FE8A9CCBC644}" dt="2025-02-10T00:56:05.607" v="893"/>
          <ac:cxnSpMkLst>
            <pc:docMk/>
            <pc:sldMk cId="2807815468" sldId="2147378693"/>
            <ac:cxnSpMk id="54" creationId="{43CCC025-8EE5-D3A5-EFD4-6B2127AED464}"/>
          </ac:cxnSpMkLst>
        </pc:cxnChg>
        <pc:cxnChg chg="mod">
          <ac:chgData name="丁野 光理" userId="53361c9a-10d0-4268-b39c-a1f4044b33f4" providerId="ADAL" clId="{31A483AB-3ACD-4C31-80F9-FE8A9CCBC644}" dt="2025-02-10T00:56:05.607" v="893"/>
          <ac:cxnSpMkLst>
            <pc:docMk/>
            <pc:sldMk cId="2807815468" sldId="2147378693"/>
            <ac:cxnSpMk id="55" creationId="{34DAF83D-92BE-5C78-177D-449AA963C16B}"/>
          </ac:cxnSpMkLst>
        </pc:cxnChg>
        <pc:cxnChg chg="mod">
          <ac:chgData name="丁野 光理" userId="53361c9a-10d0-4268-b39c-a1f4044b33f4" providerId="ADAL" clId="{31A483AB-3ACD-4C31-80F9-FE8A9CCBC644}" dt="2025-02-10T00:56:05.607" v="893"/>
          <ac:cxnSpMkLst>
            <pc:docMk/>
            <pc:sldMk cId="2807815468" sldId="2147378693"/>
            <ac:cxnSpMk id="57" creationId="{9C43E321-A0A7-8814-DE84-BC86D05F4B02}"/>
          </ac:cxnSpMkLst>
        </pc:cxnChg>
        <pc:cxnChg chg="mod">
          <ac:chgData name="丁野 光理" userId="53361c9a-10d0-4268-b39c-a1f4044b33f4" providerId="ADAL" clId="{31A483AB-3ACD-4C31-80F9-FE8A9CCBC644}" dt="2025-02-10T00:56:05.607" v="893"/>
          <ac:cxnSpMkLst>
            <pc:docMk/>
            <pc:sldMk cId="2807815468" sldId="2147378693"/>
            <ac:cxnSpMk id="58" creationId="{A36503F1-2A3D-0A5F-11FF-F64E19901144}"/>
          </ac:cxnSpMkLst>
        </pc:cxnChg>
        <pc:cxnChg chg="mod">
          <ac:chgData name="丁野 光理" userId="53361c9a-10d0-4268-b39c-a1f4044b33f4" providerId="ADAL" clId="{31A483AB-3ACD-4C31-80F9-FE8A9CCBC644}" dt="2025-02-10T00:56:05.607" v="893"/>
          <ac:cxnSpMkLst>
            <pc:docMk/>
            <pc:sldMk cId="2807815468" sldId="2147378693"/>
            <ac:cxnSpMk id="59" creationId="{621D04AF-2D9F-E027-CD1B-059868C6B1EF}"/>
          </ac:cxnSpMkLst>
        </pc:cxnChg>
        <pc:extLst>
          <p:ext xmlns:p="http://schemas.openxmlformats.org/presentationml/2006/main" uri="{D6D511B9-2390-475A-947B-AFAB55BFBCF1}">
            <pc226:cmChg xmlns:pc226="http://schemas.microsoft.com/office/powerpoint/2022/06/main/command" chg="add mod">
              <pc226:chgData name="丁野 光理" userId="53361c9a-10d0-4268-b39c-a1f4044b33f4" providerId="ADAL" clId="{31A483AB-3ACD-4C31-80F9-FE8A9CCBC644}" dt="2025-02-10T00:56:28.881" v="974"/>
              <pc2:cmMkLst xmlns:pc2="http://schemas.microsoft.com/office/powerpoint/2019/9/main/command">
                <pc:docMk/>
                <pc:sldMk cId="2807815468" sldId="2147378693"/>
                <pc2:cmMk id="{DA319822-DB49-452C-BF10-51188F0A2691}"/>
              </pc2:cmMkLst>
              <pc226:cmRplyChg chg="add">
                <pc226:chgData name="丁野 光理" userId="53361c9a-10d0-4268-b39c-a1f4044b33f4" providerId="ADAL" clId="{31A483AB-3ACD-4C31-80F9-FE8A9CCBC644}" dt="2025-02-10T00:56:28.881" v="974"/>
                <pc2:cmRplyMkLst xmlns:pc2="http://schemas.microsoft.com/office/powerpoint/2019/9/main/command">
                  <pc:docMk/>
                  <pc:sldMk cId="2807815468" sldId="2147378693"/>
                  <pc2:cmMk id="{DA319822-DB49-452C-BF10-51188F0A2691}"/>
                  <pc2:cmRplyMk id="{3ECBC3BB-07E0-423E-BDE8-C7DD1C7208A8}"/>
                </pc2:cmRplyMkLst>
              </pc226:cmRplyChg>
            </pc226:cmChg>
            <pc226:cmChg xmlns:pc226="http://schemas.microsoft.com/office/powerpoint/2022/06/main/command" chg="del">
              <pc226:chgData name="丁野 光理" userId="53361c9a-10d0-4268-b39c-a1f4044b33f4" providerId="ADAL" clId="{31A483AB-3ACD-4C31-80F9-FE8A9CCBC644}" dt="2025-02-07T12:58:16.423" v="64"/>
              <pc2:cmMkLst xmlns:pc2="http://schemas.microsoft.com/office/powerpoint/2019/9/main/command">
                <pc:docMk/>
                <pc:sldMk cId="2807815468" sldId="2147378693"/>
                <pc2:cmMk id="{43C4AD9C-A39F-4AB5-8E6D-BD89DBD01093}"/>
              </pc2:cmMkLst>
            </pc226:cmChg>
          </p:ext>
        </pc:extLst>
      </pc:sldChg>
      <pc:sldChg chg="addSp delSp modSp mod addCm modCm">
        <pc:chgData name="丁野 光理" userId="53361c9a-10d0-4268-b39c-a1f4044b33f4" providerId="ADAL" clId="{31A483AB-3ACD-4C31-80F9-FE8A9CCBC644}" dt="2025-02-10T00:45:34.708" v="678" actId="170"/>
        <pc:sldMkLst>
          <pc:docMk/>
          <pc:sldMk cId="2848558883" sldId="2147378713"/>
        </pc:sldMkLst>
        <pc:spChg chg="del">
          <ac:chgData name="丁野 光理" userId="53361c9a-10d0-4268-b39c-a1f4044b33f4" providerId="ADAL" clId="{31A483AB-3ACD-4C31-80F9-FE8A9CCBC644}" dt="2025-02-10T00:45:23.856" v="674" actId="478"/>
          <ac:spMkLst>
            <pc:docMk/>
            <pc:sldMk cId="2848558883" sldId="2147378713"/>
            <ac:spMk id="7" creationId="{7A4B5C97-0EFD-66A6-AD4E-37C25AAED383}"/>
          </ac:spMkLst>
        </pc:spChg>
        <pc:spChg chg="del">
          <ac:chgData name="丁野 光理" userId="53361c9a-10d0-4268-b39c-a1f4044b33f4" providerId="ADAL" clId="{31A483AB-3ACD-4C31-80F9-FE8A9CCBC644}" dt="2025-02-10T00:45:23.856" v="674" actId="478"/>
          <ac:spMkLst>
            <pc:docMk/>
            <pc:sldMk cId="2848558883" sldId="2147378713"/>
            <ac:spMk id="9" creationId="{1262904C-D38A-3D7B-A122-60E3E02CC0F6}"/>
          </ac:spMkLst>
        </pc:spChg>
        <pc:spChg chg="del">
          <ac:chgData name="丁野 光理" userId="53361c9a-10d0-4268-b39c-a1f4044b33f4" providerId="ADAL" clId="{31A483AB-3ACD-4C31-80F9-FE8A9CCBC644}" dt="2025-02-10T00:45:23.856" v="674" actId="478"/>
          <ac:spMkLst>
            <pc:docMk/>
            <pc:sldMk cId="2848558883" sldId="2147378713"/>
            <ac:spMk id="10" creationId="{19A85C70-63B1-FB56-AF72-EE2FC15CE64C}"/>
          </ac:spMkLst>
        </pc:spChg>
        <pc:spChg chg="del">
          <ac:chgData name="丁野 光理" userId="53361c9a-10d0-4268-b39c-a1f4044b33f4" providerId="ADAL" clId="{31A483AB-3ACD-4C31-80F9-FE8A9CCBC644}" dt="2025-02-10T00:45:23.856" v="674" actId="478"/>
          <ac:spMkLst>
            <pc:docMk/>
            <pc:sldMk cId="2848558883" sldId="2147378713"/>
            <ac:spMk id="11" creationId="{049F750A-FABA-8AB3-5381-7032A796023D}"/>
          </ac:spMkLst>
        </pc:spChg>
        <pc:spChg chg="del">
          <ac:chgData name="丁野 光理" userId="53361c9a-10d0-4268-b39c-a1f4044b33f4" providerId="ADAL" clId="{31A483AB-3ACD-4C31-80F9-FE8A9CCBC644}" dt="2025-02-10T00:45:23.856" v="674" actId="478"/>
          <ac:spMkLst>
            <pc:docMk/>
            <pc:sldMk cId="2848558883" sldId="2147378713"/>
            <ac:spMk id="12" creationId="{28B77D76-A8D6-74E7-5ECE-0E247E056990}"/>
          </ac:spMkLst>
        </pc:spChg>
        <pc:spChg chg="del">
          <ac:chgData name="丁野 光理" userId="53361c9a-10d0-4268-b39c-a1f4044b33f4" providerId="ADAL" clId="{31A483AB-3ACD-4C31-80F9-FE8A9CCBC644}" dt="2025-02-10T00:45:23.856" v="674" actId="478"/>
          <ac:spMkLst>
            <pc:docMk/>
            <pc:sldMk cId="2848558883" sldId="2147378713"/>
            <ac:spMk id="13" creationId="{B61B5B02-FFAE-760A-3D1D-4EB78FF2F69B}"/>
          </ac:spMkLst>
        </pc:spChg>
        <pc:spChg chg="del">
          <ac:chgData name="丁野 光理" userId="53361c9a-10d0-4268-b39c-a1f4044b33f4" providerId="ADAL" clId="{31A483AB-3ACD-4C31-80F9-FE8A9CCBC644}" dt="2025-02-10T00:45:23.856" v="674" actId="478"/>
          <ac:spMkLst>
            <pc:docMk/>
            <pc:sldMk cId="2848558883" sldId="2147378713"/>
            <ac:spMk id="14" creationId="{61134609-B34B-C071-0971-B496E138A26B}"/>
          </ac:spMkLst>
        </pc:spChg>
        <pc:spChg chg="del">
          <ac:chgData name="丁野 光理" userId="53361c9a-10d0-4268-b39c-a1f4044b33f4" providerId="ADAL" clId="{31A483AB-3ACD-4C31-80F9-FE8A9CCBC644}" dt="2025-02-10T00:45:23.856" v="674" actId="478"/>
          <ac:spMkLst>
            <pc:docMk/>
            <pc:sldMk cId="2848558883" sldId="2147378713"/>
            <ac:spMk id="15" creationId="{5CF442C1-D88A-0582-DFB1-3CCBF4972E67}"/>
          </ac:spMkLst>
        </pc:spChg>
        <pc:spChg chg="del">
          <ac:chgData name="丁野 光理" userId="53361c9a-10d0-4268-b39c-a1f4044b33f4" providerId="ADAL" clId="{31A483AB-3ACD-4C31-80F9-FE8A9CCBC644}" dt="2025-02-10T00:45:23.856" v="674" actId="478"/>
          <ac:spMkLst>
            <pc:docMk/>
            <pc:sldMk cId="2848558883" sldId="2147378713"/>
            <ac:spMk id="16" creationId="{3A3F5415-1FFB-D6D9-160C-1802DCBD2D2F}"/>
          </ac:spMkLst>
        </pc:spChg>
        <pc:spChg chg="del">
          <ac:chgData name="丁野 光理" userId="53361c9a-10d0-4268-b39c-a1f4044b33f4" providerId="ADAL" clId="{31A483AB-3ACD-4C31-80F9-FE8A9CCBC644}" dt="2025-02-10T00:45:23.856" v="674" actId="478"/>
          <ac:spMkLst>
            <pc:docMk/>
            <pc:sldMk cId="2848558883" sldId="2147378713"/>
            <ac:spMk id="17" creationId="{B85BA7A7-2EA0-C463-9B8C-957DD967155F}"/>
          </ac:spMkLst>
        </pc:spChg>
        <pc:spChg chg="del">
          <ac:chgData name="丁野 光理" userId="53361c9a-10d0-4268-b39c-a1f4044b33f4" providerId="ADAL" clId="{31A483AB-3ACD-4C31-80F9-FE8A9CCBC644}" dt="2025-02-10T00:45:23.856" v="674" actId="478"/>
          <ac:spMkLst>
            <pc:docMk/>
            <pc:sldMk cId="2848558883" sldId="2147378713"/>
            <ac:spMk id="18" creationId="{6235923C-BA68-BA6E-257A-9E82D27E5AA7}"/>
          </ac:spMkLst>
        </pc:spChg>
        <pc:spChg chg="del">
          <ac:chgData name="丁野 光理" userId="53361c9a-10d0-4268-b39c-a1f4044b33f4" providerId="ADAL" clId="{31A483AB-3ACD-4C31-80F9-FE8A9CCBC644}" dt="2025-02-10T00:45:23.856" v="674" actId="478"/>
          <ac:spMkLst>
            <pc:docMk/>
            <pc:sldMk cId="2848558883" sldId="2147378713"/>
            <ac:spMk id="19" creationId="{469BFAF2-628C-FBCC-FD7A-0B8149791F4E}"/>
          </ac:spMkLst>
        </pc:spChg>
        <pc:spChg chg="del">
          <ac:chgData name="丁野 光理" userId="53361c9a-10d0-4268-b39c-a1f4044b33f4" providerId="ADAL" clId="{31A483AB-3ACD-4C31-80F9-FE8A9CCBC644}" dt="2025-02-10T00:45:23.856" v="674" actId="478"/>
          <ac:spMkLst>
            <pc:docMk/>
            <pc:sldMk cId="2848558883" sldId="2147378713"/>
            <ac:spMk id="20" creationId="{DE66E234-02F7-8887-E31C-7AAE4EF35330}"/>
          </ac:spMkLst>
        </pc:spChg>
        <pc:spChg chg="del">
          <ac:chgData name="丁野 光理" userId="53361c9a-10d0-4268-b39c-a1f4044b33f4" providerId="ADAL" clId="{31A483AB-3ACD-4C31-80F9-FE8A9CCBC644}" dt="2025-02-10T00:45:23.856" v="674" actId="478"/>
          <ac:spMkLst>
            <pc:docMk/>
            <pc:sldMk cId="2848558883" sldId="2147378713"/>
            <ac:spMk id="21" creationId="{7B93A854-DC48-AED7-A346-154AC8853A28}"/>
          </ac:spMkLst>
        </pc:spChg>
        <pc:spChg chg="del">
          <ac:chgData name="丁野 光理" userId="53361c9a-10d0-4268-b39c-a1f4044b33f4" providerId="ADAL" clId="{31A483AB-3ACD-4C31-80F9-FE8A9CCBC644}" dt="2025-02-10T00:45:23.856" v="674" actId="478"/>
          <ac:spMkLst>
            <pc:docMk/>
            <pc:sldMk cId="2848558883" sldId="2147378713"/>
            <ac:spMk id="22" creationId="{44DF471C-9AAC-DB64-4328-E8760C32D421}"/>
          </ac:spMkLst>
        </pc:spChg>
        <pc:spChg chg="del">
          <ac:chgData name="丁野 光理" userId="53361c9a-10d0-4268-b39c-a1f4044b33f4" providerId="ADAL" clId="{31A483AB-3ACD-4C31-80F9-FE8A9CCBC644}" dt="2025-02-10T00:45:23.856" v="674" actId="478"/>
          <ac:spMkLst>
            <pc:docMk/>
            <pc:sldMk cId="2848558883" sldId="2147378713"/>
            <ac:spMk id="23" creationId="{AC63DED8-5731-AEB2-36A6-67E86BEB5A06}"/>
          </ac:spMkLst>
        </pc:spChg>
        <pc:spChg chg="del">
          <ac:chgData name="丁野 光理" userId="53361c9a-10d0-4268-b39c-a1f4044b33f4" providerId="ADAL" clId="{31A483AB-3ACD-4C31-80F9-FE8A9CCBC644}" dt="2025-02-10T00:45:23.856" v="674" actId="478"/>
          <ac:spMkLst>
            <pc:docMk/>
            <pc:sldMk cId="2848558883" sldId="2147378713"/>
            <ac:spMk id="24" creationId="{CFC44A63-66E8-5CD7-0521-1345E270BA00}"/>
          </ac:spMkLst>
        </pc:spChg>
        <pc:spChg chg="del">
          <ac:chgData name="丁野 光理" userId="53361c9a-10d0-4268-b39c-a1f4044b33f4" providerId="ADAL" clId="{31A483AB-3ACD-4C31-80F9-FE8A9CCBC644}" dt="2025-02-10T00:45:23.856" v="674" actId="478"/>
          <ac:spMkLst>
            <pc:docMk/>
            <pc:sldMk cId="2848558883" sldId="2147378713"/>
            <ac:spMk id="25" creationId="{07937947-7B48-7450-CDCD-777D869D6830}"/>
          </ac:spMkLst>
        </pc:spChg>
        <pc:spChg chg="add mod">
          <ac:chgData name="丁野 光理" userId="53361c9a-10d0-4268-b39c-a1f4044b33f4" providerId="ADAL" clId="{31A483AB-3ACD-4C31-80F9-FE8A9CCBC644}" dt="2025-02-10T00:45:24.297" v="676"/>
          <ac:spMkLst>
            <pc:docMk/>
            <pc:sldMk cId="2848558883" sldId="2147378713"/>
            <ac:spMk id="26" creationId="{F42B1F71-FB1C-9E1B-0ECA-C4D32E62E704}"/>
          </ac:spMkLst>
        </pc:spChg>
        <pc:spChg chg="del">
          <ac:chgData name="丁野 光理" userId="53361c9a-10d0-4268-b39c-a1f4044b33f4" providerId="ADAL" clId="{31A483AB-3ACD-4C31-80F9-FE8A9CCBC644}" dt="2025-02-10T00:45:23.856" v="674" actId="478"/>
          <ac:spMkLst>
            <pc:docMk/>
            <pc:sldMk cId="2848558883" sldId="2147378713"/>
            <ac:spMk id="27" creationId="{D10C4D59-BCEC-32AB-FAB5-DE853C32AF83}"/>
          </ac:spMkLst>
        </pc:spChg>
        <pc:spChg chg="del">
          <ac:chgData name="丁野 光理" userId="53361c9a-10d0-4268-b39c-a1f4044b33f4" providerId="ADAL" clId="{31A483AB-3ACD-4C31-80F9-FE8A9CCBC644}" dt="2025-02-10T00:45:23.856" v="674" actId="478"/>
          <ac:spMkLst>
            <pc:docMk/>
            <pc:sldMk cId="2848558883" sldId="2147378713"/>
            <ac:spMk id="28" creationId="{A80A63E8-101E-C7BE-1DA8-BB3E4E888AC9}"/>
          </ac:spMkLst>
        </pc:spChg>
        <pc:spChg chg="del">
          <ac:chgData name="丁野 光理" userId="53361c9a-10d0-4268-b39c-a1f4044b33f4" providerId="ADAL" clId="{31A483AB-3ACD-4C31-80F9-FE8A9CCBC644}" dt="2025-02-10T00:45:23.856" v="674" actId="478"/>
          <ac:spMkLst>
            <pc:docMk/>
            <pc:sldMk cId="2848558883" sldId="2147378713"/>
            <ac:spMk id="29" creationId="{4DC9EA2B-70C8-CE8B-702F-2C923A14941C}"/>
          </ac:spMkLst>
        </pc:spChg>
        <pc:spChg chg="del">
          <ac:chgData name="丁野 光理" userId="53361c9a-10d0-4268-b39c-a1f4044b33f4" providerId="ADAL" clId="{31A483AB-3ACD-4C31-80F9-FE8A9CCBC644}" dt="2025-02-10T00:45:23.856" v="674" actId="478"/>
          <ac:spMkLst>
            <pc:docMk/>
            <pc:sldMk cId="2848558883" sldId="2147378713"/>
            <ac:spMk id="30" creationId="{15AC59DB-470C-6246-6A5B-408588E4DF75}"/>
          </ac:spMkLst>
        </pc:spChg>
        <pc:spChg chg="del">
          <ac:chgData name="丁野 光理" userId="53361c9a-10d0-4268-b39c-a1f4044b33f4" providerId="ADAL" clId="{31A483AB-3ACD-4C31-80F9-FE8A9CCBC644}" dt="2025-02-10T00:45:23.856" v="674" actId="478"/>
          <ac:spMkLst>
            <pc:docMk/>
            <pc:sldMk cId="2848558883" sldId="2147378713"/>
            <ac:spMk id="31" creationId="{D28EA95D-6341-19CA-E53B-79BE26918EA2}"/>
          </ac:spMkLst>
        </pc:spChg>
        <pc:spChg chg="del">
          <ac:chgData name="丁野 光理" userId="53361c9a-10d0-4268-b39c-a1f4044b33f4" providerId="ADAL" clId="{31A483AB-3ACD-4C31-80F9-FE8A9CCBC644}" dt="2025-02-10T00:45:23.856" v="674" actId="478"/>
          <ac:spMkLst>
            <pc:docMk/>
            <pc:sldMk cId="2848558883" sldId="2147378713"/>
            <ac:spMk id="32" creationId="{20E73144-A11D-C133-1423-7BCE773C1286}"/>
          </ac:spMkLst>
        </pc:spChg>
        <pc:spChg chg="del">
          <ac:chgData name="丁野 光理" userId="53361c9a-10d0-4268-b39c-a1f4044b33f4" providerId="ADAL" clId="{31A483AB-3ACD-4C31-80F9-FE8A9CCBC644}" dt="2025-02-10T00:45:23.856" v="674" actId="478"/>
          <ac:spMkLst>
            <pc:docMk/>
            <pc:sldMk cId="2848558883" sldId="2147378713"/>
            <ac:spMk id="33" creationId="{BB054CD1-4184-7D70-69D3-8CBAF55A4175}"/>
          </ac:spMkLst>
        </pc:spChg>
        <pc:spChg chg="del">
          <ac:chgData name="丁野 光理" userId="53361c9a-10d0-4268-b39c-a1f4044b33f4" providerId="ADAL" clId="{31A483AB-3ACD-4C31-80F9-FE8A9CCBC644}" dt="2025-02-10T00:45:23.856" v="674" actId="478"/>
          <ac:spMkLst>
            <pc:docMk/>
            <pc:sldMk cId="2848558883" sldId="2147378713"/>
            <ac:spMk id="34" creationId="{57EBBC6A-CCB1-EB90-5276-3B8DC6664F99}"/>
          </ac:spMkLst>
        </pc:spChg>
        <pc:spChg chg="del">
          <ac:chgData name="丁野 光理" userId="53361c9a-10d0-4268-b39c-a1f4044b33f4" providerId="ADAL" clId="{31A483AB-3ACD-4C31-80F9-FE8A9CCBC644}" dt="2025-02-10T00:45:23.856" v="674" actId="478"/>
          <ac:spMkLst>
            <pc:docMk/>
            <pc:sldMk cId="2848558883" sldId="2147378713"/>
            <ac:spMk id="35" creationId="{D0E7E626-9876-56D7-4D65-DFBA3A799233}"/>
          </ac:spMkLst>
        </pc:spChg>
        <pc:spChg chg="del">
          <ac:chgData name="丁野 光理" userId="53361c9a-10d0-4268-b39c-a1f4044b33f4" providerId="ADAL" clId="{31A483AB-3ACD-4C31-80F9-FE8A9CCBC644}" dt="2025-02-10T00:45:23.856" v="674" actId="478"/>
          <ac:spMkLst>
            <pc:docMk/>
            <pc:sldMk cId="2848558883" sldId="2147378713"/>
            <ac:spMk id="36" creationId="{7304849B-2D24-E196-8765-CC111C170B10}"/>
          </ac:spMkLst>
        </pc:spChg>
        <pc:spChg chg="del">
          <ac:chgData name="丁野 光理" userId="53361c9a-10d0-4268-b39c-a1f4044b33f4" providerId="ADAL" clId="{31A483AB-3ACD-4C31-80F9-FE8A9CCBC644}" dt="2025-02-10T00:45:23.856" v="674" actId="478"/>
          <ac:spMkLst>
            <pc:docMk/>
            <pc:sldMk cId="2848558883" sldId="2147378713"/>
            <ac:spMk id="37" creationId="{B2979A79-5767-E595-00BC-C154FE6FC162}"/>
          </ac:spMkLst>
        </pc:spChg>
        <pc:spChg chg="del">
          <ac:chgData name="丁野 光理" userId="53361c9a-10d0-4268-b39c-a1f4044b33f4" providerId="ADAL" clId="{31A483AB-3ACD-4C31-80F9-FE8A9CCBC644}" dt="2025-02-10T00:45:23.856" v="674" actId="478"/>
          <ac:spMkLst>
            <pc:docMk/>
            <pc:sldMk cId="2848558883" sldId="2147378713"/>
            <ac:spMk id="38" creationId="{CA99034F-71F3-EBA0-DBFB-277203A9F25A}"/>
          </ac:spMkLst>
        </pc:spChg>
        <pc:spChg chg="del">
          <ac:chgData name="丁野 光理" userId="53361c9a-10d0-4268-b39c-a1f4044b33f4" providerId="ADAL" clId="{31A483AB-3ACD-4C31-80F9-FE8A9CCBC644}" dt="2025-02-10T00:45:23.856" v="674" actId="478"/>
          <ac:spMkLst>
            <pc:docMk/>
            <pc:sldMk cId="2848558883" sldId="2147378713"/>
            <ac:spMk id="39" creationId="{47B976B8-5854-FC8C-BE76-29FE53F8CD8D}"/>
          </ac:spMkLst>
        </pc:spChg>
        <pc:spChg chg="del">
          <ac:chgData name="丁野 光理" userId="53361c9a-10d0-4268-b39c-a1f4044b33f4" providerId="ADAL" clId="{31A483AB-3ACD-4C31-80F9-FE8A9CCBC644}" dt="2025-02-10T00:45:23.856" v="674" actId="478"/>
          <ac:spMkLst>
            <pc:docMk/>
            <pc:sldMk cId="2848558883" sldId="2147378713"/>
            <ac:spMk id="40" creationId="{3E775684-8E54-AAF4-F2FD-C3059CD88844}"/>
          </ac:spMkLst>
        </pc:spChg>
        <pc:spChg chg="del">
          <ac:chgData name="丁野 光理" userId="53361c9a-10d0-4268-b39c-a1f4044b33f4" providerId="ADAL" clId="{31A483AB-3ACD-4C31-80F9-FE8A9CCBC644}" dt="2025-02-10T00:45:23.856" v="674" actId="478"/>
          <ac:spMkLst>
            <pc:docMk/>
            <pc:sldMk cId="2848558883" sldId="2147378713"/>
            <ac:spMk id="41" creationId="{613709A8-6958-FD46-DC29-4DC38282F35E}"/>
          </ac:spMkLst>
        </pc:spChg>
        <pc:spChg chg="del">
          <ac:chgData name="丁野 光理" userId="53361c9a-10d0-4268-b39c-a1f4044b33f4" providerId="ADAL" clId="{31A483AB-3ACD-4C31-80F9-FE8A9CCBC644}" dt="2025-02-10T00:45:23.856" v="674" actId="478"/>
          <ac:spMkLst>
            <pc:docMk/>
            <pc:sldMk cId="2848558883" sldId="2147378713"/>
            <ac:spMk id="42" creationId="{0A9DE8D6-28B1-E795-A32E-286911EF3E75}"/>
          </ac:spMkLst>
        </pc:spChg>
        <pc:spChg chg="del">
          <ac:chgData name="丁野 光理" userId="53361c9a-10d0-4268-b39c-a1f4044b33f4" providerId="ADAL" clId="{31A483AB-3ACD-4C31-80F9-FE8A9CCBC644}" dt="2025-02-10T00:45:23.856" v="674" actId="478"/>
          <ac:spMkLst>
            <pc:docMk/>
            <pc:sldMk cId="2848558883" sldId="2147378713"/>
            <ac:spMk id="43" creationId="{A3891C73-48A8-3284-BBF5-E709A5EB507D}"/>
          </ac:spMkLst>
        </pc:spChg>
        <pc:spChg chg="del">
          <ac:chgData name="丁野 光理" userId="53361c9a-10d0-4268-b39c-a1f4044b33f4" providerId="ADAL" clId="{31A483AB-3ACD-4C31-80F9-FE8A9CCBC644}" dt="2025-02-10T00:45:23.856" v="674" actId="478"/>
          <ac:spMkLst>
            <pc:docMk/>
            <pc:sldMk cId="2848558883" sldId="2147378713"/>
            <ac:spMk id="44" creationId="{56B1FE61-8765-B41E-97E1-71821D77D11D}"/>
          </ac:spMkLst>
        </pc:spChg>
        <pc:spChg chg="ord">
          <ac:chgData name="丁野 光理" userId="53361c9a-10d0-4268-b39c-a1f4044b33f4" providerId="ADAL" clId="{31A483AB-3ACD-4C31-80F9-FE8A9CCBC644}" dt="2025-02-10T00:45:34.708" v="678" actId="170"/>
          <ac:spMkLst>
            <pc:docMk/>
            <pc:sldMk cId="2848558883" sldId="2147378713"/>
            <ac:spMk id="45" creationId="{6AB4E816-CB11-35AA-5A71-1E40283D38C1}"/>
          </ac:spMkLst>
        </pc:spChg>
        <pc:spChg chg="add mod">
          <ac:chgData name="丁野 光理" userId="53361c9a-10d0-4268-b39c-a1f4044b33f4" providerId="ADAL" clId="{31A483AB-3ACD-4C31-80F9-FE8A9CCBC644}" dt="2025-02-10T00:45:24.297" v="676"/>
          <ac:spMkLst>
            <pc:docMk/>
            <pc:sldMk cId="2848558883" sldId="2147378713"/>
            <ac:spMk id="46" creationId="{232394C1-BFF0-0A48-DE61-8654824ECAF8}"/>
          </ac:spMkLst>
        </pc:spChg>
        <pc:spChg chg="del">
          <ac:chgData name="丁野 光理" userId="53361c9a-10d0-4268-b39c-a1f4044b33f4" providerId="ADAL" clId="{31A483AB-3ACD-4C31-80F9-FE8A9CCBC644}" dt="2025-02-10T00:45:23.856" v="674" actId="478"/>
          <ac:spMkLst>
            <pc:docMk/>
            <pc:sldMk cId="2848558883" sldId="2147378713"/>
            <ac:spMk id="47" creationId="{6112EF6B-0D9B-1C27-A257-DDA1B2585EC3}"/>
          </ac:spMkLst>
        </pc:spChg>
        <pc:spChg chg="add mod">
          <ac:chgData name="丁野 光理" userId="53361c9a-10d0-4268-b39c-a1f4044b33f4" providerId="ADAL" clId="{31A483AB-3ACD-4C31-80F9-FE8A9CCBC644}" dt="2025-02-10T00:45:24.297" v="676"/>
          <ac:spMkLst>
            <pc:docMk/>
            <pc:sldMk cId="2848558883" sldId="2147378713"/>
            <ac:spMk id="48" creationId="{B96AB325-E7D2-90A6-37E3-DAC97580596D}"/>
          </ac:spMkLst>
        </pc:spChg>
        <pc:spChg chg="del">
          <ac:chgData name="丁野 光理" userId="53361c9a-10d0-4268-b39c-a1f4044b33f4" providerId="ADAL" clId="{31A483AB-3ACD-4C31-80F9-FE8A9CCBC644}" dt="2025-02-10T00:45:23.856" v="674" actId="478"/>
          <ac:spMkLst>
            <pc:docMk/>
            <pc:sldMk cId="2848558883" sldId="2147378713"/>
            <ac:spMk id="49" creationId="{70638649-A132-E070-8B0B-BCD9CE1380AC}"/>
          </ac:spMkLst>
        </pc:spChg>
        <pc:spChg chg="add mod">
          <ac:chgData name="丁野 光理" userId="53361c9a-10d0-4268-b39c-a1f4044b33f4" providerId="ADAL" clId="{31A483AB-3ACD-4C31-80F9-FE8A9CCBC644}" dt="2025-02-10T00:45:24.297" v="676"/>
          <ac:spMkLst>
            <pc:docMk/>
            <pc:sldMk cId="2848558883" sldId="2147378713"/>
            <ac:spMk id="50" creationId="{DC638333-4E40-BF19-E470-22C0FDE77C69}"/>
          </ac:spMkLst>
        </pc:spChg>
        <pc:spChg chg="del">
          <ac:chgData name="丁野 光理" userId="53361c9a-10d0-4268-b39c-a1f4044b33f4" providerId="ADAL" clId="{31A483AB-3ACD-4C31-80F9-FE8A9CCBC644}" dt="2025-02-10T00:45:23.856" v="674" actId="478"/>
          <ac:spMkLst>
            <pc:docMk/>
            <pc:sldMk cId="2848558883" sldId="2147378713"/>
            <ac:spMk id="51" creationId="{043C0BE9-E83F-1E13-1256-F9126DC7516B}"/>
          </ac:spMkLst>
        </pc:spChg>
        <pc:spChg chg="add mod">
          <ac:chgData name="丁野 光理" userId="53361c9a-10d0-4268-b39c-a1f4044b33f4" providerId="ADAL" clId="{31A483AB-3ACD-4C31-80F9-FE8A9CCBC644}" dt="2025-02-10T00:45:24.297" v="676"/>
          <ac:spMkLst>
            <pc:docMk/>
            <pc:sldMk cId="2848558883" sldId="2147378713"/>
            <ac:spMk id="52" creationId="{72CB7B7F-A4A4-373B-9B60-33B8081555C9}"/>
          </ac:spMkLst>
        </pc:spChg>
        <pc:spChg chg="add mod">
          <ac:chgData name="丁野 光理" userId="53361c9a-10d0-4268-b39c-a1f4044b33f4" providerId="ADAL" clId="{31A483AB-3ACD-4C31-80F9-FE8A9CCBC644}" dt="2025-02-10T00:45:24.297" v="676"/>
          <ac:spMkLst>
            <pc:docMk/>
            <pc:sldMk cId="2848558883" sldId="2147378713"/>
            <ac:spMk id="53" creationId="{0CEE6221-D471-4A3B-6B1D-5DA1181ED5D8}"/>
          </ac:spMkLst>
        </pc:spChg>
        <pc:spChg chg="add mod">
          <ac:chgData name="丁野 光理" userId="53361c9a-10d0-4268-b39c-a1f4044b33f4" providerId="ADAL" clId="{31A483AB-3ACD-4C31-80F9-FE8A9CCBC644}" dt="2025-02-10T00:45:24.297" v="676"/>
          <ac:spMkLst>
            <pc:docMk/>
            <pc:sldMk cId="2848558883" sldId="2147378713"/>
            <ac:spMk id="54" creationId="{2521B17C-7C64-0A98-2328-D38AB7403211}"/>
          </ac:spMkLst>
        </pc:spChg>
        <pc:spChg chg="add mod">
          <ac:chgData name="丁野 光理" userId="53361c9a-10d0-4268-b39c-a1f4044b33f4" providerId="ADAL" clId="{31A483AB-3ACD-4C31-80F9-FE8A9CCBC644}" dt="2025-02-10T00:45:24.297" v="676"/>
          <ac:spMkLst>
            <pc:docMk/>
            <pc:sldMk cId="2848558883" sldId="2147378713"/>
            <ac:spMk id="55" creationId="{E265CD22-8CCD-BEC2-9F70-0F812B2D122A}"/>
          </ac:spMkLst>
        </pc:spChg>
        <pc:spChg chg="add mod">
          <ac:chgData name="丁野 光理" userId="53361c9a-10d0-4268-b39c-a1f4044b33f4" providerId="ADAL" clId="{31A483AB-3ACD-4C31-80F9-FE8A9CCBC644}" dt="2025-02-10T00:45:24.297" v="676"/>
          <ac:spMkLst>
            <pc:docMk/>
            <pc:sldMk cId="2848558883" sldId="2147378713"/>
            <ac:spMk id="56" creationId="{D80FADCD-508A-A3F0-AD53-46A220944E72}"/>
          </ac:spMkLst>
        </pc:spChg>
        <pc:spChg chg="add mod">
          <ac:chgData name="丁野 光理" userId="53361c9a-10d0-4268-b39c-a1f4044b33f4" providerId="ADAL" clId="{31A483AB-3ACD-4C31-80F9-FE8A9CCBC644}" dt="2025-02-10T00:45:24.297" v="676"/>
          <ac:spMkLst>
            <pc:docMk/>
            <pc:sldMk cId="2848558883" sldId="2147378713"/>
            <ac:spMk id="57" creationId="{3D2EC2C8-D922-15BD-1D7F-A4894199DCC1}"/>
          </ac:spMkLst>
        </pc:spChg>
        <pc:spChg chg="add mod">
          <ac:chgData name="丁野 光理" userId="53361c9a-10d0-4268-b39c-a1f4044b33f4" providerId="ADAL" clId="{31A483AB-3ACD-4C31-80F9-FE8A9CCBC644}" dt="2025-02-10T00:45:24.297" v="676"/>
          <ac:spMkLst>
            <pc:docMk/>
            <pc:sldMk cId="2848558883" sldId="2147378713"/>
            <ac:spMk id="58" creationId="{FBF60423-3684-EB6A-F3FA-B4DA542E2CEC}"/>
          </ac:spMkLst>
        </pc:spChg>
        <pc:spChg chg="add mod">
          <ac:chgData name="丁野 光理" userId="53361c9a-10d0-4268-b39c-a1f4044b33f4" providerId="ADAL" clId="{31A483AB-3ACD-4C31-80F9-FE8A9CCBC644}" dt="2025-02-10T00:45:24.297" v="676"/>
          <ac:spMkLst>
            <pc:docMk/>
            <pc:sldMk cId="2848558883" sldId="2147378713"/>
            <ac:spMk id="59" creationId="{25C13D92-AE46-15D8-4DE0-3EBF59E86C14}"/>
          </ac:spMkLst>
        </pc:spChg>
        <pc:spChg chg="add mod">
          <ac:chgData name="丁野 光理" userId="53361c9a-10d0-4268-b39c-a1f4044b33f4" providerId="ADAL" clId="{31A483AB-3ACD-4C31-80F9-FE8A9CCBC644}" dt="2025-02-10T00:45:24.297" v="676"/>
          <ac:spMkLst>
            <pc:docMk/>
            <pc:sldMk cId="2848558883" sldId="2147378713"/>
            <ac:spMk id="60" creationId="{3DDB9EC7-D4CF-A825-BEB3-379C5C292BF7}"/>
          </ac:spMkLst>
        </pc:spChg>
        <pc:spChg chg="add mod">
          <ac:chgData name="丁野 光理" userId="53361c9a-10d0-4268-b39c-a1f4044b33f4" providerId="ADAL" clId="{31A483AB-3ACD-4C31-80F9-FE8A9CCBC644}" dt="2025-02-10T00:45:24.297" v="676"/>
          <ac:spMkLst>
            <pc:docMk/>
            <pc:sldMk cId="2848558883" sldId="2147378713"/>
            <ac:spMk id="61" creationId="{D806F27E-AE81-AD1F-0C69-FEDD24153855}"/>
          </ac:spMkLst>
        </pc:spChg>
        <pc:spChg chg="add mod">
          <ac:chgData name="丁野 光理" userId="53361c9a-10d0-4268-b39c-a1f4044b33f4" providerId="ADAL" clId="{31A483AB-3ACD-4C31-80F9-FE8A9CCBC644}" dt="2025-02-10T00:45:24.297" v="676"/>
          <ac:spMkLst>
            <pc:docMk/>
            <pc:sldMk cId="2848558883" sldId="2147378713"/>
            <ac:spMk id="62" creationId="{F168829E-C6CD-267B-90D6-DEEBFA875727}"/>
          </ac:spMkLst>
        </pc:spChg>
        <pc:spChg chg="add mod">
          <ac:chgData name="丁野 光理" userId="53361c9a-10d0-4268-b39c-a1f4044b33f4" providerId="ADAL" clId="{31A483AB-3ACD-4C31-80F9-FE8A9CCBC644}" dt="2025-02-10T00:45:24.297" v="676"/>
          <ac:spMkLst>
            <pc:docMk/>
            <pc:sldMk cId="2848558883" sldId="2147378713"/>
            <ac:spMk id="63" creationId="{E7044045-2525-7DFC-BE82-92CC301A364C}"/>
          </ac:spMkLst>
        </pc:spChg>
        <pc:spChg chg="add mod">
          <ac:chgData name="丁野 光理" userId="53361c9a-10d0-4268-b39c-a1f4044b33f4" providerId="ADAL" clId="{31A483AB-3ACD-4C31-80F9-FE8A9CCBC644}" dt="2025-02-10T00:45:24.297" v="676"/>
          <ac:spMkLst>
            <pc:docMk/>
            <pc:sldMk cId="2848558883" sldId="2147378713"/>
            <ac:spMk id="64" creationId="{570D2F9D-B46E-0FE7-D098-C80B6E817DD8}"/>
          </ac:spMkLst>
        </pc:spChg>
        <pc:spChg chg="add mod">
          <ac:chgData name="丁野 光理" userId="53361c9a-10d0-4268-b39c-a1f4044b33f4" providerId="ADAL" clId="{31A483AB-3ACD-4C31-80F9-FE8A9CCBC644}" dt="2025-02-10T00:45:24.297" v="676"/>
          <ac:spMkLst>
            <pc:docMk/>
            <pc:sldMk cId="2848558883" sldId="2147378713"/>
            <ac:spMk id="65" creationId="{498DA9C1-7013-B6F9-4216-276E05A4BD2A}"/>
          </ac:spMkLst>
        </pc:spChg>
        <pc:spChg chg="add mod">
          <ac:chgData name="丁野 光理" userId="53361c9a-10d0-4268-b39c-a1f4044b33f4" providerId="ADAL" clId="{31A483AB-3ACD-4C31-80F9-FE8A9CCBC644}" dt="2025-02-10T00:45:24.297" v="676"/>
          <ac:spMkLst>
            <pc:docMk/>
            <pc:sldMk cId="2848558883" sldId="2147378713"/>
            <ac:spMk id="66" creationId="{D9E43F4D-7829-47ED-8B1E-45040016443B}"/>
          </ac:spMkLst>
        </pc:spChg>
        <pc:spChg chg="add mod">
          <ac:chgData name="丁野 光理" userId="53361c9a-10d0-4268-b39c-a1f4044b33f4" providerId="ADAL" clId="{31A483AB-3ACD-4C31-80F9-FE8A9CCBC644}" dt="2025-02-10T00:45:24.297" v="676"/>
          <ac:spMkLst>
            <pc:docMk/>
            <pc:sldMk cId="2848558883" sldId="2147378713"/>
            <ac:spMk id="67" creationId="{06F42584-FA32-6D5D-94B2-B9B2AC6F187A}"/>
          </ac:spMkLst>
        </pc:spChg>
        <pc:spChg chg="add mod">
          <ac:chgData name="丁野 光理" userId="53361c9a-10d0-4268-b39c-a1f4044b33f4" providerId="ADAL" clId="{31A483AB-3ACD-4C31-80F9-FE8A9CCBC644}" dt="2025-02-10T00:45:24.297" v="676"/>
          <ac:spMkLst>
            <pc:docMk/>
            <pc:sldMk cId="2848558883" sldId="2147378713"/>
            <ac:spMk id="68" creationId="{595181F3-7218-2FB2-3338-5BC6F6C2333E}"/>
          </ac:spMkLst>
        </pc:spChg>
        <pc:spChg chg="add mod">
          <ac:chgData name="丁野 光理" userId="53361c9a-10d0-4268-b39c-a1f4044b33f4" providerId="ADAL" clId="{31A483AB-3ACD-4C31-80F9-FE8A9CCBC644}" dt="2025-02-10T00:45:24.297" v="676"/>
          <ac:spMkLst>
            <pc:docMk/>
            <pc:sldMk cId="2848558883" sldId="2147378713"/>
            <ac:spMk id="69" creationId="{7B2A67A1-3CD6-3265-CBC9-997F31C1D200}"/>
          </ac:spMkLst>
        </pc:spChg>
        <pc:spChg chg="add mod">
          <ac:chgData name="丁野 光理" userId="53361c9a-10d0-4268-b39c-a1f4044b33f4" providerId="ADAL" clId="{31A483AB-3ACD-4C31-80F9-FE8A9CCBC644}" dt="2025-02-10T00:45:24.297" v="676"/>
          <ac:spMkLst>
            <pc:docMk/>
            <pc:sldMk cId="2848558883" sldId="2147378713"/>
            <ac:spMk id="70" creationId="{90736702-00DF-3A72-90D5-0C8B004C7AB7}"/>
          </ac:spMkLst>
        </pc:spChg>
        <pc:spChg chg="add mod">
          <ac:chgData name="丁野 光理" userId="53361c9a-10d0-4268-b39c-a1f4044b33f4" providerId="ADAL" clId="{31A483AB-3ACD-4C31-80F9-FE8A9CCBC644}" dt="2025-02-10T00:45:24.297" v="676"/>
          <ac:spMkLst>
            <pc:docMk/>
            <pc:sldMk cId="2848558883" sldId="2147378713"/>
            <ac:spMk id="71" creationId="{CF1D8BB8-B6B3-2C33-03FA-E60A0D1CDFCB}"/>
          </ac:spMkLst>
        </pc:spChg>
        <pc:spChg chg="add mod">
          <ac:chgData name="丁野 光理" userId="53361c9a-10d0-4268-b39c-a1f4044b33f4" providerId="ADAL" clId="{31A483AB-3ACD-4C31-80F9-FE8A9CCBC644}" dt="2025-02-10T00:45:24.297" v="676"/>
          <ac:spMkLst>
            <pc:docMk/>
            <pc:sldMk cId="2848558883" sldId="2147378713"/>
            <ac:spMk id="72" creationId="{9FE3B7A4-456F-F739-AD24-F3647FB5FD3C}"/>
          </ac:spMkLst>
        </pc:spChg>
        <pc:spChg chg="add mod">
          <ac:chgData name="丁野 光理" userId="53361c9a-10d0-4268-b39c-a1f4044b33f4" providerId="ADAL" clId="{31A483AB-3ACD-4C31-80F9-FE8A9CCBC644}" dt="2025-02-10T00:45:24.297" v="676"/>
          <ac:spMkLst>
            <pc:docMk/>
            <pc:sldMk cId="2848558883" sldId="2147378713"/>
            <ac:spMk id="73" creationId="{AF260EF1-76F9-4FF2-2460-1C56458BC2D5}"/>
          </ac:spMkLst>
        </pc:spChg>
        <pc:spChg chg="add mod">
          <ac:chgData name="丁野 光理" userId="53361c9a-10d0-4268-b39c-a1f4044b33f4" providerId="ADAL" clId="{31A483AB-3ACD-4C31-80F9-FE8A9CCBC644}" dt="2025-02-10T00:45:24.297" v="676"/>
          <ac:spMkLst>
            <pc:docMk/>
            <pc:sldMk cId="2848558883" sldId="2147378713"/>
            <ac:spMk id="74" creationId="{D8CFCA9D-A30E-65C5-51D8-0E8415A92BA3}"/>
          </ac:spMkLst>
        </pc:spChg>
        <pc:spChg chg="add mod">
          <ac:chgData name="丁野 光理" userId="53361c9a-10d0-4268-b39c-a1f4044b33f4" providerId="ADAL" clId="{31A483AB-3ACD-4C31-80F9-FE8A9CCBC644}" dt="2025-02-10T00:45:24.297" v="676"/>
          <ac:spMkLst>
            <pc:docMk/>
            <pc:sldMk cId="2848558883" sldId="2147378713"/>
            <ac:spMk id="75" creationId="{D2889404-490C-64C3-A608-F8ABB7A2BC2C}"/>
          </ac:spMkLst>
        </pc:spChg>
        <pc:spChg chg="add mod">
          <ac:chgData name="丁野 光理" userId="53361c9a-10d0-4268-b39c-a1f4044b33f4" providerId="ADAL" clId="{31A483AB-3ACD-4C31-80F9-FE8A9CCBC644}" dt="2025-02-10T00:45:24.297" v="676"/>
          <ac:spMkLst>
            <pc:docMk/>
            <pc:sldMk cId="2848558883" sldId="2147378713"/>
            <ac:spMk id="76" creationId="{6394E1DD-D404-614B-547D-2716A0F4AF79}"/>
          </ac:spMkLst>
        </pc:spChg>
        <pc:spChg chg="add mod">
          <ac:chgData name="丁野 光理" userId="53361c9a-10d0-4268-b39c-a1f4044b33f4" providerId="ADAL" clId="{31A483AB-3ACD-4C31-80F9-FE8A9CCBC644}" dt="2025-02-10T00:45:24.297" v="676"/>
          <ac:spMkLst>
            <pc:docMk/>
            <pc:sldMk cId="2848558883" sldId="2147378713"/>
            <ac:spMk id="77" creationId="{90CAD514-F405-E007-58A0-446AD4E18431}"/>
          </ac:spMkLst>
        </pc:spChg>
        <pc:spChg chg="add mod">
          <ac:chgData name="丁野 光理" userId="53361c9a-10d0-4268-b39c-a1f4044b33f4" providerId="ADAL" clId="{31A483AB-3ACD-4C31-80F9-FE8A9CCBC644}" dt="2025-02-10T00:45:24.297" v="676"/>
          <ac:spMkLst>
            <pc:docMk/>
            <pc:sldMk cId="2848558883" sldId="2147378713"/>
            <ac:spMk id="78" creationId="{29D7761A-1891-F6FD-8FBB-FCE98C5C8472}"/>
          </ac:spMkLst>
        </pc:spChg>
        <pc:spChg chg="add mod">
          <ac:chgData name="丁野 光理" userId="53361c9a-10d0-4268-b39c-a1f4044b33f4" providerId="ADAL" clId="{31A483AB-3ACD-4C31-80F9-FE8A9CCBC644}" dt="2025-02-10T00:45:24.297" v="676"/>
          <ac:spMkLst>
            <pc:docMk/>
            <pc:sldMk cId="2848558883" sldId="2147378713"/>
            <ac:spMk id="79" creationId="{29C28240-D0C1-5B6D-0D9D-503370A8EFE3}"/>
          </ac:spMkLst>
        </pc:spChg>
        <pc:spChg chg="add mod">
          <ac:chgData name="丁野 光理" userId="53361c9a-10d0-4268-b39c-a1f4044b33f4" providerId="ADAL" clId="{31A483AB-3ACD-4C31-80F9-FE8A9CCBC644}" dt="2025-02-10T00:45:24.297" v="676"/>
          <ac:spMkLst>
            <pc:docMk/>
            <pc:sldMk cId="2848558883" sldId="2147378713"/>
            <ac:spMk id="80" creationId="{843C2477-7A1A-A014-F38D-4274EA0D565B}"/>
          </ac:spMkLst>
        </pc:spChg>
        <pc:spChg chg="add mod">
          <ac:chgData name="丁野 光理" userId="53361c9a-10d0-4268-b39c-a1f4044b33f4" providerId="ADAL" clId="{31A483AB-3ACD-4C31-80F9-FE8A9CCBC644}" dt="2025-02-10T00:45:24.297" v="676"/>
          <ac:spMkLst>
            <pc:docMk/>
            <pc:sldMk cId="2848558883" sldId="2147378713"/>
            <ac:spMk id="81" creationId="{DD64FA28-A7EF-8744-9F1B-288CFBC22F5A}"/>
          </ac:spMkLst>
        </pc:spChg>
        <pc:spChg chg="add mod">
          <ac:chgData name="丁野 光理" userId="53361c9a-10d0-4268-b39c-a1f4044b33f4" providerId="ADAL" clId="{31A483AB-3ACD-4C31-80F9-FE8A9CCBC644}" dt="2025-02-10T00:45:24.297" v="676"/>
          <ac:spMkLst>
            <pc:docMk/>
            <pc:sldMk cId="2848558883" sldId="2147378713"/>
            <ac:spMk id="82" creationId="{207DD5C8-3E4A-06CC-A764-1D74F5C95612}"/>
          </ac:spMkLst>
        </pc:spChg>
        <pc:spChg chg="add mod">
          <ac:chgData name="丁野 光理" userId="53361c9a-10d0-4268-b39c-a1f4044b33f4" providerId="ADAL" clId="{31A483AB-3ACD-4C31-80F9-FE8A9CCBC644}" dt="2025-02-10T00:45:24.297" v="676"/>
          <ac:spMkLst>
            <pc:docMk/>
            <pc:sldMk cId="2848558883" sldId="2147378713"/>
            <ac:spMk id="83" creationId="{766A1172-CA8A-710B-32C5-4ADE3076D563}"/>
          </ac:spMkLst>
        </pc:spChg>
        <pc:spChg chg="add mod">
          <ac:chgData name="丁野 光理" userId="53361c9a-10d0-4268-b39c-a1f4044b33f4" providerId="ADAL" clId="{31A483AB-3ACD-4C31-80F9-FE8A9CCBC644}" dt="2025-02-10T00:45:24.297" v="676"/>
          <ac:spMkLst>
            <pc:docMk/>
            <pc:sldMk cId="2848558883" sldId="2147378713"/>
            <ac:spMk id="84" creationId="{2F48067B-F578-6C95-6C4E-C61CF7C83EDA}"/>
          </ac:spMkLst>
        </pc:spChg>
        <pc:spChg chg="add mod">
          <ac:chgData name="丁野 光理" userId="53361c9a-10d0-4268-b39c-a1f4044b33f4" providerId="ADAL" clId="{31A483AB-3ACD-4C31-80F9-FE8A9CCBC644}" dt="2025-02-10T00:45:24.297" v="676"/>
          <ac:spMkLst>
            <pc:docMk/>
            <pc:sldMk cId="2848558883" sldId="2147378713"/>
            <ac:spMk id="85" creationId="{468FBE78-0D5B-6A13-74B3-72C2D9892EE5}"/>
          </ac:spMkLst>
        </pc:spChg>
        <pc:spChg chg="add mod">
          <ac:chgData name="丁野 光理" userId="53361c9a-10d0-4268-b39c-a1f4044b33f4" providerId="ADAL" clId="{31A483AB-3ACD-4C31-80F9-FE8A9CCBC644}" dt="2025-02-10T00:45:24.297" v="676"/>
          <ac:spMkLst>
            <pc:docMk/>
            <pc:sldMk cId="2848558883" sldId="2147378713"/>
            <ac:spMk id="86" creationId="{47FF8061-1060-C7B6-64D4-1B040CAD80A3}"/>
          </ac:spMkLst>
        </pc:spChg>
        <pc:graphicFrameChg chg="del">
          <ac:chgData name="丁野 光理" userId="53361c9a-10d0-4268-b39c-a1f4044b33f4" providerId="ADAL" clId="{31A483AB-3ACD-4C31-80F9-FE8A9CCBC644}" dt="2025-02-10T00:45:23.856" v="674" actId="478"/>
          <ac:graphicFrameMkLst>
            <pc:docMk/>
            <pc:sldMk cId="2848558883" sldId="2147378713"/>
            <ac:graphicFrameMk id="2" creationId="{6E528808-E1DF-11C3-55C9-83EB5CBB52C8}"/>
          </ac:graphicFrameMkLst>
        </pc:graphicFrameChg>
        <pc:graphicFrameChg chg="add mod">
          <ac:chgData name="丁野 光理" userId="53361c9a-10d0-4268-b39c-a1f4044b33f4" providerId="ADAL" clId="{31A483AB-3ACD-4C31-80F9-FE8A9CCBC644}" dt="2025-02-10T00:45:24.297" v="676"/>
          <ac:graphicFrameMkLst>
            <pc:docMk/>
            <pc:sldMk cId="2848558883" sldId="2147378713"/>
            <ac:graphicFrameMk id="6" creationId="{13871AF6-3B8D-5B6A-2FCB-302942F36F80}"/>
          </ac:graphicFrameMkLst>
        </pc:graphicFrameChg>
        <pc:extLst>
          <p:ext xmlns:p="http://schemas.openxmlformats.org/presentationml/2006/main" uri="{D6D511B9-2390-475A-947B-AFAB55BFBCF1}">
            <pc226:cmChg xmlns:pc226="http://schemas.microsoft.com/office/powerpoint/2022/06/main/command" chg="add mod">
              <pc226:chgData name="丁野 光理" userId="53361c9a-10d0-4268-b39c-a1f4044b33f4" providerId="ADAL" clId="{31A483AB-3ACD-4C31-80F9-FE8A9CCBC644}" dt="2025-02-10T00:45:29.972" v="677"/>
              <pc2:cmMkLst xmlns:pc2="http://schemas.microsoft.com/office/powerpoint/2019/9/main/command">
                <pc:docMk/>
                <pc:sldMk cId="2848558883" sldId="2147378713"/>
                <pc2:cmMk id="{68ED9494-673C-4555-8BE0-4A35AFF076C2}"/>
              </pc2:cmMkLst>
              <pc226:cmRplyChg chg="add">
                <pc226:chgData name="丁野 光理" userId="53361c9a-10d0-4268-b39c-a1f4044b33f4" providerId="ADAL" clId="{31A483AB-3ACD-4C31-80F9-FE8A9CCBC644}" dt="2025-02-10T00:45:29.972" v="677"/>
                <pc2:cmRplyMkLst xmlns:pc2="http://schemas.microsoft.com/office/powerpoint/2019/9/main/command">
                  <pc:docMk/>
                  <pc:sldMk cId="2848558883" sldId="2147378713"/>
                  <pc2:cmMk id="{68ED9494-673C-4555-8BE0-4A35AFF076C2}"/>
                  <pc2:cmRplyMk id="{6954ABB4-23C8-4159-B179-A22D09145EAE}"/>
                </pc2:cmRplyMkLst>
              </pc226:cmRplyChg>
            </pc226:cmChg>
          </p:ext>
        </pc:extLst>
      </pc:sldChg>
      <pc:sldChg chg="del delCm">
        <pc:chgData name="丁野 光理" userId="53361c9a-10d0-4268-b39c-a1f4044b33f4" providerId="ADAL" clId="{31A483AB-3ACD-4C31-80F9-FE8A9CCBC644}" dt="2025-02-10T00:51:01.917" v="747" actId="47"/>
        <pc:sldMkLst>
          <pc:docMk/>
          <pc:sldMk cId="1575785639" sldId="2147378716"/>
        </pc:sldMkLst>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31A483AB-3ACD-4C31-80F9-FE8A9CCBC644}" dt="2025-02-07T12:57:47.090" v="63"/>
              <pc2:cmMkLst xmlns:pc2="http://schemas.microsoft.com/office/powerpoint/2019/9/main/command">
                <pc:docMk/>
                <pc:sldMk cId="1575785639" sldId="2147378716"/>
                <pc2:cmMk id="{18AF660C-E2CB-42B4-9158-55D9ED8208B7}"/>
              </pc2:cmMkLst>
            </pc226:cmChg>
          </p:ext>
        </pc:extLst>
      </pc:sldChg>
      <pc:sldChg chg="ord">
        <pc:chgData name="丁野 光理" userId="53361c9a-10d0-4268-b39c-a1f4044b33f4" providerId="ADAL" clId="{31A483AB-3ACD-4C31-80F9-FE8A9CCBC644}" dt="2025-02-10T00:52:23.231" v="754"/>
        <pc:sldMkLst>
          <pc:docMk/>
          <pc:sldMk cId="3931455884" sldId="2147378743"/>
        </pc:sldMkLst>
      </pc:sldChg>
      <pc:sldChg chg="delCm">
        <pc:chgData name="丁野 光理" userId="53361c9a-10d0-4268-b39c-a1f4044b33f4" providerId="ADAL" clId="{31A483AB-3ACD-4C31-80F9-FE8A9CCBC644}" dt="2025-02-07T12:55:45.047" v="53"/>
        <pc:sldMkLst>
          <pc:docMk/>
          <pc:sldMk cId="478136210" sldId="2147378746"/>
        </pc:sldMkLst>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31A483AB-3ACD-4C31-80F9-FE8A9CCBC644}" dt="2025-02-07T12:55:45.047" v="53"/>
              <pc2:cmMkLst xmlns:pc2="http://schemas.microsoft.com/office/powerpoint/2019/9/main/command">
                <pc:docMk/>
                <pc:sldMk cId="478136210" sldId="2147378746"/>
                <pc2:cmMk id="{BE5279C2-6FB9-4789-8A4B-9B7D06857022}"/>
              </pc2:cmMkLst>
            </pc226:cmChg>
          </p:ext>
        </pc:extLst>
      </pc:sldChg>
      <pc:sldChg chg="modSp mod addCm delCm modCm">
        <pc:chgData name="丁野 光理" userId="53361c9a-10d0-4268-b39c-a1f4044b33f4" providerId="ADAL" clId="{31A483AB-3ACD-4C31-80F9-FE8A9CCBC644}" dt="2025-02-10T00:55:12.469" v="860"/>
        <pc:sldMkLst>
          <pc:docMk/>
          <pc:sldMk cId="177420526" sldId="2147378748"/>
        </pc:sldMkLst>
        <pc:spChg chg="mod">
          <ac:chgData name="丁野 光理" userId="53361c9a-10d0-4268-b39c-a1f4044b33f4" providerId="ADAL" clId="{31A483AB-3ACD-4C31-80F9-FE8A9CCBC644}" dt="2025-02-10T00:55:07.484" v="859" actId="1076"/>
          <ac:spMkLst>
            <pc:docMk/>
            <pc:sldMk cId="177420526" sldId="2147378748"/>
            <ac:spMk id="7" creationId="{CD57A09D-0FAB-DCC5-4D8A-39E21554BE47}"/>
          </ac:spMkLst>
        </pc:spChg>
        <pc:graphicFrameChg chg="mod modGraphic">
          <ac:chgData name="丁野 光理" userId="53361c9a-10d0-4268-b39c-a1f4044b33f4" providerId="ADAL" clId="{31A483AB-3ACD-4C31-80F9-FE8A9CCBC644}" dt="2025-02-10T00:55:01.520" v="858"/>
          <ac:graphicFrameMkLst>
            <pc:docMk/>
            <pc:sldMk cId="177420526" sldId="2147378748"/>
            <ac:graphicFrameMk id="4" creationId="{E4CC0A9E-C092-35B3-805A-BF072145F524}"/>
          </ac:graphicFrameMkLst>
        </pc:graphicFrameChg>
        <pc:extLst>
          <p:ext xmlns:p="http://schemas.openxmlformats.org/presentationml/2006/main" uri="{D6D511B9-2390-475A-947B-AFAB55BFBCF1}">
            <pc226:cmChg xmlns:pc226="http://schemas.microsoft.com/office/powerpoint/2022/06/main/command" chg="add">
              <pc226:chgData name="丁野 光理" userId="53361c9a-10d0-4268-b39c-a1f4044b33f4" providerId="ADAL" clId="{31A483AB-3ACD-4C31-80F9-FE8A9CCBC644}" dt="2025-02-10T00:55:12.469" v="860"/>
              <pc2:cmMkLst xmlns:pc2="http://schemas.microsoft.com/office/powerpoint/2019/9/main/command">
                <pc:docMk/>
                <pc:sldMk cId="177420526" sldId="2147378748"/>
                <pc2:cmMk id="{522C6100-0E08-46DA-936A-1FF54600C0C7}"/>
              </pc2:cmMkLst>
              <pc226:cmRplyChg chg="add">
                <pc226:chgData name="丁野 光理" userId="53361c9a-10d0-4268-b39c-a1f4044b33f4" providerId="ADAL" clId="{31A483AB-3ACD-4C31-80F9-FE8A9CCBC644}" dt="2025-02-10T00:55:12.469" v="860"/>
                <pc2:cmRplyMkLst xmlns:pc2="http://schemas.microsoft.com/office/powerpoint/2019/9/main/command">
                  <pc:docMk/>
                  <pc:sldMk cId="177420526" sldId="2147378748"/>
                  <pc2:cmMk id="{522C6100-0E08-46DA-936A-1FF54600C0C7}"/>
                  <pc2:cmRplyMk id="{475C85C1-DF3E-4405-8BED-7D5EFC7213A0}"/>
                </pc2:cmRplyMkLst>
              </pc226:cmRplyChg>
            </pc226:cmChg>
            <pc226:cmChg xmlns:pc226="http://schemas.microsoft.com/office/powerpoint/2022/06/main/command" chg="del">
              <pc226:chgData name="丁野 光理" userId="53361c9a-10d0-4268-b39c-a1f4044b33f4" providerId="ADAL" clId="{31A483AB-3ACD-4C31-80F9-FE8A9CCBC644}" dt="2025-02-07T12:56:30.720" v="58"/>
              <pc2:cmMkLst xmlns:pc2="http://schemas.microsoft.com/office/powerpoint/2019/9/main/command">
                <pc:docMk/>
                <pc:sldMk cId="177420526" sldId="2147378748"/>
                <pc2:cmMk id="{B6A99A4A-1FF6-4BA3-9442-C5A0CBC5DA44}"/>
              </pc2:cmMkLst>
            </pc226:cmChg>
          </p:ext>
        </pc:extLst>
      </pc:sldChg>
      <pc:sldChg chg="modSp del mod">
        <pc:chgData name="丁野 光理" userId="53361c9a-10d0-4268-b39c-a1f4044b33f4" providerId="ADAL" clId="{31A483AB-3ACD-4C31-80F9-FE8A9CCBC644}" dt="2025-02-10T00:50:45.371" v="745" actId="47"/>
        <pc:sldMkLst>
          <pc:docMk/>
          <pc:sldMk cId="2766661592" sldId="2147378759"/>
        </pc:sldMkLst>
        <pc:spChg chg="mod">
          <ac:chgData name="丁野 光理" userId="53361c9a-10d0-4268-b39c-a1f4044b33f4" providerId="ADAL" clId="{31A483AB-3ACD-4C31-80F9-FE8A9CCBC644}" dt="2025-02-10T00:50:36.616" v="744"/>
          <ac:spMkLst>
            <pc:docMk/>
            <pc:sldMk cId="2766661592" sldId="2147378759"/>
            <ac:spMk id="2" creationId="{BDE63369-EA7E-4802-A4A3-D4010A333C66}"/>
          </ac:spMkLst>
        </pc:spChg>
      </pc:sldChg>
      <pc:sldChg chg="del">
        <pc:chgData name="丁野 光理" userId="53361c9a-10d0-4268-b39c-a1f4044b33f4" providerId="ADAL" clId="{31A483AB-3ACD-4C31-80F9-FE8A9CCBC644}" dt="2025-02-10T00:51:05.386" v="749" actId="47"/>
        <pc:sldMkLst>
          <pc:docMk/>
          <pc:sldMk cId="3009745310" sldId="2147378767"/>
        </pc:sldMkLst>
      </pc:sldChg>
      <pc:sldChg chg="del">
        <pc:chgData name="丁野 光理" userId="53361c9a-10d0-4268-b39c-a1f4044b33f4" providerId="ADAL" clId="{31A483AB-3ACD-4C31-80F9-FE8A9CCBC644}" dt="2025-02-10T00:51:03.121" v="748" actId="47"/>
        <pc:sldMkLst>
          <pc:docMk/>
          <pc:sldMk cId="1343814349" sldId="2147378768"/>
        </pc:sldMkLst>
      </pc:sldChg>
      <pc:sldChg chg="del">
        <pc:chgData name="丁野 光理" userId="53361c9a-10d0-4268-b39c-a1f4044b33f4" providerId="ADAL" clId="{31A483AB-3ACD-4C31-80F9-FE8A9CCBC644}" dt="2025-02-10T00:50:47.841" v="746" actId="47"/>
        <pc:sldMkLst>
          <pc:docMk/>
          <pc:sldMk cId="4268087364" sldId="2147378769"/>
        </pc:sldMkLst>
      </pc:sldChg>
      <pc:sldChg chg="del">
        <pc:chgData name="丁野 光理" userId="53361c9a-10d0-4268-b39c-a1f4044b33f4" providerId="ADAL" clId="{31A483AB-3ACD-4C31-80F9-FE8A9CCBC644}" dt="2025-02-10T01:31:46.349" v="4435" actId="47"/>
        <pc:sldMkLst>
          <pc:docMk/>
          <pc:sldMk cId="3704562467" sldId="2147483282"/>
        </pc:sldMkLst>
      </pc:sldChg>
      <pc:sldChg chg="del">
        <pc:chgData name="丁野 光理" userId="53361c9a-10d0-4268-b39c-a1f4044b33f4" providerId="ADAL" clId="{31A483AB-3ACD-4C31-80F9-FE8A9CCBC644}" dt="2025-02-10T01:31:31.503" v="4330" actId="47"/>
        <pc:sldMkLst>
          <pc:docMk/>
          <pc:sldMk cId="872684900" sldId="2147483285"/>
        </pc:sldMkLst>
      </pc:sldChg>
      <pc:sldChg chg="del ord">
        <pc:chgData name="丁野 光理" userId="53361c9a-10d0-4268-b39c-a1f4044b33f4" providerId="ADAL" clId="{31A483AB-3ACD-4C31-80F9-FE8A9CCBC644}" dt="2025-02-10T01:31:12.110" v="4199" actId="47"/>
        <pc:sldMkLst>
          <pc:docMk/>
          <pc:sldMk cId="223803015" sldId="2147483286"/>
        </pc:sldMkLst>
      </pc:sldChg>
      <pc:sldChg chg="del">
        <pc:chgData name="丁野 光理" userId="53361c9a-10d0-4268-b39c-a1f4044b33f4" providerId="ADAL" clId="{31A483AB-3ACD-4C31-80F9-FE8A9CCBC644}" dt="2025-02-10T01:30:53.872" v="4119" actId="47"/>
        <pc:sldMkLst>
          <pc:docMk/>
          <pc:sldMk cId="3414319613" sldId="2147483287"/>
        </pc:sldMkLst>
      </pc:sldChg>
      <pc:sldChg chg="del">
        <pc:chgData name="丁野 光理" userId="53361c9a-10d0-4268-b39c-a1f4044b33f4" providerId="ADAL" clId="{31A483AB-3ACD-4C31-80F9-FE8A9CCBC644}" dt="2025-02-10T01:30:39.841" v="4081" actId="47"/>
        <pc:sldMkLst>
          <pc:docMk/>
          <pc:sldMk cId="3915455286" sldId="2147483288"/>
        </pc:sldMkLst>
      </pc:sldChg>
      <pc:sldChg chg="modSp mod">
        <pc:chgData name="丁野 光理" userId="53361c9a-10d0-4268-b39c-a1f4044b33f4" providerId="ADAL" clId="{31A483AB-3ACD-4C31-80F9-FE8A9CCBC644}" dt="2025-02-10T01:30:33.223" v="4080" actId="1035"/>
        <pc:sldMkLst>
          <pc:docMk/>
          <pc:sldMk cId="1777383321" sldId="2147483289"/>
        </pc:sldMkLst>
        <pc:spChg chg="mod">
          <ac:chgData name="丁野 光理" userId="53361c9a-10d0-4268-b39c-a1f4044b33f4" providerId="ADAL" clId="{31A483AB-3ACD-4C31-80F9-FE8A9CCBC644}" dt="2025-02-10T01:30:33.223" v="4080" actId="1035"/>
          <ac:spMkLst>
            <pc:docMk/>
            <pc:sldMk cId="1777383321" sldId="2147483289"/>
            <ac:spMk id="3" creationId="{7A908D4C-AB64-4D6C-A9D7-43C0FEFAFC61}"/>
          </ac:spMkLst>
        </pc:spChg>
        <pc:spChg chg="mod">
          <ac:chgData name="丁野 光理" userId="53361c9a-10d0-4268-b39c-a1f4044b33f4" providerId="ADAL" clId="{31A483AB-3ACD-4C31-80F9-FE8A9CCBC644}" dt="2025-02-07T12:54:53.874" v="50" actId="6549"/>
          <ac:spMkLst>
            <pc:docMk/>
            <pc:sldMk cId="1777383321" sldId="2147483289"/>
            <ac:spMk id="10" creationId="{80E6EF29-A9F8-46B2-8DDE-5092A65E485F}"/>
          </ac:spMkLst>
        </pc:spChg>
      </pc:sldChg>
      <pc:sldChg chg="addCm delCm modCm">
        <pc:chgData name="丁野 光理" userId="53361c9a-10d0-4268-b39c-a1f4044b33f4" providerId="ADAL" clId="{31A483AB-3ACD-4C31-80F9-FE8A9CCBC644}" dt="2025-02-10T01:39:53.499" v="5170" actId="2056"/>
        <pc:sldMkLst>
          <pc:docMk/>
          <pc:sldMk cId="779576324" sldId="2147483290"/>
        </pc:sldMkLst>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31A483AB-3ACD-4C31-80F9-FE8A9CCBC644}" dt="2025-02-07T12:56:00.095" v="55"/>
              <pc2:cmMkLst xmlns:pc2="http://schemas.microsoft.com/office/powerpoint/2019/9/main/command">
                <pc:docMk/>
                <pc:sldMk cId="779576324" sldId="2147483290"/>
                <pc2:cmMk id="{784A88AF-9BAF-4767-B88A-839F62EDAA8C}"/>
              </pc2:cmMkLst>
            </pc226:cmChg>
            <pc226:cmChg xmlns:pc226="http://schemas.microsoft.com/office/powerpoint/2022/06/main/command" chg="add mod">
              <pc226:chgData name="丁野 光理" userId="53361c9a-10d0-4268-b39c-a1f4044b33f4" providerId="ADAL" clId="{31A483AB-3ACD-4C31-80F9-FE8A9CCBC644}" dt="2025-02-10T01:39:53.499" v="5170" actId="2056"/>
              <pc2:cmMkLst xmlns:pc2="http://schemas.microsoft.com/office/powerpoint/2019/9/main/command">
                <pc:docMk/>
                <pc:sldMk cId="779576324" sldId="2147483290"/>
                <pc2:cmMk id="{736DE0C4-3851-47B1-B408-A05F89339E87}"/>
              </pc2:cmMkLst>
            </pc226:cmChg>
          </p:ext>
        </pc:extLst>
      </pc:sldChg>
      <pc:sldChg chg="addCm delCm">
        <pc:chgData name="丁野 光理" userId="53361c9a-10d0-4268-b39c-a1f4044b33f4" providerId="ADAL" clId="{31A483AB-3ACD-4C31-80F9-FE8A9CCBC644}" dt="2025-02-07T12:56:24.110" v="57"/>
        <pc:sldMkLst>
          <pc:docMk/>
          <pc:sldMk cId="4261027216" sldId="2147483291"/>
        </pc:sldMkLst>
        <pc:extLst>
          <p:ext xmlns:p="http://schemas.openxmlformats.org/presentationml/2006/main" uri="{D6D511B9-2390-475A-947B-AFAB55BFBCF1}">
            <pc226:cmChg xmlns:pc226="http://schemas.microsoft.com/office/powerpoint/2022/06/main/command" chg="add">
              <pc226:chgData name="丁野 光理" userId="53361c9a-10d0-4268-b39c-a1f4044b33f4" providerId="ADAL" clId="{31A483AB-3ACD-4C31-80F9-FE8A9CCBC644}" dt="2025-02-07T12:56:24.110" v="57"/>
              <pc2:cmMkLst xmlns:pc2="http://schemas.microsoft.com/office/powerpoint/2019/9/main/command">
                <pc:docMk/>
                <pc:sldMk cId="4261027216" sldId="2147483291"/>
                <pc2:cmMk id="{F404771D-B01B-4A3E-A7E0-3B948632E280}"/>
              </pc2:cmMkLst>
            </pc226:cmChg>
            <pc226:cmChg xmlns:pc226="http://schemas.microsoft.com/office/powerpoint/2022/06/main/command" chg="del">
              <pc226:chgData name="丁野 光理" userId="53361c9a-10d0-4268-b39c-a1f4044b33f4" providerId="ADAL" clId="{31A483AB-3ACD-4C31-80F9-FE8A9CCBC644}" dt="2025-02-07T12:55:51.033" v="54"/>
              <pc2:cmMkLst xmlns:pc2="http://schemas.microsoft.com/office/powerpoint/2019/9/main/command">
                <pc:docMk/>
                <pc:sldMk cId="4261027216" sldId="2147483291"/>
                <pc2:cmMk id="{B92C7B80-99AC-4AE7-ABBF-6E21FF0FC272}"/>
              </pc2:cmMkLst>
            </pc226:cmChg>
          </p:ext>
        </pc:extLst>
      </pc:sldChg>
      <pc:sldChg chg="modSp add mod addCm">
        <pc:chgData name="丁野 光理" userId="53361c9a-10d0-4268-b39c-a1f4044b33f4" providerId="ADAL" clId="{31A483AB-3ACD-4C31-80F9-FE8A9CCBC644}" dt="2025-02-10T01:49:13.667" v="5801"/>
        <pc:sldMkLst>
          <pc:docMk/>
          <pc:sldMk cId="2965977736" sldId="2147483292"/>
        </pc:sldMkLst>
        <pc:spChg chg="mod">
          <ac:chgData name="丁野 光理" userId="53361c9a-10d0-4268-b39c-a1f4044b33f4" providerId="ADAL" clId="{31A483AB-3ACD-4C31-80F9-FE8A9CCBC644}" dt="2025-02-10T00:50:15.603" v="738"/>
          <ac:spMkLst>
            <pc:docMk/>
            <pc:sldMk cId="2965977736" sldId="2147483292"/>
            <ac:spMk id="2" creationId="{BDE63369-EA7E-4802-A4A3-D4010A333C66}"/>
          </ac:spMkLst>
        </pc:spChg>
        <pc:spChg chg="mod">
          <ac:chgData name="丁野 光理" userId="53361c9a-10d0-4268-b39c-a1f4044b33f4" providerId="ADAL" clId="{31A483AB-3ACD-4C31-80F9-FE8A9CCBC644}" dt="2025-02-10T01:49:13.667" v="5801"/>
          <ac:spMkLst>
            <pc:docMk/>
            <pc:sldMk cId="2965977736" sldId="2147483292"/>
            <ac:spMk id="6" creationId="{95B7D5A6-3733-419F-5F47-1323A3D8D852}"/>
          </ac:spMkLst>
        </pc:spChg>
        <pc:extLst>
          <p:ext xmlns:p="http://schemas.openxmlformats.org/presentationml/2006/main" uri="{D6D511B9-2390-475A-947B-AFAB55BFBCF1}">
            <pc226:cmChg xmlns:pc226="http://schemas.microsoft.com/office/powerpoint/2022/06/main/command" chg="add">
              <pc226:chgData name="丁野 光理" userId="53361c9a-10d0-4268-b39c-a1f4044b33f4" providerId="ADAL" clId="{31A483AB-3ACD-4C31-80F9-FE8A9CCBC644}" dt="2025-02-10T00:49:55.633" v="679"/>
              <pc2:cmMkLst xmlns:pc2="http://schemas.microsoft.com/office/powerpoint/2019/9/main/command">
                <pc:docMk/>
                <pc:sldMk cId="2965977736" sldId="2147483292"/>
                <pc2:cmMk id="{FBBD653C-163C-4333-9A8F-ED31F39B4803}"/>
              </pc2:cmMkLst>
            </pc226:cmChg>
          </p:ext>
        </pc:extLst>
      </pc:sldChg>
      <pc:sldChg chg="addSp delSp modSp add mod ord addCm modCm">
        <pc:chgData name="丁野 光理" userId="53361c9a-10d0-4268-b39c-a1f4044b33f4" providerId="ADAL" clId="{31A483AB-3ACD-4C31-80F9-FE8A9CCBC644}" dt="2025-02-10T01:49:25.534" v="5805" actId="20577"/>
        <pc:sldMkLst>
          <pc:docMk/>
          <pc:sldMk cId="3497061464" sldId="2147483293"/>
        </pc:sldMkLst>
        <pc:spChg chg="mod">
          <ac:chgData name="丁野 光理" userId="53361c9a-10d0-4268-b39c-a1f4044b33f4" providerId="ADAL" clId="{31A483AB-3ACD-4C31-80F9-FE8A9CCBC644}" dt="2025-02-10T00:50:19.637" v="739"/>
          <ac:spMkLst>
            <pc:docMk/>
            <pc:sldMk cId="3497061464" sldId="2147483293"/>
            <ac:spMk id="2" creationId="{BDE63369-EA7E-4802-A4A3-D4010A333C66}"/>
          </ac:spMkLst>
        </pc:spChg>
        <pc:spChg chg="add mod">
          <ac:chgData name="丁野 光理" userId="53361c9a-10d0-4268-b39c-a1f4044b33f4" providerId="ADAL" clId="{31A483AB-3ACD-4C31-80F9-FE8A9CCBC644}" dt="2025-02-10T01:27:45.746" v="3838"/>
          <ac:spMkLst>
            <pc:docMk/>
            <pc:sldMk cId="3497061464" sldId="2147483293"/>
            <ac:spMk id="3" creationId="{60476D19-3753-EE8B-1E4F-5FEAA4EFEE4F}"/>
          </ac:spMkLst>
        </pc:spChg>
        <pc:spChg chg="add mod">
          <ac:chgData name="丁野 光理" userId="53361c9a-10d0-4268-b39c-a1f4044b33f4" providerId="ADAL" clId="{31A483AB-3ACD-4C31-80F9-FE8A9CCBC644}" dt="2025-02-10T01:29:32.232" v="3994" actId="1076"/>
          <ac:spMkLst>
            <pc:docMk/>
            <pc:sldMk cId="3497061464" sldId="2147483293"/>
            <ac:spMk id="4" creationId="{673128B7-F593-3BB9-2438-E17156A5BEE3}"/>
          </ac:spMkLst>
        </pc:spChg>
        <pc:spChg chg="mod">
          <ac:chgData name="丁野 光理" userId="53361c9a-10d0-4268-b39c-a1f4044b33f4" providerId="ADAL" clId="{31A483AB-3ACD-4C31-80F9-FE8A9CCBC644}" dt="2025-02-10T01:02:43.098" v="1614"/>
          <ac:spMkLst>
            <pc:docMk/>
            <pc:sldMk cId="3497061464" sldId="2147483293"/>
            <ac:spMk id="6" creationId="{06F06DD2-9B90-695B-AD25-50F75DE8988B}"/>
          </ac:spMkLst>
        </pc:spChg>
        <pc:spChg chg="add mod">
          <ac:chgData name="丁野 光理" userId="53361c9a-10d0-4268-b39c-a1f4044b33f4" providerId="ADAL" clId="{31A483AB-3ACD-4C31-80F9-FE8A9CCBC644}" dt="2025-02-10T01:27:45.746" v="3838"/>
          <ac:spMkLst>
            <pc:docMk/>
            <pc:sldMk cId="3497061464" sldId="2147483293"/>
            <ac:spMk id="7" creationId="{F4B461FD-1D1A-04E4-75BF-42218D2AECCE}"/>
          </ac:spMkLst>
        </pc:spChg>
        <pc:spChg chg="del mod">
          <ac:chgData name="丁野 光理" userId="53361c9a-10d0-4268-b39c-a1f4044b33f4" providerId="ADAL" clId="{31A483AB-3ACD-4C31-80F9-FE8A9CCBC644}" dt="2025-02-10T01:28:14.009" v="3841" actId="478"/>
          <ac:spMkLst>
            <pc:docMk/>
            <pc:sldMk cId="3497061464" sldId="2147483293"/>
            <ac:spMk id="8" creationId="{01400420-A405-9FA0-FB58-53E4DBC1233D}"/>
          </ac:spMkLst>
        </pc:spChg>
        <pc:spChg chg="del mod">
          <ac:chgData name="丁野 光理" userId="53361c9a-10d0-4268-b39c-a1f4044b33f4" providerId="ADAL" clId="{31A483AB-3ACD-4C31-80F9-FE8A9CCBC644}" dt="2025-02-10T01:39:53.869" v="5171" actId="478"/>
          <ac:spMkLst>
            <pc:docMk/>
            <pc:sldMk cId="3497061464" sldId="2147483293"/>
            <ac:spMk id="11" creationId="{5B8ABDA1-3D2A-BE6F-2D47-4B44E4CE9142}"/>
          </ac:spMkLst>
        </pc:spChg>
        <pc:spChg chg="add mod">
          <ac:chgData name="丁野 光理" userId="53361c9a-10d0-4268-b39c-a1f4044b33f4" providerId="ADAL" clId="{31A483AB-3ACD-4C31-80F9-FE8A9CCBC644}" dt="2025-02-10T01:27:45.746" v="3838"/>
          <ac:spMkLst>
            <pc:docMk/>
            <pc:sldMk cId="3497061464" sldId="2147483293"/>
            <ac:spMk id="12" creationId="{DAEE75AC-366C-6CBA-0E50-2C7ED64C7068}"/>
          </ac:spMkLst>
        </pc:spChg>
        <pc:spChg chg="add mod">
          <ac:chgData name="丁野 光理" userId="53361c9a-10d0-4268-b39c-a1f4044b33f4" providerId="ADAL" clId="{31A483AB-3ACD-4C31-80F9-FE8A9CCBC644}" dt="2025-02-10T01:29:55.136" v="4000" actId="1076"/>
          <ac:spMkLst>
            <pc:docMk/>
            <pc:sldMk cId="3497061464" sldId="2147483293"/>
            <ac:spMk id="14" creationId="{554839C8-6D58-42E2-AAB3-E2DC56C43F47}"/>
          </ac:spMkLst>
        </pc:spChg>
        <pc:spChg chg="add mod">
          <ac:chgData name="丁野 光理" userId="53361c9a-10d0-4268-b39c-a1f4044b33f4" providerId="ADAL" clId="{31A483AB-3ACD-4C31-80F9-FE8A9CCBC644}" dt="2025-02-10T01:29:34.287" v="3995" actId="14100"/>
          <ac:spMkLst>
            <pc:docMk/>
            <pc:sldMk cId="3497061464" sldId="2147483293"/>
            <ac:spMk id="16" creationId="{E78A26C9-240D-C262-0FA8-ABFB600BBE90}"/>
          </ac:spMkLst>
        </pc:spChg>
        <pc:spChg chg="del mod">
          <ac:chgData name="丁野 光理" userId="53361c9a-10d0-4268-b39c-a1f4044b33f4" providerId="ADAL" clId="{31A483AB-3ACD-4C31-80F9-FE8A9CCBC644}" dt="2025-02-10T01:39:53.869" v="5171" actId="478"/>
          <ac:spMkLst>
            <pc:docMk/>
            <pc:sldMk cId="3497061464" sldId="2147483293"/>
            <ac:spMk id="17" creationId="{53F10FF5-7C3A-04E7-4D0E-3EC2A9EB89FC}"/>
          </ac:spMkLst>
        </pc:spChg>
        <pc:spChg chg="del mod">
          <ac:chgData name="丁野 光理" userId="53361c9a-10d0-4268-b39c-a1f4044b33f4" providerId="ADAL" clId="{31A483AB-3ACD-4C31-80F9-FE8A9CCBC644}" dt="2025-02-10T01:39:53.869" v="5171" actId="478"/>
          <ac:spMkLst>
            <pc:docMk/>
            <pc:sldMk cId="3497061464" sldId="2147483293"/>
            <ac:spMk id="18" creationId="{E9664A3C-1A6D-1DEA-5030-08206BBAF59D}"/>
          </ac:spMkLst>
        </pc:spChg>
        <pc:spChg chg="del mod">
          <ac:chgData name="丁野 光理" userId="53361c9a-10d0-4268-b39c-a1f4044b33f4" providerId="ADAL" clId="{31A483AB-3ACD-4C31-80F9-FE8A9CCBC644}" dt="2025-02-10T01:39:53.869" v="5171" actId="478"/>
          <ac:spMkLst>
            <pc:docMk/>
            <pc:sldMk cId="3497061464" sldId="2147483293"/>
            <ac:spMk id="20" creationId="{A1D40746-BF49-AC90-B951-2E85999D00C9}"/>
          </ac:spMkLst>
        </pc:spChg>
        <pc:spChg chg="del mod">
          <ac:chgData name="丁野 光理" userId="53361c9a-10d0-4268-b39c-a1f4044b33f4" providerId="ADAL" clId="{31A483AB-3ACD-4C31-80F9-FE8A9CCBC644}" dt="2025-02-10T01:39:53.869" v="5171" actId="478"/>
          <ac:spMkLst>
            <pc:docMk/>
            <pc:sldMk cId="3497061464" sldId="2147483293"/>
            <ac:spMk id="22" creationId="{E3A53034-9097-A2B0-BA00-9805C113B3C4}"/>
          </ac:spMkLst>
        </pc:spChg>
        <pc:spChg chg="del">
          <ac:chgData name="丁野 光理" userId="53361c9a-10d0-4268-b39c-a1f4044b33f4" providerId="ADAL" clId="{31A483AB-3ACD-4C31-80F9-FE8A9CCBC644}" dt="2025-02-10T01:20:56.346" v="2807" actId="478"/>
          <ac:spMkLst>
            <pc:docMk/>
            <pc:sldMk cId="3497061464" sldId="2147483293"/>
            <ac:spMk id="23" creationId="{548B53C1-9515-859C-4FF6-ED37AFEFE4B3}"/>
          </ac:spMkLst>
        </pc:spChg>
        <pc:spChg chg="del mod">
          <ac:chgData name="丁野 光理" userId="53361c9a-10d0-4268-b39c-a1f4044b33f4" providerId="ADAL" clId="{31A483AB-3ACD-4C31-80F9-FE8A9CCBC644}" dt="2025-02-10T01:39:53.869" v="5171" actId="478"/>
          <ac:spMkLst>
            <pc:docMk/>
            <pc:sldMk cId="3497061464" sldId="2147483293"/>
            <ac:spMk id="25" creationId="{B623064F-1224-9D0A-91B9-574A09BD6B31}"/>
          </ac:spMkLst>
        </pc:spChg>
        <pc:spChg chg="del mod">
          <ac:chgData name="丁野 光理" userId="53361c9a-10d0-4268-b39c-a1f4044b33f4" providerId="ADAL" clId="{31A483AB-3ACD-4C31-80F9-FE8A9CCBC644}" dt="2025-02-10T01:39:53.869" v="5171" actId="478"/>
          <ac:spMkLst>
            <pc:docMk/>
            <pc:sldMk cId="3497061464" sldId="2147483293"/>
            <ac:spMk id="28" creationId="{90FD0E77-3888-581E-76F2-D03B3D6A162F}"/>
          </ac:spMkLst>
        </pc:spChg>
        <pc:spChg chg="del mod">
          <ac:chgData name="丁野 光理" userId="53361c9a-10d0-4268-b39c-a1f4044b33f4" providerId="ADAL" clId="{31A483AB-3ACD-4C31-80F9-FE8A9CCBC644}" dt="2025-02-10T01:39:53.869" v="5171" actId="478"/>
          <ac:spMkLst>
            <pc:docMk/>
            <pc:sldMk cId="3497061464" sldId="2147483293"/>
            <ac:spMk id="29" creationId="{51548927-EDC2-8320-9763-1100DEEB5C3D}"/>
          </ac:spMkLst>
        </pc:spChg>
        <pc:spChg chg="del mod">
          <ac:chgData name="丁野 光理" userId="53361c9a-10d0-4268-b39c-a1f4044b33f4" providerId="ADAL" clId="{31A483AB-3ACD-4C31-80F9-FE8A9CCBC644}" dt="2025-02-10T01:39:56.446" v="5173" actId="478"/>
          <ac:spMkLst>
            <pc:docMk/>
            <pc:sldMk cId="3497061464" sldId="2147483293"/>
            <ac:spMk id="30" creationId="{ABA7E6E7-22B8-6897-CAD1-5BB1F7243A11}"/>
          </ac:spMkLst>
        </pc:spChg>
        <pc:spChg chg="mod">
          <ac:chgData name="丁野 光理" userId="53361c9a-10d0-4268-b39c-a1f4044b33f4" providerId="ADAL" clId="{31A483AB-3ACD-4C31-80F9-FE8A9CCBC644}" dt="2025-02-10T01:27:41.910" v="3837" actId="1038"/>
          <ac:spMkLst>
            <pc:docMk/>
            <pc:sldMk cId="3497061464" sldId="2147483293"/>
            <ac:spMk id="31" creationId="{97AC2652-6A11-4525-3831-C5116BDDAFD4}"/>
          </ac:spMkLst>
        </pc:spChg>
        <pc:spChg chg="del mod">
          <ac:chgData name="丁野 光理" userId="53361c9a-10d0-4268-b39c-a1f4044b33f4" providerId="ADAL" clId="{31A483AB-3ACD-4C31-80F9-FE8A9CCBC644}" dt="2025-02-10T01:39:53.869" v="5171" actId="478"/>
          <ac:spMkLst>
            <pc:docMk/>
            <pc:sldMk cId="3497061464" sldId="2147483293"/>
            <ac:spMk id="32" creationId="{226A0974-299A-DA5C-F13B-FA16A7D473D9}"/>
          </ac:spMkLst>
        </pc:spChg>
        <pc:spChg chg="del mod">
          <ac:chgData name="丁野 光理" userId="53361c9a-10d0-4268-b39c-a1f4044b33f4" providerId="ADAL" clId="{31A483AB-3ACD-4C31-80F9-FE8A9CCBC644}" dt="2025-02-10T01:39:55.328" v="5172" actId="478"/>
          <ac:spMkLst>
            <pc:docMk/>
            <pc:sldMk cId="3497061464" sldId="2147483293"/>
            <ac:spMk id="33" creationId="{C9FC6D16-CAD4-5B3E-F8B5-81D2A2D8CDCA}"/>
          </ac:spMkLst>
        </pc:spChg>
        <pc:spChg chg="del">
          <ac:chgData name="丁野 光理" userId="53361c9a-10d0-4268-b39c-a1f4044b33f4" providerId="ADAL" clId="{31A483AB-3ACD-4C31-80F9-FE8A9CCBC644}" dt="2025-02-10T01:20:57.463" v="2808" actId="478"/>
          <ac:spMkLst>
            <pc:docMk/>
            <pc:sldMk cId="3497061464" sldId="2147483293"/>
            <ac:spMk id="34" creationId="{C89FC4AA-2731-E92F-D907-2D16595912E8}"/>
          </ac:spMkLst>
        </pc:spChg>
        <pc:spChg chg="del">
          <ac:chgData name="丁野 光理" userId="53361c9a-10d0-4268-b39c-a1f4044b33f4" providerId="ADAL" clId="{31A483AB-3ACD-4C31-80F9-FE8A9CCBC644}" dt="2025-02-10T01:21:00.275" v="2810" actId="478"/>
          <ac:spMkLst>
            <pc:docMk/>
            <pc:sldMk cId="3497061464" sldId="2147483293"/>
            <ac:spMk id="35" creationId="{708AB7D6-2CDF-65E4-DFCF-96EFAC6FF818}"/>
          </ac:spMkLst>
        </pc:spChg>
        <pc:spChg chg="add mod">
          <ac:chgData name="丁野 光理" userId="53361c9a-10d0-4268-b39c-a1f4044b33f4" providerId="ADAL" clId="{31A483AB-3ACD-4C31-80F9-FE8A9CCBC644}" dt="2025-02-10T01:29:42.291" v="3996" actId="1076"/>
          <ac:spMkLst>
            <pc:docMk/>
            <pc:sldMk cId="3497061464" sldId="2147483293"/>
            <ac:spMk id="38" creationId="{181FD6B4-F402-06D0-4D70-67AAC04AED3C}"/>
          </ac:spMkLst>
        </pc:spChg>
        <pc:spChg chg="add mod">
          <ac:chgData name="丁野 光理" userId="53361c9a-10d0-4268-b39c-a1f4044b33f4" providerId="ADAL" clId="{31A483AB-3ACD-4C31-80F9-FE8A9CCBC644}" dt="2025-02-10T01:38:02.011" v="4772" actId="6549"/>
          <ac:spMkLst>
            <pc:docMk/>
            <pc:sldMk cId="3497061464" sldId="2147483293"/>
            <ac:spMk id="39" creationId="{5CCDBD8B-4CEC-6950-C6F9-1A764EC19E6C}"/>
          </ac:spMkLst>
        </pc:spChg>
        <pc:spChg chg="add mod">
          <ac:chgData name="丁野 光理" userId="53361c9a-10d0-4268-b39c-a1f4044b33f4" providerId="ADAL" clId="{31A483AB-3ACD-4C31-80F9-FE8A9CCBC644}" dt="2025-02-10T01:49:25.534" v="5805" actId="20577"/>
          <ac:spMkLst>
            <pc:docMk/>
            <pc:sldMk cId="3497061464" sldId="2147483293"/>
            <ac:spMk id="40" creationId="{89A74202-F823-84CD-E0A8-07A84CB961E1}"/>
          </ac:spMkLst>
        </pc:spChg>
        <pc:spChg chg="add mod">
          <ac:chgData name="丁野 光理" userId="53361c9a-10d0-4268-b39c-a1f4044b33f4" providerId="ADAL" clId="{31A483AB-3ACD-4C31-80F9-FE8A9CCBC644}" dt="2025-02-10T01:44:48.062" v="5371"/>
          <ac:spMkLst>
            <pc:docMk/>
            <pc:sldMk cId="3497061464" sldId="2147483293"/>
            <ac:spMk id="41" creationId="{F253A734-CAF8-C00E-010D-F4D99DB750B1}"/>
          </ac:spMkLst>
        </pc:spChg>
        <pc:spChg chg="add mod">
          <ac:chgData name="丁野 光理" userId="53361c9a-10d0-4268-b39c-a1f4044b33f4" providerId="ADAL" clId="{31A483AB-3ACD-4C31-80F9-FE8A9CCBC644}" dt="2025-02-10T01:38:49.429" v="4938" actId="6549"/>
          <ac:spMkLst>
            <pc:docMk/>
            <pc:sldMk cId="3497061464" sldId="2147483293"/>
            <ac:spMk id="42" creationId="{75C439A5-A514-0F24-7765-6CC153381FAC}"/>
          </ac:spMkLst>
        </pc:spChg>
        <pc:spChg chg="add mod">
          <ac:chgData name="丁野 光理" userId="53361c9a-10d0-4268-b39c-a1f4044b33f4" providerId="ADAL" clId="{31A483AB-3ACD-4C31-80F9-FE8A9CCBC644}" dt="2025-02-10T01:39:13.731" v="5127" actId="6549"/>
          <ac:spMkLst>
            <pc:docMk/>
            <pc:sldMk cId="3497061464" sldId="2147483293"/>
            <ac:spMk id="43" creationId="{2D968B53-336D-9ADC-61B4-91D49E2CB58A}"/>
          </ac:spMkLst>
        </pc:spChg>
        <pc:spChg chg="add del mod">
          <ac:chgData name="丁野 光理" userId="53361c9a-10d0-4268-b39c-a1f4044b33f4" providerId="ADAL" clId="{31A483AB-3ACD-4C31-80F9-FE8A9CCBC644}" dt="2025-02-10T01:28:48.348" v="3899" actId="478"/>
          <ac:spMkLst>
            <pc:docMk/>
            <pc:sldMk cId="3497061464" sldId="2147483293"/>
            <ac:spMk id="44" creationId="{3A9CDF99-8260-8EDE-F6CF-88ED6EE69458}"/>
          </ac:spMkLst>
        </pc:spChg>
        <pc:spChg chg="add del mod">
          <ac:chgData name="丁野 光理" userId="53361c9a-10d0-4268-b39c-a1f4044b33f4" providerId="ADAL" clId="{31A483AB-3ACD-4C31-80F9-FE8A9CCBC644}" dt="2025-02-10T01:28:02.885" v="3839" actId="478"/>
          <ac:spMkLst>
            <pc:docMk/>
            <pc:sldMk cId="3497061464" sldId="2147483293"/>
            <ac:spMk id="45" creationId="{35CD6720-9C25-7C98-9EF3-6DF53264A811}"/>
          </ac:spMkLst>
        </pc:spChg>
        <pc:spChg chg="add mod">
          <ac:chgData name="丁野 光理" userId="53361c9a-10d0-4268-b39c-a1f4044b33f4" providerId="ADAL" clId="{31A483AB-3ACD-4C31-80F9-FE8A9CCBC644}" dt="2025-02-10T01:39:21.295" v="5165"/>
          <ac:spMkLst>
            <pc:docMk/>
            <pc:sldMk cId="3497061464" sldId="2147483293"/>
            <ac:spMk id="46" creationId="{600E6CF9-623F-6E8C-BCC7-E5A672202DDB}"/>
          </ac:spMkLst>
        </pc:spChg>
        <pc:spChg chg="add del mod">
          <ac:chgData name="丁野 光理" userId="53361c9a-10d0-4268-b39c-a1f4044b33f4" providerId="ADAL" clId="{31A483AB-3ACD-4C31-80F9-FE8A9CCBC644}" dt="2025-02-10T01:28:39.299" v="3896" actId="478"/>
          <ac:spMkLst>
            <pc:docMk/>
            <pc:sldMk cId="3497061464" sldId="2147483293"/>
            <ac:spMk id="48" creationId="{A5697BB5-D9BA-C28D-0C8D-9E7A146A6D91}"/>
          </ac:spMkLst>
        </pc:spChg>
        <pc:spChg chg="add mod">
          <ac:chgData name="丁野 光理" userId="53361c9a-10d0-4268-b39c-a1f4044b33f4" providerId="ADAL" clId="{31A483AB-3ACD-4C31-80F9-FE8A9CCBC644}" dt="2025-02-10T01:39:35.129" v="5166"/>
          <ac:spMkLst>
            <pc:docMk/>
            <pc:sldMk cId="3497061464" sldId="2147483293"/>
            <ac:spMk id="50" creationId="{4579EF89-BDD8-EA9F-DDB2-E91230D9DC30}"/>
          </ac:spMkLst>
        </pc:spChg>
        <pc:spChg chg="add mod">
          <ac:chgData name="丁野 光理" userId="53361c9a-10d0-4268-b39c-a1f4044b33f4" providerId="ADAL" clId="{31A483AB-3ACD-4C31-80F9-FE8A9CCBC644}" dt="2025-02-10T01:39:45.521" v="5169" actId="20577"/>
          <ac:spMkLst>
            <pc:docMk/>
            <pc:sldMk cId="3497061464" sldId="2147483293"/>
            <ac:spMk id="51" creationId="{CAB99240-810C-D775-C007-98E9016D24F3}"/>
          </ac:spMkLst>
        </pc:spChg>
        <pc:spChg chg="add mod">
          <ac:chgData name="丁野 光理" userId="53361c9a-10d0-4268-b39c-a1f4044b33f4" providerId="ADAL" clId="{31A483AB-3ACD-4C31-80F9-FE8A9CCBC644}" dt="2025-02-10T01:44:54.389" v="5372" actId="1076"/>
          <ac:spMkLst>
            <pc:docMk/>
            <pc:sldMk cId="3497061464" sldId="2147483293"/>
            <ac:spMk id="52" creationId="{0E467507-0884-6534-768F-4B2888FFD52C}"/>
          </ac:spMkLst>
        </pc:spChg>
        <pc:cxnChg chg="add mod">
          <ac:chgData name="丁野 光理" userId="53361c9a-10d0-4268-b39c-a1f4044b33f4" providerId="ADAL" clId="{31A483AB-3ACD-4C31-80F9-FE8A9CCBC644}" dt="2025-02-10T01:27:45.746" v="3838"/>
          <ac:cxnSpMkLst>
            <pc:docMk/>
            <pc:sldMk cId="3497061464" sldId="2147483293"/>
            <ac:cxnSpMk id="10" creationId="{82D2748D-BB61-FC46-4956-3FF21F9356AB}"/>
          </ac:cxnSpMkLst>
        </pc:cxnChg>
        <pc:cxnChg chg="add mod">
          <ac:chgData name="丁野 光理" userId="53361c9a-10d0-4268-b39c-a1f4044b33f4" providerId="ADAL" clId="{31A483AB-3ACD-4C31-80F9-FE8A9CCBC644}" dt="2025-02-10T01:27:45.746" v="3838"/>
          <ac:cxnSpMkLst>
            <pc:docMk/>
            <pc:sldMk cId="3497061464" sldId="2147483293"/>
            <ac:cxnSpMk id="13" creationId="{DA9EB9DC-A664-CA33-8F8D-929D2CE07BB6}"/>
          </ac:cxnSpMkLst>
        </pc:cxnChg>
        <pc:cxnChg chg="add mod">
          <ac:chgData name="丁野 光理" userId="53361c9a-10d0-4268-b39c-a1f4044b33f4" providerId="ADAL" clId="{31A483AB-3ACD-4C31-80F9-FE8A9CCBC644}" dt="2025-02-10T01:29:44.777" v="3997" actId="1076"/>
          <ac:cxnSpMkLst>
            <pc:docMk/>
            <pc:sldMk cId="3497061464" sldId="2147483293"/>
            <ac:cxnSpMk id="15" creationId="{B9736FA1-1B58-33DA-9663-B3D44C37FEA0}"/>
          </ac:cxnSpMkLst>
        </pc:cxnChg>
        <pc:cxnChg chg="del mod">
          <ac:chgData name="丁野 光理" userId="53361c9a-10d0-4268-b39c-a1f4044b33f4" providerId="ADAL" clId="{31A483AB-3ACD-4C31-80F9-FE8A9CCBC644}" dt="2025-02-10T01:39:53.869" v="5171" actId="478"/>
          <ac:cxnSpMkLst>
            <pc:docMk/>
            <pc:sldMk cId="3497061464" sldId="2147483293"/>
            <ac:cxnSpMk id="19" creationId="{988F5D47-E5D3-5BF3-75A0-F784D65E7675}"/>
          </ac:cxnSpMkLst>
        </pc:cxnChg>
        <pc:cxnChg chg="del mod">
          <ac:chgData name="丁野 光理" userId="53361c9a-10d0-4268-b39c-a1f4044b33f4" providerId="ADAL" clId="{31A483AB-3ACD-4C31-80F9-FE8A9CCBC644}" dt="2025-02-10T01:39:53.869" v="5171" actId="478"/>
          <ac:cxnSpMkLst>
            <pc:docMk/>
            <pc:sldMk cId="3497061464" sldId="2147483293"/>
            <ac:cxnSpMk id="21" creationId="{2C5A1D27-39E7-7A74-E0C6-11903FAA5D16}"/>
          </ac:cxnSpMkLst>
        </pc:cxnChg>
        <pc:cxnChg chg="del mod">
          <ac:chgData name="丁野 光理" userId="53361c9a-10d0-4268-b39c-a1f4044b33f4" providerId="ADAL" clId="{31A483AB-3ACD-4C31-80F9-FE8A9CCBC644}" dt="2025-02-10T01:39:53.869" v="5171" actId="478"/>
          <ac:cxnSpMkLst>
            <pc:docMk/>
            <pc:sldMk cId="3497061464" sldId="2147483293"/>
            <ac:cxnSpMk id="24" creationId="{67CF960F-BF89-4129-340B-68AB5FDE8755}"/>
          </ac:cxnSpMkLst>
        </pc:cxnChg>
        <pc:cxnChg chg="del mod">
          <ac:chgData name="丁野 光理" userId="53361c9a-10d0-4268-b39c-a1f4044b33f4" providerId="ADAL" clId="{31A483AB-3ACD-4C31-80F9-FE8A9CCBC644}" dt="2025-02-10T01:39:53.869" v="5171" actId="478"/>
          <ac:cxnSpMkLst>
            <pc:docMk/>
            <pc:sldMk cId="3497061464" sldId="2147483293"/>
            <ac:cxnSpMk id="26" creationId="{D275D890-34D1-720A-5568-058C5CE60E89}"/>
          </ac:cxnSpMkLst>
        </pc:cxnChg>
        <pc:cxnChg chg="del">
          <ac:chgData name="丁野 光理" userId="53361c9a-10d0-4268-b39c-a1f4044b33f4" providerId="ADAL" clId="{31A483AB-3ACD-4C31-80F9-FE8A9CCBC644}" dt="2025-02-10T01:20:58.055" v="2809" actId="478"/>
          <ac:cxnSpMkLst>
            <pc:docMk/>
            <pc:sldMk cId="3497061464" sldId="2147483293"/>
            <ac:cxnSpMk id="27" creationId="{E7CB3556-2936-30A4-AEC6-65D0A1738CDB}"/>
          </ac:cxnSpMkLst>
        </pc:cxnChg>
        <pc:cxnChg chg="add mod">
          <ac:chgData name="丁野 光理" userId="53361c9a-10d0-4268-b39c-a1f4044b33f4" providerId="ADAL" clId="{31A483AB-3ACD-4C31-80F9-FE8A9CCBC644}" dt="2025-02-10T01:27:45.746" v="3838"/>
          <ac:cxnSpMkLst>
            <pc:docMk/>
            <pc:sldMk cId="3497061464" sldId="2147483293"/>
            <ac:cxnSpMk id="36" creationId="{2C032304-F5A7-781B-370A-8361B5E9EBD8}"/>
          </ac:cxnSpMkLst>
        </pc:cxnChg>
        <pc:cxnChg chg="add mod">
          <ac:chgData name="丁野 光理" userId="53361c9a-10d0-4268-b39c-a1f4044b33f4" providerId="ADAL" clId="{31A483AB-3ACD-4C31-80F9-FE8A9CCBC644}" dt="2025-02-10T01:27:45.746" v="3838"/>
          <ac:cxnSpMkLst>
            <pc:docMk/>
            <pc:sldMk cId="3497061464" sldId="2147483293"/>
            <ac:cxnSpMk id="37" creationId="{99164EAE-95AA-7C12-77F1-A757AE49EAD8}"/>
          </ac:cxnSpMkLst>
        </pc:cxnChg>
        <pc:cxnChg chg="add mod">
          <ac:chgData name="丁野 光理" userId="53361c9a-10d0-4268-b39c-a1f4044b33f4" providerId="ADAL" clId="{31A483AB-3ACD-4C31-80F9-FE8A9CCBC644}" dt="2025-02-10T01:44:09.622" v="5176" actId="1076"/>
          <ac:cxnSpMkLst>
            <pc:docMk/>
            <pc:sldMk cId="3497061464" sldId="2147483293"/>
            <ac:cxnSpMk id="47" creationId="{8DA18EC6-3DDC-929C-F207-5AF1A8B1F1C1}"/>
          </ac:cxnSpMkLst>
        </pc:cxnChg>
        <pc:cxnChg chg="add del mod">
          <ac:chgData name="丁野 光理" userId="53361c9a-10d0-4268-b39c-a1f4044b33f4" providerId="ADAL" clId="{31A483AB-3ACD-4C31-80F9-FE8A9CCBC644}" dt="2025-02-10T01:28:46.293" v="3898" actId="478"/>
          <ac:cxnSpMkLst>
            <pc:docMk/>
            <pc:sldMk cId="3497061464" sldId="2147483293"/>
            <ac:cxnSpMk id="49" creationId="{4E6938C4-1948-1A91-3758-EDDE0C2AB024}"/>
          </ac:cxnSpMkLst>
        </pc:cxnChg>
        <pc:extLst>
          <p:ext xmlns:p="http://schemas.openxmlformats.org/presentationml/2006/main" uri="{D6D511B9-2390-475A-947B-AFAB55BFBCF1}">
            <pc226:cmChg xmlns:pc226="http://schemas.microsoft.com/office/powerpoint/2022/06/main/command" chg="add">
              <pc226:chgData name="丁野 光理" userId="53361c9a-10d0-4268-b39c-a1f4044b33f4" providerId="ADAL" clId="{31A483AB-3ACD-4C31-80F9-FE8A9CCBC644}" dt="2025-02-10T01:46:01.433" v="5374"/>
              <pc2:cmMkLst xmlns:pc2="http://schemas.microsoft.com/office/powerpoint/2019/9/main/command">
                <pc:docMk/>
                <pc:sldMk cId="3497061464" sldId="2147483293"/>
                <pc2:cmMk id="{AD47694F-BDDF-4C72-85B2-9F8EFEECDDCA}"/>
              </pc2:cmMkLst>
              <pc226:cmRplyChg chg="add">
                <pc226:chgData name="丁野 光理" userId="53361c9a-10d0-4268-b39c-a1f4044b33f4" providerId="ADAL" clId="{31A483AB-3ACD-4C31-80F9-FE8A9CCBC644}" dt="2025-02-10T01:46:01.433" v="5374"/>
                <pc2:cmRplyMkLst xmlns:pc2="http://schemas.microsoft.com/office/powerpoint/2019/9/main/command">
                  <pc:docMk/>
                  <pc:sldMk cId="3497061464" sldId="2147483293"/>
                  <pc2:cmMk id="{AD47694F-BDDF-4C72-85B2-9F8EFEECDDCA}"/>
                  <pc2:cmRplyMk id="{933E2162-A5E6-4A20-8591-7A4ABDE6AD67}"/>
                </pc2:cmRplyMkLst>
              </pc226:cmRplyChg>
            </pc226:cmChg>
          </p:ext>
        </pc:extLst>
      </pc:sldChg>
      <pc:sldChg chg="modSp add mod ord addCm modCm">
        <pc:chgData name="丁野 光理" userId="53361c9a-10d0-4268-b39c-a1f4044b33f4" providerId="ADAL" clId="{31A483AB-3ACD-4C31-80F9-FE8A9CCBC644}" dt="2025-02-10T01:23:34.386" v="3151"/>
        <pc:sldMkLst>
          <pc:docMk/>
          <pc:sldMk cId="1912562074" sldId="2147483294"/>
        </pc:sldMkLst>
        <pc:spChg chg="mod">
          <ac:chgData name="丁野 光理" userId="53361c9a-10d0-4268-b39c-a1f4044b33f4" providerId="ADAL" clId="{31A483AB-3ACD-4C31-80F9-FE8A9CCBC644}" dt="2025-02-10T00:50:22.287" v="740"/>
          <ac:spMkLst>
            <pc:docMk/>
            <pc:sldMk cId="1912562074" sldId="2147483294"/>
            <ac:spMk id="2" creationId="{BDE63369-EA7E-4802-A4A3-D4010A333C66}"/>
          </ac:spMkLst>
        </pc:spChg>
        <pc:spChg chg="mod">
          <ac:chgData name="丁野 光理" userId="53361c9a-10d0-4268-b39c-a1f4044b33f4" providerId="ADAL" clId="{31A483AB-3ACD-4C31-80F9-FE8A9CCBC644}" dt="2025-02-10T01:22:28.807" v="2925"/>
          <ac:spMkLst>
            <pc:docMk/>
            <pc:sldMk cId="1912562074" sldId="2147483294"/>
            <ac:spMk id="13" creationId="{EDAD2185-EC0D-868E-795C-E7F2FB4ACC64}"/>
          </ac:spMkLst>
        </pc:spChg>
        <pc:spChg chg="mod">
          <ac:chgData name="丁野 光理" userId="53361c9a-10d0-4268-b39c-a1f4044b33f4" providerId="ADAL" clId="{31A483AB-3ACD-4C31-80F9-FE8A9CCBC644}" dt="2025-02-10T01:23:22.837" v="3149" actId="6549"/>
          <ac:spMkLst>
            <pc:docMk/>
            <pc:sldMk cId="1912562074" sldId="2147483294"/>
            <ac:spMk id="14" creationId="{EB154E72-D468-E337-5176-249A512E7AD4}"/>
          </ac:spMkLst>
        </pc:spChg>
        <pc:spChg chg="mod">
          <ac:chgData name="丁野 光理" userId="53361c9a-10d0-4268-b39c-a1f4044b33f4" providerId="ADAL" clId="{31A483AB-3ACD-4C31-80F9-FE8A9CCBC644}" dt="2025-02-10T01:02:53.387" v="1661"/>
          <ac:spMkLst>
            <pc:docMk/>
            <pc:sldMk cId="1912562074" sldId="2147483294"/>
            <ac:spMk id="17" creationId="{CF45C799-184A-B9A1-3984-069F4A38D270}"/>
          </ac:spMkLst>
        </pc:spChg>
        <pc:extLst>
          <p:ext xmlns:p="http://schemas.openxmlformats.org/presentationml/2006/main" uri="{D6D511B9-2390-475A-947B-AFAB55BFBCF1}">
            <pc226:cmChg xmlns:pc226="http://schemas.microsoft.com/office/powerpoint/2022/06/main/command" chg="add">
              <pc226:chgData name="丁野 光理" userId="53361c9a-10d0-4268-b39c-a1f4044b33f4" providerId="ADAL" clId="{31A483AB-3ACD-4C31-80F9-FE8A9CCBC644}" dt="2025-02-10T01:23:34.386" v="3151"/>
              <pc2:cmMkLst xmlns:pc2="http://schemas.microsoft.com/office/powerpoint/2019/9/main/command">
                <pc:docMk/>
                <pc:sldMk cId="1912562074" sldId="2147483294"/>
                <pc2:cmMk id="{1B5CD6A4-5CFE-491D-AAC8-ED2A4B94D6B2}"/>
              </pc2:cmMkLst>
              <pc226:cmRplyChg chg="add">
                <pc226:chgData name="丁野 光理" userId="53361c9a-10d0-4268-b39c-a1f4044b33f4" providerId="ADAL" clId="{31A483AB-3ACD-4C31-80F9-FE8A9CCBC644}" dt="2025-02-10T01:23:34.386" v="3151"/>
                <pc2:cmRplyMkLst xmlns:pc2="http://schemas.microsoft.com/office/powerpoint/2019/9/main/command">
                  <pc:docMk/>
                  <pc:sldMk cId="1912562074" sldId="2147483294"/>
                  <pc2:cmMk id="{1B5CD6A4-5CFE-491D-AAC8-ED2A4B94D6B2}"/>
                  <pc2:cmRplyMk id="{DA380BE4-1B9C-4060-92AE-E928E267271E}"/>
                </pc2:cmRplyMkLst>
              </pc226:cmRplyChg>
            </pc226:cmChg>
          </p:ext>
        </pc:extLst>
      </pc:sldChg>
      <pc:sldChg chg="modSp add mod addCm modCm">
        <pc:chgData name="丁野 光理" userId="53361c9a-10d0-4268-b39c-a1f4044b33f4" providerId="ADAL" clId="{31A483AB-3ACD-4C31-80F9-FE8A9CCBC644}" dt="2025-02-10T01:26:40.514" v="3692"/>
        <pc:sldMkLst>
          <pc:docMk/>
          <pc:sldMk cId="975610029" sldId="2147483295"/>
        </pc:sldMkLst>
        <pc:spChg chg="mod">
          <ac:chgData name="丁野 光理" userId="53361c9a-10d0-4268-b39c-a1f4044b33f4" providerId="ADAL" clId="{31A483AB-3ACD-4C31-80F9-FE8A9CCBC644}" dt="2025-02-10T00:50:26.766" v="741"/>
          <ac:spMkLst>
            <pc:docMk/>
            <pc:sldMk cId="975610029" sldId="2147483295"/>
            <ac:spMk id="2" creationId="{BDE63369-EA7E-4802-A4A3-D4010A333C66}"/>
          </ac:spMkLst>
        </pc:spChg>
        <pc:spChg chg="mod">
          <ac:chgData name="丁野 光理" userId="53361c9a-10d0-4268-b39c-a1f4044b33f4" providerId="ADAL" clId="{31A483AB-3ACD-4C31-80F9-FE8A9CCBC644}" dt="2025-02-10T01:26:28.180" v="3690"/>
          <ac:spMkLst>
            <pc:docMk/>
            <pc:sldMk cId="975610029" sldId="2147483295"/>
            <ac:spMk id="13" creationId="{EDAD2185-EC0D-868E-795C-E7F2FB4ACC64}"/>
          </ac:spMkLst>
        </pc:spChg>
        <pc:spChg chg="mod">
          <ac:chgData name="丁野 光理" userId="53361c9a-10d0-4268-b39c-a1f4044b33f4" providerId="ADAL" clId="{31A483AB-3ACD-4C31-80F9-FE8A9CCBC644}" dt="2025-02-10T01:03:02.126" v="1706"/>
          <ac:spMkLst>
            <pc:docMk/>
            <pc:sldMk cId="975610029" sldId="2147483295"/>
            <ac:spMk id="20" creationId="{94800FDA-81F1-3586-866D-A519778D8DB8}"/>
          </ac:spMkLst>
        </pc:spChg>
        <pc:extLst>
          <p:ext xmlns:p="http://schemas.openxmlformats.org/presentationml/2006/main" uri="{D6D511B9-2390-475A-947B-AFAB55BFBCF1}">
            <pc226:cmChg xmlns:pc226="http://schemas.microsoft.com/office/powerpoint/2022/06/main/command" chg="add">
              <pc226:chgData name="丁野 光理" userId="53361c9a-10d0-4268-b39c-a1f4044b33f4" providerId="ADAL" clId="{31A483AB-3ACD-4C31-80F9-FE8A9CCBC644}" dt="2025-02-10T01:26:40.514" v="3692"/>
              <pc2:cmMkLst xmlns:pc2="http://schemas.microsoft.com/office/powerpoint/2019/9/main/command">
                <pc:docMk/>
                <pc:sldMk cId="975610029" sldId="2147483295"/>
                <pc2:cmMk id="{7953D8C5-367F-485C-9268-663821B7276F}"/>
              </pc2:cmMkLst>
              <pc226:cmRplyChg chg="add">
                <pc226:chgData name="丁野 光理" userId="53361c9a-10d0-4268-b39c-a1f4044b33f4" providerId="ADAL" clId="{31A483AB-3ACD-4C31-80F9-FE8A9CCBC644}" dt="2025-02-10T01:26:40.514" v="3692"/>
                <pc2:cmRplyMkLst xmlns:pc2="http://schemas.microsoft.com/office/powerpoint/2019/9/main/command">
                  <pc:docMk/>
                  <pc:sldMk cId="975610029" sldId="2147483295"/>
                  <pc2:cmMk id="{7953D8C5-367F-485C-9268-663821B7276F}"/>
                  <pc2:cmRplyMk id="{267555E4-1757-4AB4-95BF-EF41200D3119}"/>
                </pc2:cmRplyMkLst>
              </pc226:cmRplyChg>
            </pc226:cmChg>
          </p:ext>
        </pc:extLst>
      </pc:sldChg>
      <pc:sldChg chg="modSp add mod addCm modCm">
        <pc:chgData name="丁野 光理" userId="53361c9a-10d0-4268-b39c-a1f4044b33f4" providerId="ADAL" clId="{31A483AB-3ACD-4C31-80F9-FE8A9CCBC644}" dt="2025-02-10T01:40:30.188" v="5175"/>
        <pc:sldMkLst>
          <pc:docMk/>
          <pc:sldMk cId="3384715002" sldId="2147483296"/>
        </pc:sldMkLst>
        <pc:spChg chg="mod">
          <ac:chgData name="丁野 光理" userId="53361c9a-10d0-4268-b39c-a1f4044b33f4" providerId="ADAL" clId="{31A483AB-3ACD-4C31-80F9-FE8A9CCBC644}" dt="2025-02-10T00:52:38.307" v="757"/>
          <ac:spMkLst>
            <pc:docMk/>
            <pc:sldMk cId="3384715002" sldId="2147483296"/>
            <ac:spMk id="2" creationId="{BDE63369-EA7E-4802-A4A3-D4010A333C66}"/>
          </ac:spMkLst>
        </pc:spChg>
        <pc:extLst>
          <p:ext xmlns:p="http://schemas.openxmlformats.org/presentationml/2006/main" uri="{D6D511B9-2390-475A-947B-AFAB55BFBCF1}">
            <pc226:cmChg xmlns:pc226="http://schemas.microsoft.com/office/powerpoint/2022/06/main/command" chg="add">
              <pc226:chgData name="丁野 光理" userId="53361c9a-10d0-4268-b39c-a1f4044b33f4" providerId="ADAL" clId="{31A483AB-3ACD-4C31-80F9-FE8A9CCBC644}" dt="2025-02-10T01:40:30.188" v="5175"/>
              <pc2:cmMkLst xmlns:pc2="http://schemas.microsoft.com/office/powerpoint/2019/9/main/command">
                <pc:docMk/>
                <pc:sldMk cId="3384715002" sldId="2147483296"/>
                <pc2:cmMk id="{0CF0D07E-01D5-4762-9C56-74A02B0B8F3D}"/>
              </pc2:cmMkLst>
              <pc226:cmRplyChg chg="add">
                <pc226:chgData name="丁野 光理" userId="53361c9a-10d0-4268-b39c-a1f4044b33f4" providerId="ADAL" clId="{31A483AB-3ACD-4C31-80F9-FE8A9CCBC644}" dt="2025-02-10T01:40:30.188" v="5175"/>
                <pc2:cmRplyMkLst xmlns:pc2="http://schemas.microsoft.com/office/powerpoint/2019/9/main/command">
                  <pc:docMk/>
                  <pc:sldMk cId="3384715002" sldId="2147483296"/>
                  <pc2:cmMk id="{0CF0D07E-01D5-4762-9C56-74A02B0B8F3D}"/>
                  <pc2:cmRplyMk id="{9B799053-3AAC-4FA2-ACF9-266D518C6543}"/>
                </pc2:cmRplyMkLst>
              </pc226:cmRplyChg>
            </pc226:cmChg>
          </p:ext>
        </pc:extLst>
      </pc:sldChg>
      <pc:sldChg chg="addSp delSp modSp add mod addCm modCm">
        <pc:chgData name="丁野 光理" userId="53361c9a-10d0-4268-b39c-a1f4044b33f4" providerId="ADAL" clId="{31A483AB-3ACD-4C31-80F9-FE8A9CCBC644}" dt="2025-02-10T01:04:20.244" v="1766"/>
        <pc:sldMkLst>
          <pc:docMk/>
          <pc:sldMk cId="1698894711" sldId="2147483297"/>
        </pc:sldMkLst>
        <pc:spChg chg="mod">
          <ac:chgData name="丁野 光理" userId="53361c9a-10d0-4268-b39c-a1f4044b33f4" providerId="ADAL" clId="{31A483AB-3ACD-4C31-80F9-FE8A9CCBC644}" dt="2025-02-10T00:52:41.387" v="758"/>
          <ac:spMkLst>
            <pc:docMk/>
            <pc:sldMk cId="1698894711" sldId="2147483297"/>
            <ac:spMk id="2" creationId="{BDE63369-EA7E-4802-A4A3-D4010A333C66}"/>
          </ac:spMkLst>
        </pc:spChg>
        <pc:spChg chg="mod">
          <ac:chgData name="丁野 光理" userId="53361c9a-10d0-4268-b39c-a1f4044b33f4" providerId="ADAL" clId="{31A483AB-3ACD-4C31-80F9-FE8A9CCBC644}" dt="2025-02-10T01:03:29.497" v="1752"/>
          <ac:spMkLst>
            <pc:docMk/>
            <pc:sldMk cId="1698894711" sldId="2147483297"/>
            <ac:spMk id="11" creationId="{962E5203-2DFF-C1A0-2F9F-F26700D05F5E}"/>
          </ac:spMkLst>
        </pc:spChg>
        <pc:spChg chg="mod">
          <ac:chgData name="丁野 光理" userId="53361c9a-10d0-4268-b39c-a1f4044b33f4" providerId="ADAL" clId="{31A483AB-3ACD-4C31-80F9-FE8A9CCBC644}" dt="2025-02-10T01:03:35.467" v="1753"/>
          <ac:spMkLst>
            <pc:docMk/>
            <pc:sldMk cId="1698894711" sldId="2147483297"/>
            <ac:spMk id="26" creationId="{E79CF6B0-5AD5-B0A6-5A82-B2F5A3B16A53}"/>
          </ac:spMkLst>
        </pc:spChg>
        <pc:spChg chg="mod">
          <ac:chgData name="丁野 光理" userId="53361c9a-10d0-4268-b39c-a1f4044b33f4" providerId="ADAL" clId="{31A483AB-3ACD-4C31-80F9-FE8A9CCBC644}" dt="2025-02-10T01:04:04.908" v="1763" actId="1076"/>
          <ac:spMkLst>
            <pc:docMk/>
            <pc:sldMk cId="1698894711" sldId="2147483297"/>
            <ac:spMk id="35" creationId="{031691BD-8701-682B-2568-3E02BCFA60E2}"/>
          </ac:spMkLst>
        </pc:spChg>
        <pc:spChg chg="mod">
          <ac:chgData name="丁野 光理" userId="53361c9a-10d0-4268-b39c-a1f4044b33f4" providerId="ADAL" clId="{31A483AB-3ACD-4C31-80F9-FE8A9CCBC644}" dt="2025-02-10T01:04:07.483" v="1764" actId="1076"/>
          <ac:spMkLst>
            <pc:docMk/>
            <pc:sldMk cId="1698894711" sldId="2147483297"/>
            <ac:spMk id="36" creationId="{7EE4361D-BD43-605B-F877-5947AB823C05}"/>
          </ac:spMkLst>
        </pc:spChg>
        <pc:graphicFrameChg chg="add mod modGraphic">
          <ac:chgData name="丁野 光理" userId="53361c9a-10d0-4268-b39c-a1f4044b33f4" providerId="ADAL" clId="{31A483AB-3ACD-4C31-80F9-FE8A9CCBC644}" dt="2025-02-10T01:04:02.333" v="1762" actId="1076"/>
          <ac:graphicFrameMkLst>
            <pc:docMk/>
            <pc:sldMk cId="1698894711" sldId="2147483297"/>
            <ac:graphicFrameMk id="3" creationId="{FA2AA8AB-14C0-30E1-C886-378332D272B3}"/>
          </ac:graphicFrameMkLst>
        </pc:graphicFrameChg>
        <pc:graphicFrameChg chg="add mod">
          <ac:chgData name="丁野 光理" userId="53361c9a-10d0-4268-b39c-a1f4044b33f4" providerId="ADAL" clId="{31A483AB-3ACD-4C31-80F9-FE8A9CCBC644}" dt="2025-02-10T01:03:58.926" v="1761" actId="1076"/>
          <ac:graphicFrameMkLst>
            <pc:docMk/>
            <pc:sldMk cId="1698894711" sldId="2147483297"/>
            <ac:graphicFrameMk id="4" creationId="{A90B5F8A-38F9-F567-8F6F-EE885515965C}"/>
          </ac:graphicFrameMkLst>
        </pc:graphicFrameChg>
        <pc:graphicFrameChg chg="del">
          <ac:chgData name="丁野 光理" userId="53361c9a-10d0-4268-b39c-a1f4044b33f4" providerId="ADAL" clId="{31A483AB-3ACD-4C31-80F9-FE8A9CCBC644}" dt="2025-02-10T01:03:39.065" v="1754" actId="478"/>
          <ac:graphicFrameMkLst>
            <pc:docMk/>
            <pc:sldMk cId="1698894711" sldId="2147483297"/>
            <ac:graphicFrameMk id="32" creationId="{3B80BC24-01AA-213D-76FD-38F653AD9B7C}"/>
          </ac:graphicFrameMkLst>
        </pc:graphicFrameChg>
        <pc:graphicFrameChg chg="del">
          <ac:chgData name="丁野 光理" userId="53361c9a-10d0-4268-b39c-a1f4044b33f4" providerId="ADAL" clId="{31A483AB-3ACD-4C31-80F9-FE8A9CCBC644}" dt="2025-02-10T01:03:45.194" v="1756" actId="478"/>
          <ac:graphicFrameMkLst>
            <pc:docMk/>
            <pc:sldMk cId="1698894711" sldId="2147483297"/>
            <ac:graphicFrameMk id="33" creationId="{579C0925-57A0-3030-666F-7E61FE13005C}"/>
          </ac:graphicFrameMkLst>
        </pc:graphicFrameChg>
        <pc:extLst>
          <p:ext xmlns:p="http://schemas.openxmlformats.org/presentationml/2006/main" uri="{D6D511B9-2390-475A-947B-AFAB55BFBCF1}">
            <pc226:cmChg xmlns:pc226="http://schemas.microsoft.com/office/powerpoint/2022/06/main/command" chg="add">
              <pc226:chgData name="丁野 光理" userId="53361c9a-10d0-4268-b39c-a1f4044b33f4" providerId="ADAL" clId="{31A483AB-3ACD-4C31-80F9-FE8A9CCBC644}" dt="2025-02-10T01:04:20.244" v="1766"/>
              <pc2:cmMkLst xmlns:pc2="http://schemas.microsoft.com/office/powerpoint/2019/9/main/command">
                <pc:docMk/>
                <pc:sldMk cId="1698894711" sldId="2147483297"/>
                <pc2:cmMk id="{29A1B5BE-DCCA-47AD-A3E7-439A0C6EBF31}"/>
              </pc2:cmMkLst>
              <pc226:cmRplyChg chg="add">
                <pc226:chgData name="丁野 光理" userId="53361c9a-10d0-4268-b39c-a1f4044b33f4" providerId="ADAL" clId="{31A483AB-3ACD-4C31-80F9-FE8A9CCBC644}" dt="2025-02-10T01:04:20.244" v="1766"/>
                <pc2:cmRplyMkLst xmlns:pc2="http://schemas.microsoft.com/office/powerpoint/2019/9/main/command">
                  <pc:docMk/>
                  <pc:sldMk cId="1698894711" sldId="2147483297"/>
                  <pc2:cmMk id="{29A1B5BE-DCCA-47AD-A3E7-439A0C6EBF31}"/>
                  <pc2:cmRplyMk id="{2C0874D9-F673-476C-B8A9-831753487594}"/>
                </pc2:cmRplyMkLst>
              </pc226:cmRplyChg>
            </pc226:cmChg>
          </p:ext>
        </pc:extLst>
      </pc:sldChg>
      <pc:sldChg chg="modSp add del mod">
        <pc:chgData name="丁野 光理" userId="53361c9a-10d0-4268-b39c-a1f4044b33f4" providerId="ADAL" clId="{31A483AB-3ACD-4C31-80F9-FE8A9CCBC644}" dt="2025-02-10T01:04:25.161" v="1767" actId="47"/>
        <pc:sldMkLst>
          <pc:docMk/>
          <pc:sldMk cId="918268574" sldId="2147483298"/>
        </pc:sldMkLst>
        <pc:spChg chg="mod">
          <ac:chgData name="丁野 光理" userId="53361c9a-10d0-4268-b39c-a1f4044b33f4" providerId="ADAL" clId="{31A483AB-3ACD-4C31-80F9-FE8A9CCBC644}" dt="2025-02-10T00:52:45.524" v="759"/>
          <ac:spMkLst>
            <pc:docMk/>
            <pc:sldMk cId="918268574" sldId="2147483298"/>
            <ac:spMk id="2" creationId="{BDE63369-EA7E-4802-A4A3-D4010A333C66}"/>
          </ac:spMkLst>
        </pc:spChg>
      </pc:sldChg>
      <pc:sldChg chg="addSp modSp add mod addCm modCm">
        <pc:chgData name="丁野 光理" userId="53361c9a-10d0-4268-b39c-a1f4044b33f4" providerId="ADAL" clId="{31A483AB-3ACD-4C31-80F9-FE8A9CCBC644}" dt="2025-02-10T01:08:10.219" v="2144"/>
        <pc:sldMkLst>
          <pc:docMk/>
          <pc:sldMk cId="554057955" sldId="2147483299"/>
        </pc:sldMkLst>
        <pc:spChg chg="mod">
          <ac:chgData name="丁野 光理" userId="53361c9a-10d0-4268-b39c-a1f4044b33f4" providerId="ADAL" clId="{31A483AB-3ACD-4C31-80F9-FE8A9CCBC644}" dt="2025-02-10T00:52:48.677" v="760"/>
          <ac:spMkLst>
            <pc:docMk/>
            <pc:sldMk cId="554057955" sldId="2147483299"/>
            <ac:spMk id="2" creationId="{A45FDDD5-9A42-423D-9ED3-F19DD3567786}"/>
          </ac:spMkLst>
        </pc:spChg>
        <pc:spChg chg="add">
          <ac:chgData name="丁野 光理" userId="53361c9a-10d0-4268-b39c-a1f4044b33f4" providerId="ADAL" clId="{31A483AB-3ACD-4C31-80F9-FE8A9CCBC644}" dt="2025-02-10T01:06:35.979" v="2045" actId="11529"/>
          <ac:spMkLst>
            <pc:docMk/>
            <pc:sldMk cId="554057955" sldId="2147483299"/>
            <ac:spMk id="3" creationId="{B9D9EB51-848D-3FA9-D4AF-CFDFB21FCB91}"/>
          </ac:spMkLst>
        </pc:spChg>
        <pc:spChg chg="add mod">
          <ac:chgData name="丁野 光理" userId="53361c9a-10d0-4268-b39c-a1f4044b33f4" providerId="ADAL" clId="{31A483AB-3ACD-4C31-80F9-FE8A9CCBC644}" dt="2025-02-10T01:06:59.935" v="2052" actId="1076"/>
          <ac:spMkLst>
            <pc:docMk/>
            <pc:sldMk cId="554057955" sldId="2147483299"/>
            <ac:spMk id="6" creationId="{1BCCAF6C-F24C-E5FD-6478-8D3B530BE8F1}"/>
          </ac:spMkLst>
        </pc:spChg>
        <pc:spChg chg="add mod">
          <ac:chgData name="丁野 光理" userId="53361c9a-10d0-4268-b39c-a1f4044b33f4" providerId="ADAL" clId="{31A483AB-3ACD-4C31-80F9-FE8A9CCBC644}" dt="2025-02-10T01:07:03.069" v="2054" actId="1076"/>
          <ac:spMkLst>
            <pc:docMk/>
            <pc:sldMk cId="554057955" sldId="2147483299"/>
            <ac:spMk id="10" creationId="{2252D796-44C6-7706-50A4-117F725AF3C7}"/>
          </ac:spMkLst>
        </pc:spChg>
        <pc:spChg chg="add mod">
          <ac:chgData name="丁野 光理" userId="53361c9a-10d0-4268-b39c-a1f4044b33f4" providerId="ADAL" clId="{31A483AB-3ACD-4C31-80F9-FE8A9CCBC644}" dt="2025-02-10T01:07:09.323" v="2058" actId="1076"/>
          <ac:spMkLst>
            <pc:docMk/>
            <pc:sldMk cId="554057955" sldId="2147483299"/>
            <ac:spMk id="16" creationId="{E92CC61A-6FC8-2B5B-9786-A76427C12433}"/>
          </ac:spMkLst>
        </pc:spChg>
        <pc:spChg chg="add mod">
          <ac:chgData name="丁野 光理" userId="53361c9a-10d0-4268-b39c-a1f4044b33f4" providerId="ADAL" clId="{31A483AB-3ACD-4C31-80F9-FE8A9CCBC644}" dt="2025-02-10T01:07:06.146" v="2057" actId="1076"/>
          <ac:spMkLst>
            <pc:docMk/>
            <pc:sldMk cId="554057955" sldId="2147483299"/>
            <ac:spMk id="18" creationId="{3A841820-4871-B5CF-75D9-A007295F251F}"/>
          </ac:spMkLst>
        </pc:spChg>
        <pc:spChg chg="add mod">
          <ac:chgData name="丁野 光理" userId="53361c9a-10d0-4268-b39c-a1f4044b33f4" providerId="ADAL" clId="{31A483AB-3ACD-4C31-80F9-FE8A9CCBC644}" dt="2025-02-10T01:07:15.013" v="2059" actId="767"/>
          <ac:spMkLst>
            <pc:docMk/>
            <pc:sldMk cId="554057955" sldId="2147483299"/>
            <ac:spMk id="21" creationId="{07E0EDA5-0981-FF94-38CC-570DB7C3D767}"/>
          </ac:spMkLst>
        </pc:spChg>
        <pc:spChg chg="add mod">
          <ac:chgData name="丁野 光理" userId="53361c9a-10d0-4268-b39c-a1f4044b33f4" providerId="ADAL" clId="{31A483AB-3ACD-4C31-80F9-FE8A9CCBC644}" dt="2025-02-10T01:07:47.032" v="2118" actId="6549"/>
          <ac:spMkLst>
            <pc:docMk/>
            <pc:sldMk cId="554057955" sldId="2147483299"/>
            <ac:spMk id="22" creationId="{35B30D39-E2DD-4427-4B24-0D262924286A}"/>
          </ac:spMkLst>
        </pc:spChg>
        <pc:spChg chg="add mod">
          <ac:chgData name="丁野 光理" userId="53361c9a-10d0-4268-b39c-a1f4044b33f4" providerId="ADAL" clId="{31A483AB-3ACD-4C31-80F9-FE8A9CCBC644}" dt="2025-02-10T01:07:56.908" v="2142"/>
          <ac:spMkLst>
            <pc:docMk/>
            <pc:sldMk cId="554057955" sldId="2147483299"/>
            <ac:spMk id="26" creationId="{A762EE02-749D-90DA-7CE2-66C5082B387D}"/>
          </ac:spMkLst>
        </pc:spChg>
        <pc:spChg chg="add mod">
          <ac:chgData name="丁野 光理" userId="53361c9a-10d0-4268-b39c-a1f4044b33f4" providerId="ADAL" clId="{31A483AB-3ACD-4C31-80F9-FE8A9CCBC644}" dt="2025-02-10T01:07:39.559" v="2099" actId="6549"/>
          <ac:spMkLst>
            <pc:docMk/>
            <pc:sldMk cId="554057955" sldId="2147483299"/>
            <ac:spMk id="27" creationId="{08D18F5B-E05B-8C18-7162-D8950224B861}"/>
          </ac:spMkLst>
        </pc:spChg>
        <pc:spChg chg="add mod">
          <ac:chgData name="丁野 光理" userId="53361c9a-10d0-4268-b39c-a1f4044b33f4" providerId="ADAL" clId="{31A483AB-3ACD-4C31-80F9-FE8A9CCBC644}" dt="2025-02-10T01:07:32.551" v="2078" actId="1076"/>
          <ac:spMkLst>
            <pc:docMk/>
            <pc:sldMk cId="554057955" sldId="2147483299"/>
            <ac:spMk id="28" creationId="{89620473-E768-ED47-FA64-6ABAC2E8A609}"/>
          </ac:spMkLst>
        </pc:spChg>
        <pc:graphicFrameChg chg="mod modGraphic">
          <ac:chgData name="丁野 光理" userId="53361c9a-10d0-4268-b39c-a1f4044b33f4" providerId="ADAL" clId="{31A483AB-3ACD-4C31-80F9-FE8A9CCBC644}" dt="2025-02-10T01:06:25.958" v="2044"/>
          <ac:graphicFrameMkLst>
            <pc:docMk/>
            <pc:sldMk cId="554057955" sldId="2147483299"/>
            <ac:graphicFrameMk id="15" creationId="{6BA7322B-8E83-4959-AED5-CDCB2DC09E66}"/>
          </ac:graphicFrameMkLst>
        </pc:graphicFrameChg>
        <pc:picChg chg="mod">
          <ac:chgData name="丁野 光理" userId="53361c9a-10d0-4268-b39c-a1f4044b33f4" providerId="ADAL" clId="{31A483AB-3ACD-4C31-80F9-FE8A9CCBC644}" dt="2025-02-10T01:06:37.744" v="2047" actId="1076"/>
          <ac:picMkLst>
            <pc:docMk/>
            <pc:sldMk cId="554057955" sldId="2147483299"/>
            <ac:picMk id="4" creationId="{45F9E099-4110-7BC2-05FA-9F23A7A33434}"/>
          </ac:picMkLst>
        </pc:picChg>
        <pc:extLst>
          <p:ext xmlns:p="http://schemas.openxmlformats.org/presentationml/2006/main" uri="{D6D511B9-2390-475A-947B-AFAB55BFBCF1}">
            <pc226:cmChg xmlns:pc226="http://schemas.microsoft.com/office/powerpoint/2022/06/main/command" chg="add">
              <pc226:chgData name="丁野 光理" userId="53361c9a-10d0-4268-b39c-a1f4044b33f4" providerId="ADAL" clId="{31A483AB-3ACD-4C31-80F9-FE8A9CCBC644}" dt="2025-02-10T01:08:10.219" v="2144"/>
              <pc2:cmMkLst xmlns:pc2="http://schemas.microsoft.com/office/powerpoint/2019/9/main/command">
                <pc:docMk/>
                <pc:sldMk cId="554057955" sldId="2147483299"/>
                <pc2:cmMk id="{C2A8F14C-C2AE-49A7-B643-9249229A57B2}"/>
              </pc2:cmMkLst>
              <pc226:cmRplyChg chg="add">
                <pc226:chgData name="丁野 光理" userId="53361c9a-10d0-4268-b39c-a1f4044b33f4" providerId="ADAL" clId="{31A483AB-3ACD-4C31-80F9-FE8A9CCBC644}" dt="2025-02-10T01:08:10.219" v="2144"/>
                <pc2:cmRplyMkLst xmlns:pc2="http://schemas.microsoft.com/office/powerpoint/2019/9/main/command">
                  <pc:docMk/>
                  <pc:sldMk cId="554057955" sldId="2147483299"/>
                  <pc2:cmMk id="{C2A8F14C-C2AE-49A7-B643-9249229A57B2}"/>
                  <pc2:cmRplyMk id="{FC35C263-2E83-4D4B-A6F2-5FDAD1161C91}"/>
                </pc2:cmRplyMkLst>
              </pc226:cmRplyChg>
            </pc226:cmChg>
          </p:ext>
        </pc:extLst>
      </pc:sldChg>
      <pc:sldChg chg="modSp add mod addCm modCm">
        <pc:chgData name="丁野 光理" userId="53361c9a-10d0-4268-b39c-a1f4044b33f4" providerId="ADAL" clId="{31A483AB-3ACD-4C31-80F9-FE8A9CCBC644}" dt="2025-02-10T00:54:23.657" v="776"/>
        <pc:sldMkLst>
          <pc:docMk/>
          <pc:sldMk cId="1667285715" sldId="2147483300"/>
        </pc:sldMkLst>
        <pc:spChg chg="mod">
          <ac:chgData name="丁野 光理" userId="53361c9a-10d0-4268-b39c-a1f4044b33f4" providerId="ADAL" clId="{31A483AB-3ACD-4C31-80F9-FE8A9CCBC644}" dt="2025-02-10T00:52:52.139" v="761"/>
          <ac:spMkLst>
            <pc:docMk/>
            <pc:sldMk cId="1667285715" sldId="2147483300"/>
            <ac:spMk id="2" creationId="{CBF10691-58CC-75D5-EA23-B36D933D90D3}"/>
          </ac:spMkLst>
        </pc:spChg>
        <pc:extLst>
          <p:ext xmlns:p="http://schemas.openxmlformats.org/presentationml/2006/main" uri="{D6D511B9-2390-475A-947B-AFAB55BFBCF1}">
            <pc226:cmChg xmlns:pc226="http://schemas.microsoft.com/office/powerpoint/2022/06/main/command" chg="add">
              <pc226:chgData name="丁野 光理" userId="53361c9a-10d0-4268-b39c-a1f4044b33f4" providerId="ADAL" clId="{31A483AB-3ACD-4C31-80F9-FE8A9CCBC644}" dt="2025-02-10T00:54:23.657" v="776"/>
              <pc2:cmMkLst xmlns:pc2="http://schemas.microsoft.com/office/powerpoint/2019/9/main/command">
                <pc:docMk/>
                <pc:sldMk cId="1667285715" sldId="2147483300"/>
                <pc2:cmMk id="{657F296F-E478-4168-AFAC-F73BBC490005}"/>
              </pc2:cmMkLst>
              <pc226:cmRplyChg chg="add">
                <pc226:chgData name="丁野 光理" userId="53361c9a-10d0-4268-b39c-a1f4044b33f4" providerId="ADAL" clId="{31A483AB-3ACD-4C31-80F9-FE8A9CCBC644}" dt="2025-02-10T00:54:23.657" v="776"/>
                <pc2:cmRplyMkLst xmlns:pc2="http://schemas.microsoft.com/office/powerpoint/2019/9/main/command">
                  <pc:docMk/>
                  <pc:sldMk cId="1667285715" sldId="2147483300"/>
                  <pc2:cmMk id="{657F296F-E478-4168-AFAC-F73BBC490005}"/>
                  <pc2:cmRplyMk id="{DD77E07F-BA0E-4F9D-A7A0-B2740B617577}"/>
                </pc2:cmRplyMkLst>
              </pc226:cmRplyChg>
            </pc226:cmChg>
          </p:ext>
        </pc:extLst>
      </pc:sldChg>
      <pc:sldChg chg="modSp add mod">
        <pc:chgData name="丁野 光理" userId="53361c9a-10d0-4268-b39c-a1f4044b33f4" providerId="ADAL" clId="{31A483AB-3ACD-4C31-80F9-FE8A9CCBC644}" dt="2025-02-10T00:52:56.288" v="762"/>
        <pc:sldMkLst>
          <pc:docMk/>
          <pc:sldMk cId="4070170115" sldId="2147483301"/>
        </pc:sldMkLst>
        <pc:spChg chg="mod">
          <ac:chgData name="丁野 光理" userId="53361c9a-10d0-4268-b39c-a1f4044b33f4" providerId="ADAL" clId="{31A483AB-3ACD-4C31-80F9-FE8A9CCBC644}" dt="2025-02-10T00:52:56.288" v="762"/>
          <ac:spMkLst>
            <pc:docMk/>
            <pc:sldMk cId="4070170115" sldId="2147483301"/>
            <ac:spMk id="14" creationId="{B82535D0-8503-64C9-D7C5-6527643FF688}"/>
          </ac:spMkLst>
        </pc:spChg>
      </pc:sldChg>
      <pc:sldChg chg="modSp add mod addCm delCm modCm">
        <pc:chgData name="丁野 光理" userId="53361c9a-10d0-4268-b39c-a1f4044b33f4" providerId="ADAL" clId="{31A483AB-3ACD-4C31-80F9-FE8A9CCBC644}" dt="2025-02-10T00:53:15.889" v="766"/>
        <pc:sldMkLst>
          <pc:docMk/>
          <pc:sldMk cId="941489346" sldId="2147483302"/>
        </pc:sldMkLst>
        <pc:spChg chg="mod">
          <ac:chgData name="丁野 光理" userId="53361c9a-10d0-4268-b39c-a1f4044b33f4" providerId="ADAL" clId="{31A483AB-3ACD-4C31-80F9-FE8A9CCBC644}" dt="2025-02-10T00:53:00.508" v="763"/>
          <ac:spMkLst>
            <pc:docMk/>
            <pc:sldMk cId="941489346" sldId="2147483302"/>
            <ac:spMk id="2" creationId="{A45FDDD5-9A42-423D-9ED3-F19DD3567786}"/>
          </ac:spMkLst>
        </pc:sp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31A483AB-3ACD-4C31-80F9-FE8A9CCBC644}" dt="2025-02-10T00:53:04.313" v="764"/>
              <pc2:cmMkLst xmlns:pc2="http://schemas.microsoft.com/office/powerpoint/2019/9/main/command">
                <pc:docMk/>
                <pc:sldMk cId="941489346" sldId="2147483302"/>
                <pc2:cmMk id="{87460A68-2734-4301-9B47-EFD90DCAD91E}"/>
              </pc2:cmMkLst>
            </pc226:cmChg>
            <pc226:cmChg xmlns:pc226="http://schemas.microsoft.com/office/powerpoint/2022/06/main/command" chg="add">
              <pc226:chgData name="丁野 光理" userId="53361c9a-10d0-4268-b39c-a1f4044b33f4" providerId="ADAL" clId="{31A483AB-3ACD-4C31-80F9-FE8A9CCBC644}" dt="2025-02-10T00:53:15.889" v="766"/>
              <pc2:cmMkLst xmlns:pc2="http://schemas.microsoft.com/office/powerpoint/2019/9/main/command">
                <pc:docMk/>
                <pc:sldMk cId="941489346" sldId="2147483302"/>
                <pc2:cmMk id="{9581CA82-558C-4DEF-AD3E-1C9FD1A04A1E}"/>
              </pc2:cmMkLst>
              <pc226:cmRplyChg chg="add">
                <pc226:chgData name="丁野 光理" userId="53361c9a-10d0-4268-b39c-a1f4044b33f4" providerId="ADAL" clId="{31A483AB-3ACD-4C31-80F9-FE8A9CCBC644}" dt="2025-02-10T00:53:15.889" v="766"/>
                <pc2:cmRplyMkLst xmlns:pc2="http://schemas.microsoft.com/office/powerpoint/2019/9/main/command">
                  <pc:docMk/>
                  <pc:sldMk cId="941489346" sldId="2147483302"/>
                  <pc2:cmMk id="{9581CA82-558C-4DEF-AD3E-1C9FD1A04A1E}"/>
                  <pc2:cmRplyMk id="{C0EC1C34-31E5-48DF-9F73-C2CEB026BB3F}"/>
                </pc2:cmRplyMkLst>
              </pc226:cmRplyChg>
            </pc226:cmChg>
          </p:ext>
        </pc:extLst>
      </pc:sldChg>
      <pc:sldChg chg="modSp add mod addCm modCm">
        <pc:chgData name="丁野 光理" userId="53361c9a-10d0-4268-b39c-a1f4044b33f4" providerId="ADAL" clId="{31A483AB-3ACD-4C31-80F9-FE8A9CCBC644}" dt="2025-02-10T00:53:34.314" v="769"/>
        <pc:sldMkLst>
          <pc:docMk/>
          <pc:sldMk cId="3407569653" sldId="2147483303"/>
        </pc:sldMkLst>
        <pc:spChg chg="mod">
          <ac:chgData name="丁野 光理" userId="53361c9a-10d0-4268-b39c-a1f4044b33f4" providerId="ADAL" clId="{31A483AB-3ACD-4C31-80F9-FE8A9CCBC644}" dt="2025-02-10T00:53:20.039" v="767"/>
          <ac:spMkLst>
            <pc:docMk/>
            <pc:sldMk cId="3407569653" sldId="2147483303"/>
            <ac:spMk id="3" creationId="{417A18CA-0059-03EF-FE57-D2DBA870D210}"/>
          </ac:spMkLst>
        </pc:spChg>
        <pc:extLst>
          <p:ext xmlns:p="http://schemas.openxmlformats.org/presentationml/2006/main" uri="{D6D511B9-2390-475A-947B-AFAB55BFBCF1}">
            <pc226:cmChg xmlns:pc226="http://schemas.microsoft.com/office/powerpoint/2022/06/main/command" chg="add">
              <pc226:chgData name="丁野 光理" userId="53361c9a-10d0-4268-b39c-a1f4044b33f4" providerId="ADAL" clId="{31A483AB-3ACD-4C31-80F9-FE8A9CCBC644}" dt="2025-02-10T00:53:34.314" v="769"/>
              <pc2:cmMkLst xmlns:pc2="http://schemas.microsoft.com/office/powerpoint/2019/9/main/command">
                <pc:docMk/>
                <pc:sldMk cId="3407569653" sldId="2147483303"/>
                <pc2:cmMk id="{99F074B6-B311-4413-AA67-2C08B3A6C17C}"/>
              </pc2:cmMkLst>
              <pc226:cmRplyChg chg="add">
                <pc226:chgData name="丁野 光理" userId="53361c9a-10d0-4268-b39c-a1f4044b33f4" providerId="ADAL" clId="{31A483AB-3ACD-4C31-80F9-FE8A9CCBC644}" dt="2025-02-10T00:53:34.314" v="769"/>
                <pc2:cmRplyMkLst xmlns:pc2="http://schemas.microsoft.com/office/powerpoint/2019/9/main/command">
                  <pc:docMk/>
                  <pc:sldMk cId="3407569653" sldId="2147483303"/>
                  <pc2:cmMk id="{99F074B6-B311-4413-AA67-2C08B3A6C17C}"/>
                  <pc2:cmRplyMk id="{EAD7B685-809C-4FB5-93E8-66146259412F}"/>
                </pc2:cmRplyMkLst>
              </pc226:cmRplyChg>
            </pc226:cmChg>
          </p:ext>
        </pc:extLst>
      </pc:sldChg>
      <pc:sldChg chg="modSp add mod addCm modCm">
        <pc:chgData name="丁野 光理" userId="53361c9a-10d0-4268-b39c-a1f4044b33f4" providerId="ADAL" clId="{31A483AB-3ACD-4C31-80F9-FE8A9CCBC644}" dt="2025-02-10T00:53:51.327" v="772"/>
        <pc:sldMkLst>
          <pc:docMk/>
          <pc:sldMk cId="1376256369" sldId="2147483304"/>
        </pc:sldMkLst>
        <pc:spChg chg="mod">
          <ac:chgData name="丁野 光理" userId="53361c9a-10d0-4268-b39c-a1f4044b33f4" providerId="ADAL" clId="{31A483AB-3ACD-4C31-80F9-FE8A9CCBC644}" dt="2025-02-10T00:53:37.682" v="770"/>
          <ac:spMkLst>
            <pc:docMk/>
            <pc:sldMk cId="1376256369" sldId="2147483304"/>
            <ac:spMk id="3" creationId="{417A18CA-0059-03EF-FE57-D2DBA870D210}"/>
          </ac:spMkLst>
        </pc:spChg>
        <pc:extLst>
          <p:ext xmlns:p="http://schemas.openxmlformats.org/presentationml/2006/main" uri="{D6D511B9-2390-475A-947B-AFAB55BFBCF1}">
            <pc226:cmChg xmlns:pc226="http://schemas.microsoft.com/office/powerpoint/2022/06/main/command" chg="add">
              <pc226:chgData name="丁野 光理" userId="53361c9a-10d0-4268-b39c-a1f4044b33f4" providerId="ADAL" clId="{31A483AB-3ACD-4C31-80F9-FE8A9CCBC644}" dt="2025-02-10T00:53:51.327" v="772"/>
              <pc2:cmMkLst xmlns:pc2="http://schemas.microsoft.com/office/powerpoint/2019/9/main/command">
                <pc:docMk/>
                <pc:sldMk cId="1376256369" sldId="2147483304"/>
                <pc2:cmMk id="{DC9E00A2-63C8-4829-99B6-53052BB89D67}"/>
              </pc2:cmMkLst>
              <pc226:cmRplyChg chg="add">
                <pc226:chgData name="丁野 光理" userId="53361c9a-10d0-4268-b39c-a1f4044b33f4" providerId="ADAL" clId="{31A483AB-3ACD-4C31-80F9-FE8A9CCBC644}" dt="2025-02-10T00:53:51.327" v="772"/>
                <pc2:cmRplyMkLst xmlns:pc2="http://schemas.microsoft.com/office/powerpoint/2019/9/main/command">
                  <pc:docMk/>
                  <pc:sldMk cId="1376256369" sldId="2147483304"/>
                  <pc2:cmMk id="{DC9E00A2-63C8-4829-99B6-53052BB89D67}"/>
                  <pc2:cmRplyMk id="{3021D8D5-D53C-4C5E-9CB7-072E1719AED3}"/>
                </pc2:cmRplyMkLst>
              </pc226:cmRplyChg>
            </pc226:cmChg>
          </p:ext>
        </pc:extLst>
      </pc:sldChg>
      <pc:sldChg chg="add addCm delCm">
        <pc:chgData name="丁野 光理" userId="53361c9a-10d0-4268-b39c-a1f4044b33f4" providerId="ADAL" clId="{31A483AB-3ACD-4C31-80F9-FE8A9CCBC644}" dt="2025-02-10T00:54:09.783" v="774"/>
        <pc:sldMkLst>
          <pc:docMk/>
          <pc:sldMk cId="2188300909" sldId="2147483305"/>
        </pc:sldMkLst>
        <pc:extLst>
          <p:ext xmlns:p="http://schemas.openxmlformats.org/presentationml/2006/main" uri="{D6D511B9-2390-475A-947B-AFAB55BFBCF1}">
            <pc226:cmChg xmlns:pc226="http://schemas.microsoft.com/office/powerpoint/2022/06/main/command" chg="add">
              <pc226:chgData name="丁野 光理" userId="53361c9a-10d0-4268-b39c-a1f4044b33f4" providerId="ADAL" clId="{31A483AB-3ACD-4C31-80F9-FE8A9CCBC644}" dt="2025-02-10T00:54:09.783" v="774"/>
              <pc2:cmMkLst xmlns:pc2="http://schemas.microsoft.com/office/powerpoint/2019/9/main/command">
                <pc:docMk/>
                <pc:sldMk cId="2188300909" sldId="2147483305"/>
                <pc2:cmMk id="{01493EA9-CD6C-4507-99F0-8AF7219E4B5F}"/>
              </pc2:cmMkLst>
            </pc226:cmChg>
            <pc226:cmChg xmlns:pc226="http://schemas.microsoft.com/office/powerpoint/2022/06/main/command" chg="del">
              <pc226:chgData name="丁野 光理" userId="53361c9a-10d0-4268-b39c-a1f4044b33f4" providerId="ADAL" clId="{31A483AB-3ACD-4C31-80F9-FE8A9CCBC644}" dt="2025-02-10T00:53:59.055" v="773"/>
              <pc2:cmMkLst xmlns:pc2="http://schemas.microsoft.com/office/powerpoint/2019/9/main/command">
                <pc:docMk/>
                <pc:sldMk cId="2188300909" sldId="2147483305"/>
                <pc2:cmMk id="{BA459CD4-7C5C-4FC8-B741-5C56F5135505}"/>
              </pc2:cmMkLst>
            </pc226:cmChg>
          </p:ext>
        </pc:extLst>
      </pc:sldChg>
      <pc:sldChg chg="modSp add mod">
        <pc:chgData name="丁野 光理" userId="53361c9a-10d0-4268-b39c-a1f4044b33f4" providerId="ADAL" clId="{31A483AB-3ACD-4C31-80F9-FE8A9CCBC644}" dt="2025-02-10T01:30:49.005" v="4118" actId="14100"/>
        <pc:sldMkLst>
          <pc:docMk/>
          <pc:sldMk cId="796142727" sldId="2147483306"/>
        </pc:sldMkLst>
        <pc:spChg chg="mod">
          <ac:chgData name="丁野 光理" userId="53361c9a-10d0-4268-b39c-a1f4044b33f4" providerId="ADAL" clId="{31A483AB-3ACD-4C31-80F9-FE8A9CCBC644}" dt="2025-02-10T01:30:49.005" v="4118" actId="14100"/>
          <ac:spMkLst>
            <pc:docMk/>
            <pc:sldMk cId="796142727" sldId="2147483306"/>
            <ac:spMk id="3" creationId="{7A908D4C-AB64-4D6C-A9D7-43C0FEFAFC61}"/>
          </ac:spMkLst>
        </pc:spChg>
      </pc:sldChg>
      <pc:sldChg chg="modSp add mod">
        <pc:chgData name="丁野 光理" userId="53361c9a-10d0-4268-b39c-a1f4044b33f4" providerId="ADAL" clId="{31A483AB-3ACD-4C31-80F9-FE8A9CCBC644}" dt="2025-02-10T01:31:08.393" v="4198" actId="14100"/>
        <pc:sldMkLst>
          <pc:docMk/>
          <pc:sldMk cId="704545505" sldId="2147483307"/>
        </pc:sldMkLst>
        <pc:spChg chg="mod">
          <ac:chgData name="丁野 光理" userId="53361c9a-10d0-4268-b39c-a1f4044b33f4" providerId="ADAL" clId="{31A483AB-3ACD-4C31-80F9-FE8A9CCBC644}" dt="2025-02-10T01:31:08.393" v="4198" actId="14100"/>
          <ac:spMkLst>
            <pc:docMk/>
            <pc:sldMk cId="704545505" sldId="2147483307"/>
            <ac:spMk id="3" creationId="{7A908D4C-AB64-4D6C-A9D7-43C0FEFAFC61}"/>
          </ac:spMkLst>
        </pc:spChg>
      </pc:sldChg>
      <pc:sldChg chg="modSp add mod">
        <pc:chgData name="丁野 光理" userId="53361c9a-10d0-4268-b39c-a1f4044b33f4" providerId="ADAL" clId="{31A483AB-3ACD-4C31-80F9-FE8A9CCBC644}" dt="2025-02-10T01:31:29.203" v="4329" actId="14100"/>
        <pc:sldMkLst>
          <pc:docMk/>
          <pc:sldMk cId="17199232" sldId="2147483308"/>
        </pc:sldMkLst>
        <pc:spChg chg="mod">
          <ac:chgData name="丁野 光理" userId="53361c9a-10d0-4268-b39c-a1f4044b33f4" providerId="ADAL" clId="{31A483AB-3ACD-4C31-80F9-FE8A9CCBC644}" dt="2025-02-10T01:31:29.203" v="4329" actId="14100"/>
          <ac:spMkLst>
            <pc:docMk/>
            <pc:sldMk cId="17199232" sldId="2147483308"/>
            <ac:spMk id="3" creationId="{7A908D4C-AB64-4D6C-A9D7-43C0FEFAFC61}"/>
          </ac:spMkLst>
        </pc:spChg>
      </pc:sldChg>
      <pc:sldChg chg="modSp add mod">
        <pc:chgData name="丁野 光理" userId="53361c9a-10d0-4268-b39c-a1f4044b33f4" providerId="ADAL" clId="{31A483AB-3ACD-4C31-80F9-FE8A9CCBC644}" dt="2025-02-10T01:31:44.233" v="4434" actId="14100"/>
        <pc:sldMkLst>
          <pc:docMk/>
          <pc:sldMk cId="818736796" sldId="2147483309"/>
        </pc:sldMkLst>
        <pc:spChg chg="mod">
          <ac:chgData name="丁野 光理" userId="53361c9a-10d0-4268-b39c-a1f4044b33f4" providerId="ADAL" clId="{31A483AB-3ACD-4C31-80F9-FE8A9CCBC644}" dt="2025-02-10T01:31:44.233" v="4434" actId="14100"/>
          <ac:spMkLst>
            <pc:docMk/>
            <pc:sldMk cId="818736796" sldId="2147483309"/>
            <ac:spMk id="3" creationId="{7A908D4C-AB64-4D6C-A9D7-43C0FEFAFC61}"/>
          </ac:spMkLst>
        </pc:spChg>
      </pc:sldChg>
      <pc:sldChg chg="modSp add mod">
        <pc:chgData name="丁野 光理" userId="53361c9a-10d0-4268-b39c-a1f4044b33f4" providerId="ADAL" clId="{31A483AB-3ACD-4C31-80F9-FE8A9CCBC644}" dt="2025-02-10T01:32:00.425" v="4569" actId="14100"/>
        <pc:sldMkLst>
          <pc:docMk/>
          <pc:sldMk cId="4227699123" sldId="2147483310"/>
        </pc:sldMkLst>
        <pc:spChg chg="mod">
          <ac:chgData name="丁野 光理" userId="53361c9a-10d0-4268-b39c-a1f4044b33f4" providerId="ADAL" clId="{31A483AB-3ACD-4C31-80F9-FE8A9CCBC644}" dt="2025-02-10T01:32:00.425" v="4569" actId="14100"/>
          <ac:spMkLst>
            <pc:docMk/>
            <pc:sldMk cId="4227699123" sldId="2147483310"/>
            <ac:spMk id="3" creationId="{7A908D4C-AB64-4D6C-A9D7-43C0FEFAFC61}"/>
          </ac:spMkLst>
        </pc:spChg>
      </pc:sldChg>
    </pc:docChg>
  </pc:docChgLst>
  <pc:docChgLst>
    <pc:chgData name="内山 裕弥" userId="8d34b9d0-ec49-418d-b1de-019cf6b56da5" providerId="ADAL" clId="{154816C8-82C4-4E4B-ADDD-BBC9EE556CCD}"/>
    <pc:docChg chg="undo custSel addSld delSld modSld sldOrd modMainMaster modSection">
      <pc:chgData name="内山 裕弥" userId="8d34b9d0-ec49-418d-b1de-019cf6b56da5" providerId="ADAL" clId="{154816C8-82C4-4E4B-ADDD-BBC9EE556CCD}" dt="2025-02-07T06:57:36.034" v="2994" actId="20577"/>
      <pc:docMkLst>
        <pc:docMk/>
      </pc:docMkLst>
      <pc:sldChg chg="modSp mod">
        <pc:chgData name="内山 裕弥" userId="8d34b9d0-ec49-418d-b1de-019cf6b56da5" providerId="ADAL" clId="{154816C8-82C4-4E4B-ADDD-BBC9EE556CCD}" dt="2025-02-07T06:57:13.568" v="2823" actId="27636"/>
        <pc:sldMkLst>
          <pc:docMk/>
          <pc:sldMk cId="2852443830" sldId="2147378632"/>
        </pc:sldMkLst>
        <pc:spChg chg="mod">
          <ac:chgData name="内山 裕弥" userId="8d34b9d0-ec49-418d-b1de-019cf6b56da5" providerId="ADAL" clId="{154816C8-82C4-4E4B-ADDD-BBC9EE556CCD}" dt="2025-02-07T06:57:13.568" v="2823" actId="27636"/>
          <ac:spMkLst>
            <pc:docMk/>
            <pc:sldMk cId="2852443830" sldId="2147378632"/>
            <ac:spMk id="7" creationId="{7F81DA45-2EDB-3376-10B4-C61FAB506B4F}"/>
          </ac:spMkLst>
        </pc:spChg>
      </pc:sldChg>
      <pc:sldChg chg="modSp mod addCm delCm modCm">
        <pc:chgData name="内山 裕弥" userId="8d34b9d0-ec49-418d-b1de-019cf6b56da5" providerId="ADAL" clId="{154816C8-82C4-4E4B-ADDD-BBC9EE556CCD}" dt="2025-02-06T05:58:03.109" v="17"/>
        <pc:sldMkLst>
          <pc:docMk/>
          <pc:sldMk cId="1869527861" sldId="2147378640"/>
        </pc:sldMkLst>
        <pc:spChg chg="mod">
          <ac:chgData name="内山 裕弥" userId="8d34b9d0-ec49-418d-b1de-019cf6b56da5" providerId="ADAL" clId="{154816C8-82C4-4E4B-ADDD-BBC9EE556CCD}" dt="2025-02-04T09:40:25.661" v="16" actId="20577"/>
          <ac:spMkLst>
            <pc:docMk/>
            <pc:sldMk cId="1869527861" sldId="2147378640"/>
            <ac:spMk id="10" creationId="{80E6EF29-A9F8-46B2-8DDE-5092A65E485F}"/>
          </ac:spMkLst>
        </pc:spChg>
        <pc:extLst>
          <p:ext xmlns:p="http://schemas.openxmlformats.org/presentationml/2006/main" uri="{D6D511B9-2390-475A-947B-AFAB55BFBCF1}">
            <pc226:cmChg xmlns:pc226="http://schemas.microsoft.com/office/powerpoint/2022/06/main/command" chg="add del mod">
              <pc226:chgData name="内山 裕弥" userId="8d34b9d0-ec49-418d-b1de-019cf6b56da5" providerId="ADAL" clId="{154816C8-82C4-4E4B-ADDD-BBC9EE556CCD}" dt="2025-02-06T05:58:03.109" v="17"/>
              <pc2:cmMkLst xmlns:pc2="http://schemas.microsoft.com/office/powerpoint/2019/9/main/command">
                <pc:docMk/>
                <pc:sldMk cId="1869527861" sldId="2147378640"/>
                <pc2:cmMk id="{CB76E606-BD79-470F-8264-5EC4A7D34A70}"/>
              </pc2:cmMkLst>
            </pc226:cmChg>
            <pc226:cmChg xmlns:pc226="http://schemas.microsoft.com/office/powerpoint/2022/06/main/command" chg="add del mod">
              <pc226:chgData name="内山 裕弥" userId="8d34b9d0-ec49-418d-b1de-019cf6b56da5" providerId="ADAL" clId="{154816C8-82C4-4E4B-ADDD-BBC9EE556CCD}" dt="2025-02-06T05:58:03.109" v="17"/>
              <pc2:cmMkLst xmlns:pc2="http://schemas.microsoft.com/office/powerpoint/2019/9/main/command">
                <pc:docMk/>
                <pc:sldMk cId="1869527861" sldId="2147378640"/>
                <pc2:cmMk id="{FEDF5F49-B924-4C4F-AC7B-7CE1C185AACC}"/>
              </pc2:cmMkLst>
            </pc226:cmChg>
            <pc226:cmChg xmlns:pc226="http://schemas.microsoft.com/office/powerpoint/2022/06/main/command" chg="add del mod">
              <pc226:chgData name="内山 裕弥" userId="8d34b9d0-ec49-418d-b1de-019cf6b56da5" providerId="ADAL" clId="{154816C8-82C4-4E4B-ADDD-BBC9EE556CCD}" dt="2025-02-04T09:32:28.571" v="9"/>
              <pc2:cmMkLst xmlns:pc2="http://schemas.microsoft.com/office/powerpoint/2019/9/main/command">
                <pc:docMk/>
                <pc:sldMk cId="1869527861" sldId="2147378640"/>
                <pc2:cmMk id="{1811A44F-0E6E-48E6-9028-ECA4776FDBD1}"/>
              </pc2:cmMkLst>
            </pc226:cmChg>
            <pc226:cmChg xmlns:pc226="http://schemas.microsoft.com/office/powerpoint/2022/06/main/command" chg="add del mod">
              <pc226:chgData name="内山 裕弥" userId="8d34b9d0-ec49-418d-b1de-019cf6b56da5" providerId="ADAL" clId="{154816C8-82C4-4E4B-ADDD-BBC9EE556CCD}" dt="2025-02-06T05:58:03.109" v="17"/>
              <pc2:cmMkLst xmlns:pc2="http://schemas.microsoft.com/office/powerpoint/2019/9/main/command">
                <pc:docMk/>
                <pc:sldMk cId="1869527861" sldId="2147378640"/>
                <pc2:cmMk id="{FDC01290-64EA-4550-803A-97F0B2CBA9DE}"/>
              </pc2:cmMkLst>
            </pc226:cmChg>
          </p:ext>
        </pc:extLst>
      </pc:sldChg>
      <pc:sldChg chg="addCm">
        <pc:chgData name="内山 裕弥" userId="8d34b9d0-ec49-418d-b1de-019cf6b56da5" providerId="ADAL" clId="{154816C8-82C4-4E4B-ADDD-BBC9EE556CCD}" dt="2025-02-06T05:58:11.793" v="18"/>
        <pc:sldMkLst>
          <pc:docMk/>
          <pc:sldMk cId="1132711422" sldId="2147378657"/>
        </pc:sldMkLst>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6T05:58:11.793" v="18"/>
              <pc2:cmMkLst xmlns:pc2="http://schemas.microsoft.com/office/powerpoint/2019/9/main/command">
                <pc:docMk/>
                <pc:sldMk cId="1132711422" sldId="2147378657"/>
                <pc2:cmMk id="{9BB3D041-EF68-4152-AFA9-6B3E279373B8}"/>
              </pc2:cmMkLst>
            </pc226:cmChg>
          </p:ext>
        </pc:extLst>
      </pc:sldChg>
      <pc:sldChg chg="addSp delSp modSp mod addCm">
        <pc:chgData name="内山 裕弥" userId="8d34b9d0-ec49-418d-b1de-019cf6b56da5" providerId="ADAL" clId="{154816C8-82C4-4E4B-ADDD-BBC9EE556CCD}" dt="2025-02-07T06:57:13.452" v="2811" actId="27636"/>
        <pc:sldMkLst>
          <pc:docMk/>
          <pc:sldMk cId="2948473411" sldId="2147378680"/>
        </pc:sldMkLst>
        <pc:spChg chg="del">
          <ac:chgData name="内山 裕弥" userId="8d34b9d0-ec49-418d-b1de-019cf6b56da5" providerId="ADAL" clId="{154816C8-82C4-4E4B-ADDD-BBC9EE556CCD}" dt="2025-02-06T06:01:02.513" v="38" actId="21"/>
          <ac:spMkLst>
            <pc:docMk/>
            <pc:sldMk cId="2948473411" sldId="2147378680"/>
            <ac:spMk id="10" creationId="{28CF45C0-4247-EF18-C203-ADFA691CEF61}"/>
          </ac:spMkLst>
        </pc:spChg>
        <pc:spChg chg="add mod">
          <ac:chgData name="内山 裕弥" userId="8d34b9d0-ec49-418d-b1de-019cf6b56da5" providerId="ADAL" clId="{154816C8-82C4-4E4B-ADDD-BBC9EE556CCD}" dt="2025-02-07T06:57:13.452" v="2811" actId="27636"/>
          <ac:spMkLst>
            <pc:docMk/>
            <pc:sldMk cId="2948473411" sldId="2147378680"/>
            <ac:spMk id="16" creationId="{3FFBA183-DD50-1FD4-2F5B-EB3CBBBEFB83}"/>
          </ac:spMkLst>
        </pc:sp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6T05:58:43.819" v="21"/>
              <pc2:cmMkLst xmlns:pc2="http://schemas.microsoft.com/office/powerpoint/2019/9/main/command">
                <pc:docMk/>
                <pc:sldMk cId="2948473411" sldId="2147378680"/>
                <pc2:cmMk id="{B50DDB64-542F-43B5-84BC-4C71F5DCB063}"/>
              </pc2:cmMkLst>
            </pc226:cmChg>
          </p:ext>
        </pc:extLst>
      </pc:sldChg>
      <pc:sldChg chg="addSp delSp modSp mod ord addCm delCm modCm">
        <pc:chgData name="内山 裕弥" userId="8d34b9d0-ec49-418d-b1de-019cf6b56da5" providerId="ADAL" clId="{154816C8-82C4-4E4B-ADDD-BBC9EE556CCD}" dt="2025-02-07T06:57:13.465" v="2813" actId="27636"/>
        <pc:sldMkLst>
          <pc:docMk/>
          <pc:sldMk cId="2708077593" sldId="2147378681"/>
        </pc:sldMkLst>
        <pc:spChg chg="mod">
          <ac:chgData name="内山 裕弥" userId="8d34b9d0-ec49-418d-b1de-019cf6b56da5" providerId="ADAL" clId="{154816C8-82C4-4E4B-ADDD-BBC9EE556CCD}" dt="2025-02-06T05:59:45.263" v="29"/>
          <ac:spMkLst>
            <pc:docMk/>
            <pc:sldMk cId="2708077593" sldId="2147378681"/>
            <ac:spMk id="2" creationId="{BDE63369-EA7E-4802-A4A3-D4010A333C66}"/>
          </ac:spMkLst>
        </pc:spChg>
        <pc:spChg chg="mod">
          <ac:chgData name="内山 裕弥" userId="8d34b9d0-ec49-418d-b1de-019cf6b56da5" providerId="ADAL" clId="{154816C8-82C4-4E4B-ADDD-BBC9EE556CCD}" dt="2025-02-06T06:01:14.530" v="43" actId="1076"/>
          <ac:spMkLst>
            <pc:docMk/>
            <pc:sldMk cId="2708077593" sldId="2147378681"/>
            <ac:spMk id="8" creationId="{95ACE118-4131-DE79-F02F-66722864A02D}"/>
          </ac:spMkLst>
        </pc:spChg>
        <pc:spChg chg="mod">
          <ac:chgData name="内山 裕弥" userId="8d34b9d0-ec49-418d-b1de-019cf6b56da5" providerId="ADAL" clId="{154816C8-82C4-4E4B-ADDD-BBC9EE556CCD}" dt="2025-02-06T05:59:49.256" v="30" actId="20577"/>
          <ac:spMkLst>
            <pc:docMk/>
            <pc:sldMk cId="2708077593" sldId="2147378681"/>
            <ac:spMk id="9" creationId="{D22A0A06-D5A8-4A1A-B66F-2A8EDBD644F1}"/>
          </ac:spMkLst>
        </pc:spChg>
        <pc:spChg chg="del">
          <ac:chgData name="内山 裕弥" userId="8d34b9d0-ec49-418d-b1de-019cf6b56da5" providerId="ADAL" clId="{154816C8-82C4-4E4B-ADDD-BBC9EE556CCD}" dt="2025-02-06T06:01:06.825" v="40" actId="21"/>
          <ac:spMkLst>
            <pc:docMk/>
            <pc:sldMk cId="2708077593" sldId="2147378681"/>
            <ac:spMk id="11" creationId="{5B8ABDA1-3D2A-BE6F-2D47-4B44E4CE9142}"/>
          </ac:spMkLst>
        </pc:spChg>
        <pc:spChg chg="mod">
          <ac:chgData name="内山 裕弥" userId="8d34b9d0-ec49-418d-b1de-019cf6b56da5" providerId="ADAL" clId="{154816C8-82C4-4E4B-ADDD-BBC9EE556CCD}" dt="2025-02-06T06:01:14.530" v="43" actId="1076"/>
          <ac:spMkLst>
            <pc:docMk/>
            <pc:sldMk cId="2708077593" sldId="2147378681"/>
            <ac:spMk id="12" creationId="{0885EF34-1A86-AA39-1A1A-5F99ABF6B7EF}"/>
          </ac:spMkLst>
        </pc:spChg>
        <pc:spChg chg="mod">
          <ac:chgData name="内山 裕弥" userId="8d34b9d0-ec49-418d-b1de-019cf6b56da5" providerId="ADAL" clId="{154816C8-82C4-4E4B-ADDD-BBC9EE556CCD}" dt="2025-02-06T06:01:14.530" v="43" actId="1076"/>
          <ac:spMkLst>
            <pc:docMk/>
            <pc:sldMk cId="2708077593" sldId="2147378681"/>
            <ac:spMk id="14" creationId="{A0DB4FFB-AA27-D443-6D2D-4943569F8746}"/>
          </ac:spMkLst>
        </pc:spChg>
        <pc:spChg chg="mod">
          <ac:chgData name="内山 裕弥" userId="8d34b9d0-ec49-418d-b1de-019cf6b56da5" providerId="ADAL" clId="{154816C8-82C4-4E4B-ADDD-BBC9EE556CCD}" dt="2025-02-06T06:01:14.530" v="43" actId="1076"/>
          <ac:spMkLst>
            <pc:docMk/>
            <pc:sldMk cId="2708077593" sldId="2147378681"/>
            <ac:spMk id="15" creationId="{0C0D5913-6E2D-E5DB-60D1-B3AF669AED14}"/>
          </ac:spMkLst>
        </pc:spChg>
        <pc:spChg chg="del">
          <ac:chgData name="内山 裕弥" userId="8d34b9d0-ec49-418d-b1de-019cf6b56da5" providerId="ADAL" clId="{154816C8-82C4-4E4B-ADDD-BBC9EE556CCD}" dt="2025-02-06T06:00:56.109" v="37" actId="21"/>
          <ac:spMkLst>
            <pc:docMk/>
            <pc:sldMk cId="2708077593" sldId="2147378681"/>
            <ac:spMk id="16" creationId="{069C4285-627D-16A3-8657-A4D2BEF4BA93}"/>
          </ac:spMkLst>
        </pc:spChg>
        <pc:spChg chg="add mod">
          <ac:chgData name="内山 裕弥" userId="8d34b9d0-ec49-418d-b1de-019cf6b56da5" providerId="ADAL" clId="{154816C8-82C4-4E4B-ADDD-BBC9EE556CCD}" dt="2025-02-07T06:57:13.465" v="2813" actId="27636"/>
          <ac:spMkLst>
            <pc:docMk/>
            <pc:sldMk cId="2708077593" sldId="2147378681"/>
            <ac:spMk id="17" creationId="{ED5B4037-6A33-091F-CAB0-26A3BC43E5EE}"/>
          </ac:spMkLst>
        </pc:spChg>
        <pc:grpChg chg="mod">
          <ac:chgData name="内山 裕弥" userId="8d34b9d0-ec49-418d-b1de-019cf6b56da5" providerId="ADAL" clId="{154816C8-82C4-4E4B-ADDD-BBC9EE556CCD}" dt="2025-02-06T06:01:14.530" v="43" actId="1076"/>
          <ac:grpSpMkLst>
            <pc:docMk/>
            <pc:sldMk cId="2708077593" sldId="2147378681"/>
            <ac:grpSpMk id="3" creationId="{EBC23DA4-F36B-555D-CA5C-39F94E08823F}"/>
          </ac:grpSpMkLst>
        </pc:grpChg>
        <pc:grpChg chg="mod">
          <ac:chgData name="内山 裕弥" userId="8d34b9d0-ec49-418d-b1de-019cf6b56da5" providerId="ADAL" clId="{154816C8-82C4-4E4B-ADDD-BBC9EE556CCD}" dt="2025-02-06T06:01:14.530" v="43" actId="1076"/>
          <ac:grpSpMkLst>
            <pc:docMk/>
            <pc:sldMk cId="2708077593" sldId="2147378681"/>
            <ac:grpSpMk id="4" creationId="{182836E8-0A6C-6508-BE54-D9FA5966D104}"/>
          </ac:grpSpMkLst>
        </pc:grpChg>
        <pc:grpChg chg="mod">
          <ac:chgData name="内山 裕弥" userId="8d34b9d0-ec49-418d-b1de-019cf6b56da5" providerId="ADAL" clId="{154816C8-82C4-4E4B-ADDD-BBC9EE556CCD}" dt="2025-02-06T06:01:14.530" v="43" actId="1076"/>
          <ac:grpSpMkLst>
            <pc:docMk/>
            <pc:sldMk cId="2708077593" sldId="2147378681"/>
            <ac:grpSpMk id="7" creationId="{2FB98B28-3911-4D54-DF63-480395E4E9E6}"/>
          </ac:grpSpMkLst>
        </pc:grpChg>
        <pc:cxnChg chg="mod">
          <ac:chgData name="内山 裕弥" userId="8d34b9d0-ec49-418d-b1de-019cf6b56da5" providerId="ADAL" clId="{154816C8-82C4-4E4B-ADDD-BBC9EE556CCD}" dt="2025-02-06T06:01:14.530" v="43" actId="1076"/>
          <ac:cxnSpMkLst>
            <pc:docMk/>
            <pc:sldMk cId="2708077593" sldId="2147378681"/>
            <ac:cxnSpMk id="10" creationId="{EEF86A98-39B5-3E9C-8313-F6410191C7AD}"/>
          </ac:cxnSpMkLst>
        </pc:cxnChg>
        <pc:cxnChg chg="mod">
          <ac:chgData name="内山 裕弥" userId="8d34b9d0-ec49-418d-b1de-019cf6b56da5" providerId="ADAL" clId="{154816C8-82C4-4E4B-ADDD-BBC9EE556CCD}" dt="2025-02-06T06:01:14.530" v="43" actId="1076"/>
          <ac:cxnSpMkLst>
            <pc:docMk/>
            <pc:sldMk cId="2708077593" sldId="2147378681"/>
            <ac:cxnSpMk id="13" creationId="{819B2E49-17B8-3727-8812-69FD5702E69C}"/>
          </ac:cxnSpMkLst>
        </pc:cxn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6T06:00:04.273" v="33"/>
              <pc2:cmMkLst xmlns:pc2="http://schemas.microsoft.com/office/powerpoint/2019/9/main/command">
                <pc:docMk/>
                <pc:sldMk cId="2708077593" sldId="2147378681"/>
                <pc2:cmMk id="{C2665106-7865-451A-A501-491E7113F2D0}"/>
              </pc2:cmMkLst>
            </pc226:cmChg>
            <pc226:cmChg xmlns:pc226="http://schemas.microsoft.com/office/powerpoint/2022/06/main/command" chg="add mod">
              <pc226:chgData name="内山 裕弥" userId="8d34b9d0-ec49-418d-b1de-019cf6b56da5" providerId="ADAL" clId="{154816C8-82C4-4E4B-ADDD-BBC9EE556CCD}" dt="2025-02-06T06:04:32.677" v="46"/>
              <pc2:cmMkLst xmlns:pc2="http://schemas.microsoft.com/office/powerpoint/2019/9/main/command">
                <pc:docMk/>
                <pc:sldMk cId="2708077593" sldId="2147378681"/>
                <pc2:cmMk id="{40A72152-731D-47FF-92E4-5B8D098E98AB}"/>
              </pc2:cmMkLst>
              <pc226:cmRplyChg chg="add mod">
                <pc226:chgData name="内山 裕弥" userId="8d34b9d0-ec49-418d-b1de-019cf6b56da5" providerId="ADAL" clId="{154816C8-82C4-4E4B-ADDD-BBC9EE556CCD}" dt="2025-02-06T06:04:32.677" v="46"/>
                <pc2:cmRplyMkLst xmlns:pc2="http://schemas.microsoft.com/office/powerpoint/2019/9/main/command">
                  <pc:docMk/>
                  <pc:sldMk cId="2708077593" sldId="2147378681"/>
                  <pc2:cmMk id="{40A72152-731D-47FF-92E4-5B8D098E98AB}"/>
                  <pc2:cmRplyMk id="{FF26346C-9510-488A-84A7-3CFA4BDE144F}"/>
                </pc2:cmRplyMkLst>
              </pc226:cmRplyChg>
            </pc226:cmChg>
            <pc226:cmChg xmlns:pc226="http://schemas.microsoft.com/office/powerpoint/2022/06/main/command" chg="add del mod">
              <pc226:chgData name="内山 裕弥" userId="8d34b9d0-ec49-418d-b1de-019cf6b56da5" providerId="ADAL" clId="{154816C8-82C4-4E4B-ADDD-BBC9EE556CCD}" dt="2025-02-06T05:58:03.109" v="17"/>
              <pc2:cmMkLst xmlns:pc2="http://schemas.microsoft.com/office/powerpoint/2019/9/main/command">
                <pc:docMk/>
                <pc:sldMk cId="2708077593" sldId="2147378681"/>
                <pc2:cmMk id="{CC7BDCC6-D8FD-4BB8-9CA8-098D9CF64ED8}"/>
              </pc2:cmMkLst>
            </pc226:cmChg>
          </p:ext>
        </pc:extLst>
      </pc:sldChg>
      <pc:sldChg chg="addSp delSp modSp mod addCm">
        <pc:chgData name="内山 裕弥" userId="8d34b9d0-ec49-418d-b1de-019cf6b56da5" providerId="ADAL" clId="{154816C8-82C4-4E4B-ADDD-BBC9EE556CCD}" dt="2025-02-07T06:57:13.465" v="2812" actId="27636"/>
        <pc:sldMkLst>
          <pc:docMk/>
          <pc:sldMk cId="2629355078" sldId="2147378682"/>
        </pc:sldMkLst>
        <pc:spChg chg="del">
          <ac:chgData name="内山 裕弥" userId="8d34b9d0-ec49-418d-b1de-019cf6b56da5" providerId="ADAL" clId="{154816C8-82C4-4E4B-ADDD-BBC9EE556CCD}" dt="2025-02-06T06:01:05.003" v="39" actId="21"/>
          <ac:spMkLst>
            <pc:docMk/>
            <pc:sldMk cId="2629355078" sldId="2147378682"/>
            <ac:spMk id="6" creationId="{B97F009E-BC8C-AB2A-B2E1-25D733E4B178}"/>
          </ac:spMkLst>
        </pc:spChg>
        <pc:spChg chg="add mod">
          <ac:chgData name="内山 裕弥" userId="8d34b9d0-ec49-418d-b1de-019cf6b56da5" providerId="ADAL" clId="{154816C8-82C4-4E4B-ADDD-BBC9EE556CCD}" dt="2025-02-07T06:57:13.465" v="2812" actId="27636"/>
          <ac:spMkLst>
            <pc:docMk/>
            <pc:sldMk cId="2629355078" sldId="2147378682"/>
            <ac:spMk id="16" creationId="{E4DD4B8D-47E0-8296-7CF0-B8554AD1C112}"/>
          </ac:spMkLst>
        </pc:sp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6T05:58:53.032" v="22"/>
              <pc2:cmMkLst xmlns:pc2="http://schemas.microsoft.com/office/powerpoint/2019/9/main/command">
                <pc:docMk/>
                <pc:sldMk cId="2629355078" sldId="2147378682"/>
                <pc2:cmMk id="{F218F1F8-0A58-492D-B276-F3BA5AAA42F3}"/>
              </pc2:cmMkLst>
            </pc226:cmChg>
          </p:ext>
        </pc:extLst>
      </pc:sldChg>
      <pc:sldChg chg="modSp mod addCm">
        <pc:chgData name="内山 裕弥" userId="8d34b9d0-ec49-418d-b1de-019cf6b56da5" providerId="ADAL" clId="{154816C8-82C4-4E4B-ADDD-BBC9EE556CCD}" dt="2025-02-07T06:57:13.499" v="2814" actId="27636"/>
        <pc:sldMkLst>
          <pc:docMk/>
          <pc:sldMk cId="228645798" sldId="2147378683"/>
        </pc:sldMkLst>
        <pc:spChg chg="mod">
          <ac:chgData name="内山 裕弥" userId="8d34b9d0-ec49-418d-b1de-019cf6b56da5" providerId="ADAL" clId="{154816C8-82C4-4E4B-ADDD-BBC9EE556CCD}" dt="2025-02-06T05:59:51.165" v="31" actId="20577"/>
          <ac:spMkLst>
            <pc:docMk/>
            <pc:sldMk cId="228645798" sldId="2147378683"/>
            <ac:spMk id="4" creationId="{29DB748F-EFF5-4509-B381-6B8D73B31303}"/>
          </ac:spMkLst>
        </pc:spChg>
        <pc:spChg chg="mod">
          <ac:chgData name="内山 裕弥" userId="8d34b9d0-ec49-418d-b1de-019cf6b56da5" providerId="ADAL" clId="{154816C8-82C4-4E4B-ADDD-BBC9EE556CCD}" dt="2025-02-07T06:57:13.499" v="2814" actId="27636"/>
          <ac:spMkLst>
            <pc:docMk/>
            <pc:sldMk cId="228645798" sldId="2147378683"/>
            <ac:spMk id="8" creationId="{9D610DBF-17F7-608B-8680-1CFA54E54E02}"/>
          </ac:spMkLst>
        </pc:sp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6T05:58:58.504" v="23"/>
              <pc2:cmMkLst xmlns:pc2="http://schemas.microsoft.com/office/powerpoint/2019/9/main/command">
                <pc:docMk/>
                <pc:sldMk cId="228645798" sldId="2147378683"/>
                <pc2:cmMk id="{CC32BF52-AF5B-404A-9D8B-3922AFEDB808}"/>
              </pc2:cmMkLst>
            </pc226:cmChg>
          </p:ext>
        </pc:extLst>
      </pc:sldChg>
      <pc:sldChg chg="modSp mod">
        <pc:chgData name="内山 裕弥" userId="8d34b9d0-ec49-418d-b1de-019cf6b56da5" providerId="ADAL" clId="{154816C8-82C4-4E4B-ADDD-BBC9EE556CCD}" dt="2025-02-07T06:57:13.573" v="2824" actId="27636"/>
        <pc:sldMkLst>
          <pc:docMk/>
          <pc:sldMk cId="239223960" sldId="2147378686"/>
        </pc:sldMkLst>
        <pc:spChg chg="mod">
          <ac:chgData name="内山 裕弥" userId="8d34b9d0-ec49-418d-b1de-019cf6b56da5" providerId="ADAL" clId="{154816C8-82C4-4E4B-ADDD-BBC9EE556CCD}" dt="2025-02-07T06:57:13.573" v="2824" actId="27636"/>
          <ac:spMkLst>
            <pc:docMk/>
            <pc:sldMk cId="239223960" sldId="2147378686"/>
            <ac:spMk id="8" creationId="{E5452BB1-3ED0-4261-B76D-A910259B86CD}"/>
          </ac:spMkLst>
        </pc:spChg>
      </pc:sldChg>
      <pc:sldChg chg="modSp mod">
        <pc:chgData name="内山 裕弥" userId="8d34b9d0-ec49-418d-b1de-019cf6b56da5" providerId="ADAL" clId="{154816C8-82C4-4E4B-ADDD-BBC9EE556CCD}" dt="2025-02-07T06:57:13.584" v="2825" actId="27636"/>
        <pc:sldMkLst>
          <pc:docMk/>
          <pc:sldMk cId="2452595465" sldId="2147378688"/>
        </pc:sldMkLst>
        <pc:spChg chg="mod">
          <ac:chgData name="内山 裕弥" userId="8d34b9d0-ec49-418d-b1de-019cf6b56da5" providerId="ADAL" clId="{154816C8-82C4-4E4B-ADDD-BBC9EE556CCD}" dt="2025-02-07T06:57:13.584" v="2825" actId="27636"/>
          <ac:spMkLst>
            <pc:docMk/>
            <pc:sldMk cId="2452595465" sldId="2147378688"/>
            <ac:spMk id="20" creationId="{C0739B5E-974C-B8C0-C502-00B3AE8E25D2}"/>
          </ac:spMkLst>
        </pc:spChg>
      </pc:sldChg>
      <pc:sldChg chg="modSp mod addCm">
        <pc:chgData name="内山 裕弥" userId="8d34b9d0-ec49-418d-b1de-019cf6b56da5" providerId="ADAL" clId="{154816C8-82C4-4E4B-ADDD-BBC9EE556CCD}" dt="2025-02-07T06:57:13.606" v="2830" actId="27636"/>
        <pc:sldMkLst>
          <pc:docMk/>
          <pc:sldMk cId="64176771" sldId="2147378692"/>
        </pc:sldMkLst>
        <pc:spChg chg="mod">
          <ac:chgData name="内山 裕弥" userId="8d34b9d0-ec49-418d-b1de-019cf6b56da5" providerId="ADAL" clId="{154816C8-82C4-4E4B-ADDD-BBC9EE556CCD}" dt="2025-02-07T06:57:13.606" v="2830" actId="27636"/>
          <ac:spMkLst>
            <pc:docMk/>
            <pc:sldMk cId="64176771" sldId="2147378692"/>
            <ac:spMk id="9" creationId="{43C330CB-8A4D-F4A2-AFFC-48CA4FB9C719}"/>
          </ac:spMkLst>
        </pc:sp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7T05:46:29.715" v="453"/>
              <pc2:cmMkLst xmlns:pc2="http://schemas.microsoft.com/office/powerpoint/2019/9/main/command">
                <pc:docMk/>
                <pc:sldMk cId="64176771" sldId="2147378692"/>
                <pc2:cmMk id="{D6796762-19EB-467C-B000-55FD87F97E8D}"/>
              </pc2:cmMkLst>
            </pc226:cmChg>
          </p:ext>
        </pc:extLst>
      </pc:sldChg>
      <pc:sldChg chg="addSp delSp modSp mod ord modShow addCm">
        <pc:chgData name="内山 裕弥" userId="8d34b9d0-ec49-418d-b1de-019cf6b56da5" providerId="ADAL" clId="{154816C8-82C4-4E4B-ADDD-BBC9EE556CCD}" dt="2025-02-07T06:57:36.034" v="2994" actId="20577"/>
        <pc:sldMkLst>
          <pc:docMk/>
          <pc:sldMk cId="2807815468" sldId="2147378693"/>
        </pc:sldMkLst>
        <pc:spChg chg="mod">
          <ac:chgData name="内山 裕弥" userId="8d34b9d0-ec49-418d-b1de-019cf6b56da5" providerId="ADAL" clId="{154816C8-82C4-4E4B-ADDD-BBC9EE556CCD}" dt="2025-02-07T06:48:11.789" v="1632"/>
          <ac:spMkLst>
            <pc:docMk/>
            <pc:sldMk cId="2807815468" sldId="2147378693"/>
            <ac:spMk id="2" creationId="{A45FDDD5-9A42-423D-9ED3-F19DD3567786}"/>
          </ac:spMkLst>
        </pc:spChg>
        <pc:spChg chg="mod">
          <ac:chgData name="内山 裕弥" userId="8d34b9d0-ec49-418d-b1de-019cf6b56da5" providerId="ADAL" clId="{154816C8-82C4-4E4B-ADDD-BBC9EE556CCD}" dt="2025-02-07T06:52:53.589" v="1860" actId="20577"/>
          <ac:spMkLst>
            <pc:docMk/>
            <pc:sldMk cId="2807815468" sldId="2147378693"/>
            <ac:spMk id="4" creationId="{6F71EB31-C9B7-4098-9EFB-8216961CCBDC}"/>
          </ac:spMkLst>
        </pc:spChg>
        <pc:spChg chg="add del mod">
          <ac:chgData name="内山 裕弥" userId="8d34b9d0-ec49-418d-b1de-019cf6b56da5" providerId="ADAL" clId="{154816C8-82C4-4E4B-ADDD-BBC9EE556CCD}" dt="2025-02-07T06:51:48.198" v="1765" actId="21"/>
          <ac:spMkLst>
            <pc:docMk/>
            <pc:sldMk cId="2807815468" sldId="2147378693"/>
            <ac:spMk id="6" creationId="{CEECED2F-0EF5-8DDA-E5C0-05C7D2560DF7}"/>
          </ac:spMkLst>
        </pc:spChg>
        <pc:spChg chg="del">
          <ac:chgData name="内山 裕弥" userId="8d34b9d0-ec49-418d-b1de-019cf6b56da5" providerId="ADAL" clId="{154816C8-82C4-4E4B-ADDD-BBC9EE556CCD}" dt="2025-02-07T06:48:19.207" v="1638" actId="21"/>
          <ac:spMkLst>
            <pc:docMk/>
            <pc:sldMk cId="2807815468" sldId="2147378693"/>
            <ac:spMk id="7" creationId="{AB44C853-6597-563E-FBB5-333EA802200B}"/>
          </ac:spMkLst>
        </pc:spChg>
        <pc:spChg chg="mod">
          <ac:chgData name="内山 裕弥" userId="8d34b9d0-ec49-418d-b1de-019cf6b56da5" providerId="ADAL" clId="{154816C8-82C4-4E4B-ADDD-BBC9EE556CCD}" dt="2025-02-07T06:49:19.677" v="1653" actId="404"/>
          <ac:spMkLst>
            <pc:docMk/>
            <pc:sldMk cId="2807815468" sldId="2147378693"/>
            <ac:spMk id="8" creationId="{9B252D3D-6288-96C4-6851-3CB5CABE93B0}"/>
          </ac:spMkLst>
        </pc:spChg>
        <pc:spChg chg="mod">
          <ac:chgData name="内山 裕弥" userId="8d34b9d0-ec49-418d-b1de-019cf6b56da5" providerId="ADAL" clId="{154816C8-82C4-4E4B-ADDD-BBC9EE556CCD}" dt="2025-02-07T06:48:14.987" v="1637" actId="20577"/>
          <ac:spMkLst>
            <pc:docMk/>
            <pc:sldMk cId="2807815468" sldId="2147378693"/>
            <ac:spMk id="9" creationId="{D22A0A06-D5A8-4A1A-B66F-2A8EDBD644F1}"/>
          </ac:spMkLst>
        </pc:spChg>
        <pc:spChg chg="mod">
          <ac:chgData name="内山 裕弥" userId="8d34b9d0-ec49-418d-b1de-019cf6b56da5" providerId="ADAL" clId="{154816C8-82C4-4E4B-ADDD-BBC9EE556CCD}" dt="2025-02-07T06:53:09.403" v="1948" actId="20577"/>
          <ac:spMkLst>
            <pc:docMk/>
            <pc:sldMk cId="2807815468" sldId="2147378693"/>
            <ac:spMk id="11" creationId="{27E0FB5C-67EE-F750-E74B-80FE4B6806FF}"/>
          </ac:spMkLst>
        </pc:spChg>
        <pc:spChg chg="mod">
          <ac:chgData name="内山 裕弥" userId="8d34b9d0-ec49-418d-b1de-019cf6b56da5" providerId="ADAL" clId="{154816C8-82C4-4E4B-ADDD-BBC9EE556CCD}" dt="2025-02-07T06:49:50.641" v="1659" actId="404"/>
          <ac:spMkLst>
            <pc:docMk/>
            <pc:sldMk cId="2807815468" sldId="2147378693"/>
            <ac:spMk id="13" creationId="{3132866A-947F-A81C-0025-F0AF7AFAF788}"/>
          </ac:spMkLst>
        </pc:spChg>
        <pc:spChg chg="mod">
          <ac:chgData name="内山 裕弥" userId="8d34b9d0-ec49-418d-b1de-019cf6b56da5" providerId="ADAL" clId="{154816C8-82C4-4E4B-ADDD-BBC9EE556CCD}" dt="2025-02-07T06:54:42.589" v="2212" actId="20577"/>
          <ac:spMkLst>
            <pc:docMk/>
            <pc:sldMk cId="2807815468" sldId="2147378693"/>
            <ac:spMk id="14" creationId="{5BC8482B-CF2B-219A-8F08-419E3A5FC47F}"/>
          </ac:spMkLst>
        </pc:spChg>
        <pc:spChg chg="mod">
          <ac:chgData name="内山 裕弥" userId="8d34b9d0-ec49-418d-b1de-019cf6b56da5" providerId="ADAL" clId="{154816C8-82C4-4E4B-ADDD-BBC9EE556CCD}" dt="2025-02-07T06:54:50.673" v="2247" actId="20577"/>
          <ac:spMkLst>
            <pc:docMk/>
            <pc:sldMk cId="2807815468" sldId="2147378693"/>
            <ac:spMk id="15" creationId="{FB604A90-B7E0-C24B-4479-27FB7F6C9AF9}"/>
          </ac:spMkLst>
        </pc:spChg>
        <pc:spChg chg="mod">
          <ac:chgData name="内山 裕弥" userId="8d34b9d0-ec49-418d-b1de-019cf6b56da5" providerId="ADAL" clId="{154816C8-82C4-4E4B-ADDD-BBC9EE556CCD}" dt="2025-02-07T06:53:21.135" v="1982" actId="20577"/>
          <ac:spMkLst>
            <pc:docMk/>
            <pc:sldMk cId="2807815468" sldId="2147378693"/>
            <ac:spMk id="17" creationId="{C9C43BC8-810D-E426-4335-300BCA945BC0}"/>
          </ac:spMkLst>
        </pc:spChg>
        <pc:spChg chg="mod">
          <ac:chgData name="内山 裕弥" userId="8d34b9d0-ec49-418d-b1de-019cf6b56da5" providerId="ADAL" clId="{154816C8-82C4-4E4B-ADDD-BBC9EE556CCD}" dt="2025-02-07T06:53:36.181" v="2034" actId="6549"/>
          <ac:spMkLst>
            <pc:docMk/>
            <pc:sldMk cId="2807815468" sldId="2147378693"/>
            <ac:spMk id="18" creationId="{0947CAEC-1669-C017-095F-FAE30144149E}"/>
          </ac:spMkLst>
        </pc:spChg>
        <pc:spChg chg="mod">
          <ac:chgData name="内山 裕弥" userId="8d34b9d0-ec49-418d-b1de-019cf6b56da5" providerId="ADAL" clId="{154816C8-82C4-4E4B-ADDD-BBC9EE556CCD}" dt="2025-02-07T06:49:19.677" v="1653" actId="404"/>
          <ac:spMkLst>
            <pc:docMk/>
            <pc:sldMk cId="2807815468" sldId="2147378693"/>
            <ac:spMk id="20" creationId="{B5AB1C34-EB45-F138-564F-B61D792CEA4E}"/>
          </ac:spMkLst>
        </pc:spChg>
        <pc:spChg chg="mod">
          <ac:chgData name="内山 裕弥" userId="8d34b9d0-ec49-418d-b1de-019cf6b56da5" providerId="ADAL" clId="{154816C8-82C4-4E4B-ADDD-BBC9EE556CCD}" dt="2025-02-07T06:49:50.641" v="1659" actId="404"/>
          <ac:spMkLst>
            <pc:docMk/>
            <pc:sldMk cId="2807815468" sldId="2147378693"/>
            <ac:spMk id="22" creationId="{9E9C4C6D-62EF-6870-EF03-ACBF62431744}"/>
          </ac:spMkLst>
        </pc:spChg>
        <pc:spChg chg="mod">
          <ac:chgData name="内山 裕弥" userId="8d34b9d0-ec49-418d-b1de-019cf6b56da5" providerId="ADAL" clId="{154816C8-82C4-4E4B-ADDD-BBC9EE556CCD}" dt="2025-02-07T06:49:37.603" v="1657" actId="571"/>
          <ac:spMkLst>
            <pc:docMk/>
            <pc:sldMk cId="2807815468" sldId="2147378693"/>
            <ac:spMk id="27" creationId="{306BF866-B9A2-871E-0E18-3AF171DA6F1E}"/>
          </ac:spMkLst>
        </pc:spChg>
        <pc:spChg chg="mod">
          <ac:chgData name="内山 裕弥" userId="8d34b9d0-ec49-418d-b1de-019cf6b56da5" providerId="ADAL" clId="{154816C8-82C4-4E4B-ADDD-BBC9EE556CCD}" dt="2025-02-07T06:49:37.603" v="1657" actId="571"/>
          <ac:spMkLst>
            <pc:docMk/>
            <pc:sldMk cId="2807815468" sldId="2147378693"/>
            <ac:spMk id="28" creationId="{B6F1DDD0-6CD5-AA3A-2EEF-0967292C995F}"/>
          </ac:spMkLst>
        </pc:spChg>
        <pc:spChg chg="mod">
          <ac:chgData name="内山 裕弥" userId="8d34b9d0-ec49-418d-b1de-019cf6b56da5" providerId="ADAL" clId="{154816C8-82C4-4E4B-ADDD-BBC9EE556CCD}" dt="2025-02-07T06:49:37.603" v="1657" actId="571"/>
          <ac:spMkLst>
            <pc:docMk/>
            <pc:sldMk cId="2807815468" sldId="2147378693"/>
            <ac:spMk id="29" creationId="{04782870-D871-A633-3A3D-A26B6315B92B}"/>
          </ac:spMkLst>
        </pc:spChg>
        <pc:spChg chg="mod">
          <ac:chgData name="内山 裕弥" userId="8d34b9d0-ec49-418d-b1de-019cf6b56da5" providerId="ADAL" clId="{154816C8-82C4-4E4B-ADDD-BBC9EE556CCD}" dt="2025-02-07T06:49:37.603" v="1657" actId="571"/>
          <ac:spMkLst>
            <pc:docMk/>
            <pc:sldMk cId="2807815468" sldId="2147378693"/>
            <ac:spMk id="30" creationId="{4D1AEA63-9B32-CC11-3AA6-2DD427F4DB70}"/>
          </ac:spMkLst>
        </pc:spChg>
        <pc:spChg chg="mod">
          <ac:chgData name="内山 裕弥" userId="8d34b9d0-ec49-418d-b1de-019cf6b56da5" providerId="ADAL" clId="{154816C8-82C4-4E4B-ADDD-BBC9EE556CCD}" dt="2025-02-07T06:49:37.603" v="1657" actId="571"/>
          <ac:spMkLst>
            <pc:docMk/>
            <pc:sldMk cId="2807815468" sldId="2147378693"/>
            <ac:spMk id="31" creationId="{89E43F0B-497E-3D0C-1A2E-DC1F6A143DFD}"/>
          </ac:spMkLst>
        </pc:spChg>
        <pc:spChg chg="mod">
          <ac:chgData name="内山 裕弥" userId="8d34b9d0-ec49-418d-b1de-019cf6b56da5" providerId="ADAL" clId="{154816C8-82C4-4E4B-ADDD-BBC9EE556CCD}" dt="2025-02-07T06:49:50.641" v="1659" actId="404"/>
          <ac:spMkLst>
            <pc:docMk/>
            <pc:sldMk cId="2807815468" sldId="2147378693"/>
            <ac:spMk id="33" creationId="{9257D3DD-9C8E-AAC4-05E2-C3ECF0290362}"/>
          </ac:spMkLst>
        </pc:spChg>
        <pc:spChg chg="mod">
          <ac:chgData name="内山 裕弥" userId="8d34b9d0-ec49-418d-b1de-019cf6b56da5" providerId="ADAL" clId="{154816C8-82C4-4E4B-ADDD-BBC9EE556CCD}" dt="2025-02-07T06:49:50.641" v="1659" actId="404"/>
          <ac:spMkLst>
            <pc:docMk/>
            <pc:sldMk cId="2807815468" sldId="2147378693"/>
            <ac:spMk id="34" creationId="{49CC8429-93D6-9A18-62F3-AF13E7BEC72A}"/>
          </ac:spMkLst>
        </pc:spChg>
        <pc:spChg chg="mod">
          <ac:chgData name="内山 裕弥" userId="8d34b9d0-ec49-418d-b1de-019cf6b56da5" providerId="ADAL" clId="{154816C8-82C4-4E4B-ADDD-BBC9EE556CCD}" dt="2025-02-07T06:49:50.641" v="1659" actId="404"/>
          <ac:spMkLst>
            <pc:docMk/>
            <pc:sldMk cId="2807815468" sldId="2147378693"/>
            <ac:spMk id="35" creationId="{9A78E48D-9CB7-841B-902C-FEE654B0CA1F}"/>
          </ac:spMkLst>
        </pc:spChg>
        <pc:spChg chg="mod">
          <ac:chgData name="内山 裕弥" userId="8d34b9d0-ec49-418d-b1de-019cf6b56da5" providerId="ADAL" clId="{154816C8-82C4-4E4B-ADDD-BBC9EE556CCD}" dt="2025-02-07T06:49:50.641" v="1659" actId="404"/>
          <ac:spMkLst>
            <pc:docMk/>
            <pc:sldMk cId="2807815468" sldId="2147378693"/>
            <ac:spMk id="37" creationId="{9E01659E-F6B4-073E-CC70-C945B05518C5}"/>
          </ac:spMkLst>
        </pc:spChg>
        <pc:spChg chg="mod">
          <ac:chgData name="内山 裕弥" userId="8d34b9d0-ec49-418d-b1de-019cf6b56da5" providerId="ADAL" clId="{154816C8-82C4-4E4B-ADDD-BBC9EE556CCD}" dt="2025-02-07T06:49:50.641" v="1659" actId="404"/>
          <ac:spMkLst>
            <pc:docMk/>
            <pc:sldMk cId="2807815468" sldId="2147378693"/>
            <ac:spMk id="40" creationId="{76D7137B-54BD-3179-AA75-3165B21B5697}"/>
          </ac:spMkLst>
        </pc:spChg>
        <pc:spChg chg="mod">
          <ac:chgData name="内山 裕弥" userId="8d34b9d0-ec49-418d-b1de-019cf6b56da5" providerId="ADAL" clId="{154816C8-82C4-4E4B-ADDD-BBC9EE556CCD}" dt="2025-02-07T06:50:00.250" v="1662" actId="571"/>
          <ac:spMkLst>
            <pc:docMk/>
            <pc:sldMk cId="2807815468" sldId="2147378693"/>
            <ac:spMk id="45" creationId="{64D9379D-C3F0-2D10-E1BF-8E5E4D034D70}"/>
          </ac:spMkLst>
        </pc:spChg>
        <pc:spChg chg="mod">
          <ac:chgData name="内山 裕弥" userId="8d34b9d0-ec49-418d-b1de-019cf6b56da5" providerId="ADAL" clId="{154816C8-82C4-4E4B-ADDD-BBC9EE556CCD}" dt="2025-02-07T06:50:00.250" v="1662" actId="571"/>
          <ac:spMkLst>
            <pc:docMk/>
            <pc:sldMk cId="2807815468" sldId="2147378693"/>
            <ac:spMk id="46" creationId="{B3C71F3D-6743-3874-A1BA-EC87DA9A7DCB}"/>
          </ac:spMkLst>
        </pc:spChg>
        <pc:spChg chg="mod">
          <ac:chgData name="内山 裕弥" userId="8d34b9d0-ec49-418d-b1de-019cf6b56da5" providerId="ADAL" clId="{154816C8-82C4-4E4B-ADDD-BBC9EE556CCD}" dt="2025-02-07T06:50:00.250" v="1662" actId="571"/>
          <ac:spMkLst>
            <pc:docMk/>
            <pc:sldMk cId="2807815468" sldId="2147378693"/>
            <ac:spMk id="47" creationId="{8F6A7759-5C5B-3F81-2CE5-E9C59B352F9E}"/>
          </ac:spMkLst>
        </pc:spChg>
        <pc:spChg chg="mod">
          <ac:chgData name="内山 裕弥" userId="8d34b9d0-ec49-418d-b1de-019cf6b56da5" providerId="ADAL" clId="{154816C8-82C4-4E4B-ADDD-BBC9EE556CCD}" dt="2025-02-07T06:50:00.250" v="1662" actId="571"/>
          <ac:spMkLst>
            <pc:docMk/>
            <pc:sldMk cId="2807815468" sldId="2147378693"/>
            <ac:spMk id="48" creationId="{C18B397C-7510-1CCD-C350-D6D6065E9D43}"/>
          </ac:spMkLst>
        </pc:spChg>
        <pc:spChg chg="mod">
          <ac:chgData name="内山 裕弥" userId="8d34b9d0-ec49-418d-b1de-019cf6b56da5" providerId="ADAL" clId="{154816C8-82C4-4E4B-ADDD-BBC9EE556CCD}" dt="2025-02-07T06:50:00.250" v="1662" actId="571"/>
          <ac:spMkLst>
            <pc:docMk/>
            <pc:sldMk cId="2807815468" sldId="2147378693"/>
            <ac:spMk id="49" creationId="{0C6635D2-56FF-5A28-B5CB-F183C7EBC519}"/>
          </ac:spMkLst>
        </pc:spChg>
        <pc:spChg chg="mod">
          <ac:chgData name="内山 裕弥" userId="8d34b9d0-ec49-418d-b1de-019cf6b56da5" providerId="ADAL" clId="{154816C8-82C4-4E4B-ADDD-BBC9EE556CCD}" dt="2025-02-07T06:50:00.250" v="1662" actId="571"/>
          <ac:spMkLst>
            <pc:docMk/>
            <pc:sldMk cId="2807815468" sldId="2147378693"/>
            <ac:spMk id="51" creationId="{0D58F725-AFEB-F0BE-DD62-34378E061F46}"/>
          </ac:spMkLst>
        </pc:spChg>
        <pc:spChg chg="mod">
          <ac:chgData name="内山 裕弥" userId="8d34b9d0-ec49-418d-b1de-019cf6b56da5" providerId="ADAL" clId="{154816C8-82C4-4E4B-ADDD-BBC9EE556CCD}" dt="2025-02-07T06:50:00.250" v="1662" actId="571"/>
          <ac:spMkLst>
            <pc:docMk/>
            <pc:sldMk cId="2807815468" sldId="2147378693"/>
            <ac:spMk id="52" creationId="{D391A424-631E-55A8-F05F-089D7F169B1F}"/>
          </ac:spMkLst>
        </pc:spChg>
        <pc:spChg chg="mod">
          <ac:chgData name="内山 裕弥" userId="8d34b9d0-ec49-418d-b1de-019cf6b56da5" providerId="ADAL" clId="{154816C8-82C4-4E4B-ADDD-BBC9EE556CCD}" dt="2025-02-07T06:50:00.250" v="1662" actId="571"/>
          <ac:spMkLst>
            <pc:docMk/>
            <pc:sldMk cId="2807815468" sldId="2147378693"/>
            <ac:spMk id="53" creationId="{4B99C50D-BDBB-0B86-C10F-B488ABA3AFF7}"/>
          </ac:spMkLst>
        </pc:spChg>
        <pc:spChg chg="mod">
          <ac:chgData name="内山 裕弥" userId="8d34b9d0-ec49-418d-b1de-019cf6b56da5" providerId="ADAL" clId="{154816C8-82C4-4E4B-ADDD-BBC9EE556CCD}" dt="2025-02-07T06:50:00.250" v="1662" actId="571"/>
          <ac:spMkLst>
            <pc:docMk/>
            <pc:sldMk cId="2807815468" sldId="2147378693"/>
            <ac:spMk id="55" creationId="{40F2A059-03F1-373C-F00A-447373CC6C95}"/>
          </ac:spMkLst>
        </pc:spChg>
        <pc:spChg chg="mod">
          <ac:chgData name="内山 裕弥" userId="8d34b9d0-ec49-418d-b1de-019cf6b56da5" providerId="ADAL" clId="{154816C8-82C4-4E4B-ADDD-BBC9EE556CCD}" dt="2025-02-07T06:50:00.250" v="1662" actId="571"/>
          <ac:spMkLst>
            <pc:docMk/>
            <pc:sldMk cId="2807815468" sldId="2147378693"/>
            <ac:spMk id="58" creationId="{26C08686-1255-0816-2C28-BBEC3196ACEF}"/>
          </ac:spMkLst>
        </pc:spChg>
        <pc:spChg chg="mod">
          <ac:chgData name="内山 裕弥" userId="8d34b9d0-ec49-418d-b1de-019cf6b56da5" providerId="ADAL" clId="{154816C8-82C4-4E4B-ADDD-BBC9EE556CCD}" dt="2025-02-07T06:54:29.494" v="2186" actId="20577"/>
          <ac:spMkLst>
            <pc:docMk/>
            <pc:sldMk cId="2807815468" sldId="2147378693"/>
            <ac:spMk id="63" creationId="{A2DD071A-0195-2A3C-E9A9-9816FA37D9AC}"/>
          </ac:spMkLst>
        </pc:spChg>
        <pc:spChg chg="mod">
          <ac:chgData name="内山 裕弥" userId="8d34b9d0-ec49-418d-b1de-019cf6b56da5" providerId="ADAL" clId="{154816C8-82C4-4E4B-ADDD-BBC9EE556CCD}" dt="2025-02-07T06:50:23.546" v="1670" actId="571"/>
          <ac:spMkLst>
            <pc:docMk/>
            <pc:sldMk cId="2807815468" sldId="2147378693"/>
            <ac:spMk id="64" creationId="{28FBAFC8-996E-0183-6007-B849C0563E70}"/>
          </ac:spMkLst>
        </pc:spChg>
        <pc:spChg chg="mod">
          <ac:chgData name="内山 裕弥" userId="8d34b9d0-ec49-418d-b1de-019cf6b56da5" providerId="ADAL" clId="{154816C8-82C4-4E4B-ADDD-BBC9EE556CCD}" dt="2025-02-07T06:50:23.546" v="1670" actId="571"/>
          <ac:spMkLst>
            <pc:docMk/>
            <pc:sldMk cId="2807815468" sldId="2147378693"/>
            <ac:spMk id="65" creationId="{57E669E2-341F-5DE9-FC08-5F8B104ABB91}"/>
          </ac:spMkLst>
        </pc:spChg>
        <pc:spChg chg="mod">
          <ac:chgData name="内山 裕弥" userId="8d34b9d0-ec49-418d-b1de-019cf6b56da5" providerId="ADAL" clId="{154816C8-82C4-4E4B-ADDD-BBC9EE556CCD}" dt="2025-02-07T06:54:10.790" v="2101" actId="20577"/>
          <ac:spMkLst>
            <pc:docMk/>
            <pc:sldMk cId="2807815468" sldId="2147378693"/>
            <ac:spMk id="66" creationId="{54572A44-0063-17F4-A674-86C0FB7C73F2}"/>
          </ac:spMkLst>
        </pc:spChg>
        <pc:spChg chg="mod">
          <ac:chgData name="内山 裕弥" userId="8d34b9d0-ec49-418d-b1de-019cf6b56da5" providerId="ADAL" clId="{154816C8-82C4-4E4B-ADDD-BBC9EE556CCD}" dt="2025-02-07T06:50:23.546" v="1670" actId="571"/>
          <ac:spMkLst>
            <pc:docMk/>
            <pc:sldMk cId="2807815468" sldId="2147378693"/>
            <ac:spMk id="67" creationId="{6AC2A3AA-E327-22E1-E253-51EC5732E01C}"/>
          </ac:spMkLst>
        </pc:spChg>
        <pc:spChg chg="mod">
          <ac:chgData name="内山 裕弥" userId="8d34b9d0-ec49-418d-b1de-019cf6b56da5" providerId="ADAL" clId="{154816C8-82C4-4E4B-ADDD-BBC9EE556CCD}" dt="2025-02-07T06:50:23.546" v="1670" actId="571"/>
          <ac:spMkLst>
            <pc:docMk/>
            <pc:sldMk cId="2807815468" sldId="2147378693"/>
            <ac:spMk id="69" creationId="{7358E1F9-D900-FAEE-E5D4-01EE75FB2849}"/>
          </ac:spMkLst>
        </pc:spChg>
        <pc:spChg chg="mod">
          <ac:chgData name="内山 裕弥" userId="8d34b9d0-ec49-418d-b1de-019cf6b56da5" providerId="ADAL" clId="{154816C8-82C4-4E4B-ADDD-BBC9EE556CCD}" dt="2025-02-07T06:50:23.546" v="1670" actId="571"/>
          <ac:spMkLst>
            <pc:docMk/>
            <pc:sldMk cId="2807815468" sldId="2147378693"/>
            <ac:spMk id="70" creationId="{7A915EC5-6A47-E264-150F-DEF03C43B909}"/>
          </ac:spMkLst>
        </pc:spChg>
        <pc:spChg chg="mod">
          <ac:chgData name="内山 裕弥" userId="8d34b9d0-ec49-418d-b1de-019cf6b56da5" providerId="ADAL" clId="{154816C8-82C4-4E4B-ADDD-BBC9EE556CCD}" dt="2025-02-07T06:50:23.546" v="1670" actId="571"/>
          <ac:spMkLst>
            <pc:docMk/>
            <pc:sldMk cId="2807815468" sldId="2147378693"/>
            <ac:spMk id="71" creationId="{165F6F7B-4849-9CE4-9B86-5DADDC407858}"/>
          </ac:spMkLst>
        </pc:spChg>
        <pc:spChg chg="mod">
          <ac:chgData name="内山 裕弥" userId="8d34b9d0-ec49-418d-b1de-019cf6b56da5" providerId="ADAL" clId="{154816C8-82C4-4E4B-ADDD-BBC9EE556CCD}" dt="2025-02-07T06:54:22.911" v="2177" actId="20577"/>
          <ac:spMkLst>
            <pc:docMk/>
            <pc:sldMk cId="2807815468" sldId="2147378693"/>
            <ac:spMk id="73" creationId="{A1182C33-73BA-46AF-E45C-70818F73D3ED}"/>
          </ac:spMkLst>
        </pc:spChg>
        <pc:spChg chg="mod">
          <ac:chgData name="内山 裕弥" userId="8d34b9d0-ec49-418d-b1de-019cf6b56da5" providerId="ADAL" clId="{154816C8-82C4-4E4B-ADDD-BBC9EE556CCD}" dt="2025-02-07T06:50:23.546" v="1670" actId="571"/>
          <ac:spMkLst>
            <pc:docMk/>
            <pc:sldMk cId="2807815468" sldId="2147378693"/>
            <ac:spMk id="76" creationId="{5CDBB21D-8256-9E2D-F47A-638BA24F5F38}"/>
          </ac:spMkLst>
        </pc:spChg>
        <pc:spChg chg="mod">
          <ac:chgData name="内山 裕弥" userId="8d34b9d0-ec49-418d-b1de-019cf6b56da5" providerId="ADAL" clId="{154816C8-82C4-4E4B-ADDD-BBC9EE556CCD}" dt="2025-02-07T06:56:10.625" v="2541" actId="20577"/>
          <ac:spMkLst>
            <pc:docMk/>
            <pc:sldMk cId="2807815468" sldId="2147378693"/>
            <ac:spMk id="81" creationId="{8AFA2A95-0A68-5666-F467-EF21BDC88A70}"/>
          </ac:spMkLst>
        </pc:spChg>
        <pc:spChg chg="del mod">
          <ac:chgData name="内山 裕弥" userId="8d34b9d0-ec49-418d-b1de-019cf6b56da5" providerId="ADAL" clId="{154816C8-82C4-4E4B-ADDD-BBC9EE556CCD}" dt="2025-02-07T06:57:01.380" v="2802" actId="21"/>
          <ac:spMkLst>
            <pc:docMk/>
            <pc:sldMk cId="2807815468" sldId="2147378693"/>
            <ac:spMk id="82" creationId="{4B674FAD-1EE7-8BED-6004-E5737CB5D806}"/>
          </ac:spMkLst>
        </pc:spChg>
        <pc:spChg chg="mod">
          <ac:chgData name="内山 裕弥" userId="8d34b9d0-ec49-418d-b1de-019cf6b56da5" providerId="ADAL" clId="{154816C8-82C4-4E4B-ADDD-BBC9EE556CCD}" dt="2025-02-07T06:56:41.390" v="2677" actId="404"/>
          <ac:spMkLst>
            <pc:docMk/>
            <pc:sldMk cId="2807815468" sldId="2147378693"/>
            <ac:spMk id="83" creationId="{69F23CBD-6543-7D9D-3CFC-2AACB5B6B755}"/>
          </ac:spMkLst>
        </pc:spChg>
        <pc:spChg chg="mod">
          <ac:chgData name="内山 裕弥" userId="8d34b9d0-ec49-418d-b1de-019cf6b56da5" providerId="ADAL" clId="{154816C8-82C4-4E4B-ADDD-BBC9EE556CCD}" dt="2025-02-07T06:55:45.283" v="2436" actId="20577"/>
          <ac:spMkLst>
            <pc:docMk/>
            <pc:sldMk cId="2807815468" sldId="2147378693"/>
            <ac:spMk id="84" creationId="{9197490C-72EA-94C9-06C1-E9F805BB8059}"/>
          </ac:spMkLst>
        </pc:spChg>
        <pc:spChg chg="mod">
          <ac:chgData name="内山 裕弥" userId="8d34b9d0-ec49-418d-b1de-019cf6b56da5" providerId="ADAL" clId="{154816C8-82C4-4E4B-ADDD-BBC9EE556CCD}" dt="2025-02-07T06:55:17.832" v="2277" actId="20577"/>
          <ac:spMkLst>
            <pc:docMk/>
            <pc:sldMk cId="2807815468" sldId="2147378693"/>
            <ac:spMk id="85" creationId="{6A3CA049-1026-4F94-4A3D-446552F57538}"/>
          </ac:spMkLst>
        </pc:spChg>
        <pc:spChg chg="mod">
          <ac:chgData name="内山 裕弥" userId="8d34b9d0-ec49-418d-b1de-019cf6b56da5" providerId="ADAL" clId="{154816C8-82C4-4E4B-ADDD-BBC9EE556CCD}" dt="2025-02-07T06:56:25.153" v="2621" actId="20577"/>
          <ac:spMkLst>
            <pc:docMk/>
            <pc:sldMk cId="2807815468" sldId="2147378693"/>
            <ac:spMk id="87" creationId="{1E702FFE-EC5B-59C1-0867-10C3A49EC422}"/>
          </ac:spMkLst>
        </pc:spChg>
        <pc:spChg chg="del mod">
          <ac:chgData name="内山 裕弥" userId="8d34b9d0-ec49-418d-b1de-019cf6b56da5" providerId="ADAL" clId="{154816C8-82C4-4E4B-ADDD-BBC9EE556CCD}" dt="2025-02-07T06:57:02.823" v="2803" actId="21"/>
          <ac:spMkLst>
            <pc:docMk/>
            <pc:sldMk cId="2807815468" sldId="2147378693"/>
            <ac:spMk id="88" creationId="{ED34420C-3D02-E0F5-09F3-07C17CE91713}"/>
          </ac:spMkLst>
        </pc:spChg>
        <pc:spChg chg="mod">
          <ac:chgData name="内山 裕弥" userId="8d34b9d0-ec49-418d-b1de-019cf6b56da5" providerId="ADAL" clId="{154816C8-82C4-4E4B-ADDD-BBC9EE556CCD}" dt="2025-02-07T06:56:58.148" v="2801" actId="20577"/>
          <ac:spMkLst>
            <pc:docMk/>
            <pc:sldMk cId="2807815468" sldId="2147378693"/>
            <ac:spMk id="89" creationId="{0E60EBF1-9844-4160-B79F-D64343B948C5}"/>
          </ac:spMkLst>
        </pc:spChg>
        <pc:spChg chg="mod">
          <ac:chgData name="内山 裕弥" userId="8d34b9d0-ec49-418d-b1de-019cf6b56da5" providerId="ADAL" clId="{154816C8-82C4-4E4B-ADDD-BBC9EE556CCD}" dt="2025-02-07T06:55:55.367" v="2512" actId="20577"/>
          <ac:spMkLst>
            <pc:docMk/>
            <pc:sldMk cId="2807815468" sldId="2147378693"/>
            <ac:spMk id="91" creationId="{4188C613-274B-CF4D-1B81-721EC623362D}"/>
          </ac:spMkLst>
        </pc:spChg>
        <pc:spChg chg="mod">
          <ac:chgData name="内山 裕弥" userId="8d34b9d0-ec49-418d-b1de-019cf6b56da5" providerId="ADAL" clId="{154816C8-82C4-4E4B-ADDD-BBC9EE556CCD}" dt="2025-02-07T06:55:37.761" v="2400" actId="20577"/>
          <ac:spMkLst>
            <pc:docMk/>
            <pc:sldMk cId="2807815468" sldId="2147378693"/>
            <ac:spMk id="94" creationId="{4AA2B181-3ED9-1C50-DDE8-63B29F94C261}"/>
          </ac:spMkLst>
        </pc:spChg>
        <pc:spChg chg="add mod">
          <ac:chgData name="内山 裕弥" userId="8d34b9d0-ec49-418d-b1de-019cf6b56da5" providerId="ADAL" clId="{154816C8-82C4-4E4B-ADDD-BBC9EE556CCD}" dt="2025-02-07T06:52:08.479" v="1770" actId="1076"/>
          <ac:spMkLst>
            <pc:docMk/>
            <pc:sldMk cId="2807815468" sldId="2147378693"/>
            <ac:spMk id="98" creationId="{F96A4FAA-8BC6-ACDA-9A48-2C955E618C39}"/>
          </ac:spMkLst>
        </pc:spChg>
        <pc:spChg chg="add mod">
          <ac:chgData name="内山 裕弥" userId="8d34b9d0-ec49-418d-b1de-019cf6b56da5" providerId="ADAL" clId="{154816C8-82C4-4E4B-ADDD-BBC9EE556CCD}" dt="2025-02-07T06:52:08.479" v="1770" actId="1076"/>
          <ac:spMkLst>
            <pc:docMk/>
            <pc:sldMk cId="2807815468" sldId="2147378693"/>
            <ac:spMk id="99" creationId="{677FBB95-C85F-129E-221F-CCED023067AB}"/>
          </ac:spMkLst>
        </pc:spChg>
        <pc:spChg chg="add mod">
          <ac:chgData name="内山 裕弥" userId="8d34b9d0-ec49-418d-b1de-019cf6b56da5" providerId="ADAL" clId="{154816C8-82C4-4E4B-ADDD-BBC9EE556CCD}" dt="2025-02-07T06:52:08.479" v="1770" actId="1076"/>
          <ac:spMkLst>
            <pc:docMk/>
            <pc:sldMk cId="2807815468" sldId="2147378693"/>
            <ac:spMk id="100" creationId="{792ED3B5-00B5-1B9D-E8C7-7E30A7FC9B67}"/>
          </ac:spMkLst>
        </pc:spChg>
        <pc:spChg chg="add mod">
          <ac:chgData name="内山 裕弥" userId="8d34b9d0-ec49-418d-b1de-019cf6b56da5" providerId="ADAL" clId="{154816C8-82C4-4E4B-ADDD-BBC9EE556CCD}" dt="2025-02-07T06:57:36.034" v="2994" actId="20577"/>
          <ac:spMkLst>
            <pc:docMk/>
            <pc:sldMk cId="2807815468" sldId="2147378693"/>
            <ac:spMk id="101" creationId="{E1C966D4-D0DE-6EFA-035B-F40658EB06CF}"/>
          </ac:spMkLst>
        </pc:spChg>
        <pc:grpChg chg="add mod">
          <ac:chgData name="内山 裕弥" userId="8d34b9d0-ec49-418d-b1de-019cf6b56da5" providerId="ADAL" clId="{154816C8-82C4-4E4B-ADDD-BBC9EE556CCD}" dt="2025-02-07T06:52:08.479" v="1770" actId="1076"/>
          <ac:grpSpMkLst>
            <pc:docMk/>
            <pc:sldMk cId="2807815468" sldId="2147378693"/>
            <ac:grpSpMk id="10" creationId="{FBAF55BB-E4B0-AE23-D5D2-827B5EBA3E3C}"/>
          </ac:grpSpMkLst>
        </pc:grpChg>
        <pc:grpChg chg="add mod">
          <ac:chgData name="内山 裕弥" userId="8d34b9d0-ec49-418d-b1de-019cf6b56da5" providerId="ADAL" clId="{154816C8-82C4-4E4B-ADDD-BBC9EE556CCD}" dt="2025-02-07T06:52:08.479" v="1770" actId="1076"/>
          <ac:grpSpMkLst>
            <pc:docMk/>
            <pc:sldMk cId="2807815468" sldId="2147378693"/>
            <ac:grpSpMk id="12" creationId="{DE9A25B3-25A2-B5BF-14C4-27AA8D366DE2}"/>
          </ac:grpSpMkLst>
        </pc:grpChg>
        <pc:grpChg chg="mod">
          <ac:chgData name="内山 裕弥" userId="8d34b9d0-ec49-418d-b1de-019cf6b56da5" providerId="ADAL" clId="{154816C8-82C4-4E4B-ADDD-BBC9EE556CCD}" dt="2025-02-07T06:49:06.139" v="1649" actId="164"/>
          <ac:grpSpMkLst>
            <pc:docMk/>
            <pc:sldMk cId="2807815468" sldId="2147378693"/>
            <ac:grpSpMk id="16" creationId="{08B3324E-91C1-4874-3F35-2817C2801105}"/>
          </ac:grpSpMkLst>
        </pc:grpChg>
        <pc:grpChg chg="add del mod">
          <ac:chgData name="内山 裕弥" userId="8d34b9d0-ec49-418d-b1de-019cf6b56da5" providerId="ADAL" clId="{154816C8-82C4-4E4B-ADDD-BBC9EE556CCD}" dt="2025-02-07T06:50:03.759" v="1663" actId="478"/>
          <ac:grpSpMkLst>
            <pc:docMk/>
            <pc:sldMk cId="2807815468" sldId="2147378693"/>
            <ac:grpSpMk id="26" creationId="{E23EE756-A55F-F850-FD0C-3B5A44165DD6}"/>
          </ac:grpSpMkLst>
        </pc:grpChg>
        <pc:grpChg chg="add del mod">
          <ac:chgData name="内山 裕弥" userId="8d34b9d0-ec49-418d-b1de-019cf6b56da5" providerId="ADAL" clId="{154816C8-82C4-4E4B-ADDD-BBC9EE556CCD}" dt="2025-02-07T06:50:03.759" v="1663" actId="478"/>
          <ac:grpSpMkLst>
            <pc:docMk/>
            <pc:sldMk cId="2807815468" sldId="2147378693"/>
            <ac:grpSpMk id="32" creationId="{754EE60D-039C-7251-B9E3-D2552C6D4A30}"/>
          </ac:grpSpMkLst>
        </pc:grpChg>
        <pc:grpChg chg="mod">
          <ac:chgData name="内山 裕弥" userId="8d34b9d0-ec49-418d-b1de-019cf6b56da5" providerId="ADAL" clId="{154816C8-82C4-4E4B-ADDD-BBC9EE556CCD}" dt="2025-02-07T06:49:37.603" v="1657" actId="571"/>
          <ac:grpSpMkLst>
            <pc:docMk/>
            <pc:sldMk cId="2807815468" sldId="2147378693"/>
            <ac:grpSpMk id="36" creationId="{49F39D85-A3F0-0EE5-DD8B-8F0C356116B8}"/>
          </ac:grpSpMkLst>
        </pc:grpChg>
        <pc:grpChg chg="add mod">
          <ac:chgData name="内山 裕弥" userId="8d34b9d0-ec49-418d-b1de-019cf6b56da5" providerId="ADAL" clId="{154816C8-82C4-4E4B-ADDD-BBC9EE556CCD}" dt="2025-02-07T06:50:00.250" v="1662" actId="571"/>
          <ac:grpSpMkLst>
            <pc:docMk/>
            <pc:sldMk cId="2807815468" sldId="2147378693"/>
            <ac:grpSpMk id="44" creationId="{83990A34-F6F1-907E-269A-0E1F23603A19}"/>
          </ac:grpSpMkLst>
        </pc:grpChg>
        <pc:grpChg chg="add mod">
          <ac:chgData name="内山 裕弥" userId="8d34b9d0-ec49-418d-b1de-019cf6b56da5" providerId="ADAL" clId="{154816C8-82C4-4E4B-ADDD-BBC9EE556CCD}" dt="2025-02-07T06:50:00.250" v="1662" actId="571"/>
          <ac:grpSpMkLst>
            <pc:docMk/>
            <pc:sldMk cId="2807815468" sldId="2147378693"/>
            <ac:grpSpMk id="50" creationId="{78B599B3-DE91-B076-501B-56FBDAD7DA95}"/>
          </ac:grpSpMkLst>
        </pc:grpChg>
        <pc:grpChg chg="mod">
          <ac:chgData name="内山 裕弥" userId="8d34b9d0-ec49-418d-b1de-019cf6b56da5" providerId="ADAL" clId="{154816C8-82C4-4E4B-ADDD-BBC9EE556CCD}" dt="2025-02-07T06:50:00.250" v="1662" actId="571"/>
          <ac:grpSpMkLst>
            <pc:docMk/>
            <pc:sldMk cId="2807815468" sldId="2147378693"/>
            <ac:grpSpMk id="54" creationId="{54CF1422-D5C4-8BAA-D5AF-41ED23CB1D3F}"/>
          </ac:grpSpMkLst>
        </pc:grpChg>
        <pc:grpChg chg="add mod">
          <ac:chgData name="内山 裕弥" userId="8d34b9d0-ec49-418d-b1de-019cf6b56da5" providerId="ADAL" clId="{154816C8-82C4-4E4B-ADDD-BBC9EE556CCD}" dt="2025-02-07T06:52:08.479" v="1770" actId="1076"/>
          <ac:grpSpMkLst>
            <pc:docMk/>
            <pc:sldMk cId="2807815468" sldId="2147378693"/>
            <ac:grpSpMk id="62" creationId="{32148F1B-F2CD-569D-6055-4366DB65509B}"/>
          </ac:grpSpMkLst>
        </pc:grpChg>
        <pc:grpChg chg="add mod">
          <ac:chgData name="内山 裕弥" userId="8d34b9d0-ec49-418d-b1de-019cf6b56da5" providerId="ADAL" clId="{154816C8-82C4-4E4B-ADDD-BBC9EE556CCD}" dt="2025-02-07T06:52:08.479" v="1770" actId="1076"/>
          <ac:grpSpMkLst>
            <pc:docMk/>
            <pc:sldMk cId="2807815468" sldId="2147378693"/>
            <ac:grpSpMk id="68" creationId="{EC9AA473-ED0E-44FE-78A7-001C26A58BF8}"/>
          </ac:grpSpMkLst>
        </pc:grpChg>
        <pc:grpChg chg="mod">
          <ac:chgData name="内山 裕弥" userId="8d34b9d0-ec49-418d-b1de-019cf6b56da5" providerId="ADAL" clId="{154816C8-82C4-4E4B-ADDD-BBC9EE556CCD}" dt="2025-02-07T06:50:23.546" v="1670" actId="571"/>
          <ac:grpSpMkLst>
            <pc:docMk/>
            <pc:sldMk cId="2807815468" sldId="2147378693"/>
            <ac:grpSpMk id="72" creationId="{F98FC4B4-907B-9AB1-5E5E-D7CE049F6B9B}"/>
          </ac:grpSpMkLst>
        </pc:grpChg>
        <pc:grpChg chg="add mod">
          <ac:chgData name="内山 裕弥" userId="8d34b9d0-ec49-418d-b1de-019cf6b56da5" providerId="ADAL" clId="{154816C8-82C4-4E4B-ADDD-BBC9EE556CCD}" dt="2025-02-07T06:52:08.479" v="1770" actId="1076"/>
          <ac:grpSpMkLst>
            <pc:docMk/>
            <pc:sldMk cId="2807815468" sldId="2147378693"/>
            <ac:grpSpMk id="80" creationId="{72475D61-7C98-64F9-5265-E5444D31E86A}"/>
          </ac:grpSpMkLst>
        </pc:grpChg>
        <pc:grpChg chg="add mod">
          <ac:chgData name="内山 裕弥" userId="8d34b9d0-ec49-418d-b1de-019cf6b56da5" providerId="ADAL" clId="{154816C8-82C4-4E4B-ADDD-BBC9EE556CCD}" dt="2025-02-07T06:57:04.243" v="2805" actId="1076"/>
          <ac:grpSpMkLst>
            <pc:docMk/>
            <pc:sldMk cId="2807815468" sldId="2147378693"/>
            <ac:grpSpMk id="86" creationId="{DA4A3C24-040A-3EFC-BA3E-412B0C9D6C6E}"/>
          </ac:grpSpMkLst>
        </pc:grpChg>
        <pc:grpChg chg="mod">
          <ac:chgData name="内山 裕弥" userId="8d34b9d0-ec49-418d-b1de-019cf6b56da5" providerId="ADAL" clId="{154816C8-82C4-4E4B-ADDD-BBC9EE556CCD}" dt="2025-02-07T06:50:26.833" v="1671" actId="571"/>
          <ac:grpSpMkLst>
            <pc:docMk/>
            <pc:sldMk cId="2807815468" sldId="2147378693"/>
            <ac:grpSpMk id="90" creationId="{9789092A-ADF8-8875-D849-6AA2B3E73981}"/>
          </ac:grpSpMkLst>
        </pc:grpChg>
        <pc:cxnChg chg="mod">
          <ac:chgData name="内山 裕弥" userId="8d34b9d0-ec49-418d-b1de-019cf6b56da5" providerId="ADAL" clId="{154816C8-82C4-4E4B-ADDD-BBC9EE556CCD}" dt="2025-02-07T06:49:06.139" v="1649" actId="164"/>
          <ac:cxnSpMkLst>
            <pc:docMk/>
            <pc:sldMk cId="2807815468" sldId="2147378693"/>
            <ac:cxnSpMk id="19" creationId="{E7C7F916-235D-983C-D6F4-0BA1A1C6781E}"/>
          </ac:cxnSpMkLst>
        </pc:cxnChg>
        <pc:cxnChg chg="mod">
          <ac:chgData name="内山 裕弥" userId="8d34b9d0-ec49-418d-b1de-019cf6b56da5" providerId="ADAL" clId="{154816C8-82C4-4E4B-ADDD-BBC9EE556CCD}" dt="2025-02-07T06:49:06.139" v="1649" actId="164"/>
          <ac:cxnSpMkLst>
            <pc:docMk/>
            <pc:sldMk cId="2807815468" sldId="2147378693"/>
            <ac:cxnSpMk id="21" creationId="{90FE5543-3C4B-40E6-C0AB-E10A0C3BC1C2}"/>
          </ac:cxnSpMkLst>
        </pc:cxnChg>
        <pc:cxnChg chg="mod">
          <ac:chgData name="内山 裕弥" userId="8d34b9d0-ec49-418d-b1de-019cf6b56da5" providerId="ADAL" clId="{154816C8-82C4-4E4B-ADDD-BBC9EE556CCD}" dt="2025-02-07T06:49:37.603" v="1657" actId="571"/>
          <ac:cxnSpMkLst>
            <pc:docMk/>
            <pc:sldMk cId="2807815468" sldId="2147378693"/>
            <ac:cxnSpMk id="38" creationId="{D7A5088A-E91E-28B9-7BAF-B6C1E5CBCFA9}"/>
          </ac:cxnSpMkLst>
        </pc:cxnChg>
        <pc:cxnChg chg="mod">
          <ac:chgData name="内山 裕弥" userId="8d34b9d0-ec49-418d-b1de-019cf6b56da5" providerId="ADAL" clId="{154816C8-82C4-4E4B-ADDD-BBC9EE556CCD}" dt="2025-02-07T06:49:37.603" v="1657" actId="571"/>
          <ac:cxnSpMkLst>
            <pc:docMk/>
            <pc:sldMk cId="2807815468" sldId="2147378693"/>
            <ac:cxnSpMk id="39" creationId="{58388AC1-5560-BA96-B94C-12E6922E310D}"/>
          </ac:cxnSpMkLst>
        </pc:cxnChg>
        <pc:cxnChg chg="mod">
          <ac:chgData name="内山 裕弥" userId="8d34b9d0-ec49-418d-b1de-019cf6b56da5" providerId="ADAL" clId="{154816C8-82C4-4E4B-ADDD-BBC9EE556CCD}" dt="2025-02-07T06:49:37.603" v="1657" actId="571"/>
          <ac:cxnSpMkLst>
            <pc:docMk/>
            <pc:sldMk cId="2807815468" sldId="2147378693"/>
            <ac:cxnSpMk id="41" creationId="{7ACF82C2-2CFF-067C-889D-6B80B66FCFDE}"/>
          </ac:cxnSpMkLst>
        </pc:cxnChg>
        <pc:cxnChg chg="mod">
          <ac:chgData name="内山 裕弥" userId="8d34b9d0-ec49-418d-b1de-019cf6b56da5" providerId="ADAL" clId="{154816C8-82C4-4E4B-ADDD-BBC9EE556CCD}" dt="2025-02-07T06:49:37.603" v="1657" actId="571"/>
          <ac:cxnSpMkLst>
            <pc:docMk/>
            <pc:sldMk cId="2807815468" sldId="2147378693"/>
            <ac:cxnSpMk id="42" creationId="{11D289F7-80D7-62F8-972E-59D85B6BB230}"/>
          </ac:cxnSpMkLst>
        </pc:cxnChg>
        <pc:cxnChg chg="mod">
          <ac:chgData name="内山 裕弥" userId="8d34b9d0-ec49-418d-b1de-019cf6b56da5" providerId="ADAL" clId="{154816C8-82C4-4E4B-ADDD-BBC9EE556CCD}" dt="2025-02-07T06:49:37.603" v="1657" actId="571"/>
          <ac:cxnSpMkLst>
            <pc:docMk/>
            <pc:sldMk cId="2807815468" sldId="2147378693"/>
            <ac:cxnSpMk id="43" creationId="{288E5313-5966-513D-FA8D-37A1EC270ADF}"/>
          </ac:cxnSpMkLst>
        </pc:cxnChg>
        <pc:cxnChg chg="mod">
          <ac:chgData name="内山 裕弥" userId="8d34b9d0-ec49-418d-b1de-019cf6b56da5" providerId="ADAL" clId="{154816C8-82C4-4E4B-ADDD-BBC9EE556CCD}" dt="2025-02-07T06:50:00.250" v="1662" actId="571"/>
          <ac:cxnSpMkLst>
            <pc:docMk/>
            <pc:sldMk cId="2807815468" sldId="2147378693"/>
            <ac:cxnSpMk id="56" creationId="{41E14AFD-A5C4-4B05-A53A-88812565D94D}"/>
          </ac:cxnSpMkLst>
        </pc:cxnChg>
        <pc:cxnChg chg="mod">
          <ac:chgData name="内山 裕弥" userId="8d34b9d0-ec49-418d-b1de-019cf6b56da5" providerId="ADAL" clId="{154816C8-82C4-4E4B-ADDD-BBC9EE556CCD}" dt="2025-02-07T06:50:00.250" v="1662" actId="571"/>
          <ac:cxnSpMkLst>
            <pc:docMk/>
            <pc:sldMk cId="2807815468" sldId="2147378693"/>
            <ac:cxnSpMk id="57" creationId="{886969B5-773C-FDAD-CBB7-7E48913458F4}"/>
          </ac:cxnSpMkLst>
        </pc:cxnChg>
        <pc:cxnChg chg="mod">
          <ac:chgData name="内山 裕弥" userId="8d34b9d0-ec49-418d-b1de-019cf6b56da5" providerId="ADAL" clId="{154816C8-82C4-4E4B-ADDD-BBC9EE556CCD}" dt="2025-02-07T06:50:00.250" v="1662" actId="571"/>
          <ac:cxnSpMkLst>
            <pc:docMk/>
            <pc:sldMk cId="2807815468" sldId="2147378693"/>
            <ac:cxnSpMk id="59" creationId="{748AC074-45CB-19AC-2974-BF59B7773988}"/>
          </ac:cxnSpMkLst>
        </pc:cxnChg>
        <pc:cxnChg chg="mod">
          <ac:chgData name="内山 裕弥" userId="8d34b9d0-ec49-418d-b1de-019cf6b56da5" providerId="ADAL" clId="{154816C8-82C4-4E4B-ADDD-BBC9EE556CCD}" dt="2025-02-07T06:50:00.250" v="1662" actId="571"/>
          <ac:cxnSpMkLst>
            <pc:docMk/>
            <pc:sldMk cId="2807815468" sldId="2147378693"/>
            <ac:cxnSpMk id="60" creationId="{408FB610-7D64-B799-2037-9E597E640488}"/>
          </ac:cxnSpMkLst>
        </pc:cxnChg>
        <pc:cxnChg chg="mod">
          <ac:chgData name="内山 裕弥" userId="8d34b9d0-ec49-418d-b1de-019cf6b56da5" providerId="ADAL" clId="{154816C8-82C4-4E4B-ADDD-BBC9EE556CCD}" dt="2025-02-07T06:50:00.250" v="1662" actId="571"/>
          <ac:cxnSpMkLst>
            <pc:docMk/>
            <pc:sldMk cId="2807815468" sldId="2147378693"/>
            <ac:cxnSpMk id="61" creationId="{E6B81B6C-F4C7-DF96-CAF7-F9044396F4DA}"/>
          </ac:cxnSpMkLst>
        </pc:cxnChg>
        <pc:cxnChg chg="mod">
          <ac:chgData name="内山 裕弥" userId="8d34b9d0-ec49-418d-b1de-019cf6b56da5" providerId="ADAL" clId="{154816C8-82C4-4E4B-ADDD-BBC9EE556CCD}" dt="2025-02-07T06:50:23.546" v="1670" actId="571"/>
          <ac:cxnSpMkLst>
            <pc:docMk/>
            <pc:sldMk cId="2807815468" sldId="2147378693"/>
            <ac:cxnSpMk id="74" creationId="{57FBA4DE-5E28-8287-B2DE-80DD15394B58}"/>
          </ac:cxnSpMkLst>
        </pc:cxnChg>
        <pc:cxnChg chg="mod">
          <ac:chgData name="内山 裕弥" userId="8d34b9d0-ec49-418d-b1de-019cf6b56da5" providerId="ADAL" clId="{154816C8-82C4-4E4B-ADDD-BBC9EE556CCD}" dt="2025-02-07T06:50:23.546" v="1670" actId="571"/>
          <ac:cxnSpMkLst>
            <pc:docMk/>
            <pc:sldMk cId="2807815468" sldId="2147378693"/>
            <ac:cxnSpMk id="75" creationId="{C77E21F4-C95D-6353-C439-E1C005A04274}"/>
          </ac:cxnSpMkLst>
        </pc:cxnChg>
        <pc:cxnChg chg="mod">
          <ac:chgData name="内山 裕弥" userId="8d34b9d0-ec49-418d-b1de-019cf6b56da5" providerId="ADAL" clId="{154816C8-82C4-4E4B-ADDD-BBC9EE556CCD}" dt="2025-02-07T06:50:23.546" v="1670" actId="571"/>
          <ac:cxnSpMkLst>
            <pc:docMk/>
            <pc:sldMk cId="2807815468" sldId="2147378693"/>
            <ac:cxnSpMk id="77" creationId="{AA056350-8AC9-2713-7475-13ABC01B4F40}"/>
          </ac:cxnSpMkLst>
        </pc:cxnChg>
        <pc:cxnChg chg="mod">
          <ac:chgData name="内山 裕弥" userId="8d34b9d0-ec49-418d-b1de-019cf6b56da5" providerId="ADAL" clId="{154816C8-82C4-4E4B-ADDD-BBC9EE556CCD}" dt="2025-02-07T06:50:23.546" v="1670" actId="571"/>
          <ac:cxnSpMkLst>
            <pc:docMk/>
            <pc:sldMk cId="2807815468" sldId="2147378693"/>
            <ac:cxnSpMk id="78" creationId="{A7255239-15B9-7B60-9EC2-7D4BB58554F7}"/>
          </ac:cxnSpMkLst>
        </pc:cxnChg>
        <pc:cxnChg chg="mod">
          <ac:chgData name="内山 裕弥" userId="8d34b9d0-ec49-418d-b1de-019cf6b56da5" providerId="ADAL" clId="{154816C8-82C4-4E4B-ADDD-BBC9EE556CCD}" dt="2025-02-07T06:50:23.546" v="1670" actId="571"/>
          <ac:cxnSpMkLst>
            <pc:docMk/>
            <pc:sldMk cId="2807815468" sldId="2147378693"/>
            <ac:cxnSpMk id="79" creationId="{EE91379F-71AC-4602-1EC0-EF8B33894B55}"/>
          </ac:cxnSpMkLst>
        </pc:cxnChg>
        <pc:cxnChg chg="mod">
          <ac:chgData name="内山 裕弥" userId="8d34b9d0-ec49-418d-b1de-019cf6b56da5" providerId="ADAL" clId="{154816C8-82C4-4E4B-ADDD-BBC9EE556CCD}" dt="2025-02-07T06:50:26.833" v="1671" actId="571"/>
          <ac:cxnSpMkLst>
            <pc:docMk/>
            <pc:sldMk cId="2807815468" sldId="2147378693"/>
            <ac:cxnSpMk id="92" creationId="{E92BC827-EABE-6102-3C7D-9A6036F7D40E}"/>
          </ac:cxnSpMkLst>
        </pc:cxnChg>
        <pc:cxnChg chg="mod">
          <ac:chgData name="内山 裕弥" userId="8d34b9d0-ec49-418d-b1de-019cf6b56da5" providerId="ADAL" clId="{154816C8-82C4-4E4B-ADDD-BBC9EE556CCD}" dt="2025-02-07T06:50:26.833" v="1671" actId="571"/>
          <ac:cxnSpMkLst>
            <pc:docMk/>
            <pc:sldMk cId="2807815468" sldId="2147378693"/>
            <ac:cxnSpMk id="93" creationId="{9BF2E7B7-F075-9744-A33B-137B00ABC96D}"/>
          </ac:cxnSpMkLst>
        </pc:cxnChg>
        <pc:cxnChg chg="mod">
          <ac:chgData name="内山 裕弥" userId="8d34b9d0-ec49-418d-b1de-019cf6b56da5" providerId="ADAL" clId="{154816C8-82C4-4E4B-ADDD-BBC9EE556CCD}" dt="2025-02-07T06:50:26.833" v="1671" actId="571"/>
          <ac:cxnSpMkLst>
            <pc:docMk/>
            <pc:sldMk cId="2807815468" sldId="2147378693"/>
            <ac:cxnSpMk id="95" creationId="{37BBD476-5CFC-0C07-085C-79CB28D8A685}"/>
          </ac:cxnSpMkLst>
        </pc:cxnChg>
        <pc:cxnChg chg="mod">
          <ac:chgData name="内山 裕弥" userId="8d34b9d0-ec49-418d-b1de-019cf6b56da5" providerId="ADAL" clId="{154816C8-82C4-4E4B-ADDD-BBC9EE556CCD}" dt="2025-02-07T06:50:26.833" v="1671" actId="571"/>
          <ac:cxnSpMkLst>
            <pc:docMk/>
            <pc:sldMk cId="2807815468" sldId="2147378693"/>
            <ac:cxnSpMk id="96" creationId="{5B8E2E58-6B75-5B68-38A9-844858570D7C}"/>
          </ac:cxnSpMkLst>
        </pc:cxnChg>
        <pc:cxnChg chg="del mod">
          <ac:chgData name="内山 裕弥" userId="8d34b9d0-ec49-418d-b1de-019cf6b56da5" providerId="ADAL" clId="{154816C8-82C4-4E4B-ADDD-BBC9EE556CCD}" dt="2025-02-07T06:57:05.495" v="2806" actId="21"/>
          <ac:cxnSpMkLst>
            <pc:docMk/>
            <pc:sldMk cId="2807815468" sldId="2147378693"/>
            <ac:cxnSpMk id="97" creationId="{8A2700C3-283C-C14A-10BD-11EFF9EF2061}"/>
          </ac:cxnSpMkLst>
        </pc:cxn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7T06:48:40.030" v="1640"/>
              <pc2:cmMkLst xmlns:pc2="http://schemas.microsoft.com/office/powerpoint/2019/9/main/command">
                <pc:docMk/>
                <pc:sldMk cId="2807815468" sldId="2147378693"/>
                <pc2:cmMk id="{43C4AD9C-A39F-4AB5-8E6D-BD89DBD01093}"/>
              </pc2:cmMkLst>
            </pc226:cmChg>
          </p:ext>
        </pc:extLst>
      </pc:sldChg>
      <pc:sldChg chg="modSp mod">
        <pc:chgData name="内山 裕弥" userId="8d34b9d0-ec49-418d-b1de-019cf6b56da5" providerId="ADAL" clId="{154816C8-82C4-4E4B-ADDD-BBC9EE556CCD}" dt="2025-02-07T06:57:13.749" v="2850" actId="27636"/>
        <pc:sldMkLst>
          <pc:docMk/>
          <pc:sldMk cId="1631142101" sldId="2147378694"/>
        </pc:sldMkLst>
        <pc:spChg chg="mod">
          <ac:chgData name="内山 裕弥" userId="8d34b9d0-ec49-418d-b1de-019cf6b56da5" providerId="ADAL" clId="{154816C8-82C4-4E4B-ADDD-BBC9EE556CCD}" dt="2025-02-07T06:57:13.749" v="2850" actId="27636"/>
          <ac:spMkLst>
            <pc:docMk/>
            <pc:sldMk cId="1631142101" sldId="2147378694"/>
            <ac:spMk id="8" creationId="{18A896CF-A1FA-6401-E928-F0D6723FDAA4}"/>
          </ac:spMkLst>
        </pc:spChg>
      </pc:sldChg>
      <pc:sldChg chg="modSp mod">
        <pc:chgData name="内山 裕弥" userId="8d34b9d0-ec49-418d-b1de-019cf6b56da5" providerId="ADAL" clId="{154816C8-82C4-4E4B-ADDD-BBC9EE556CCD}" dt="2025-02-06T06:24:08.160" v="128" actId="21"/>
        <pc:sldMkLst>
          <pc:docMk/>
          <pc:sldMk cId="444370572" sldId="2147378702"/>
        </pc:sldMkLst>
        <pc:spChg chg="mod">
          <ac:chgData name="内山 裕弥" userId="8d34b9d0-ec49-418d-b1de-019cf6b56da5" providerId="ADAL" clId="{154816C8-82C4-4E4B-ADDD-BBC9EE556CCD}" dt="2025-02-06T06:24:08.160" v="128" actId="21"/>
          <ac:spMkLst>
            <pc:docMk/>
            <pc:sldMk cId="444370572" sldId="2147378702"/>
            <ac:spMk id="9" creationId="{D22A0A06-D5A8-4A1A-B66F-2A8EDBD644F1}"/>
          </ac:spMkLst>
        </pc:spChg>
      </pc:sldChg>
      <pc:sldChg chg="modSp mod">
        <pc:chgData name="内山 裕弥" userId="8d34b9d0-ec49-418d-b1de-019cf6b56da5" providerId="ADAL" clId="{154816C8-82C4-4E4B-ADDD-BBC9EE556CCD}" dt="2025-02-07T06:57:13.699" v="2842" actId="27636"/>
        <pc:sldMkLst>
          <pc:docMk/>
          <pc:sldMk cId="112285639" sldId="2147378703"/>
        </pc:sldMkLst>
        <pc:spChg chg="mod">
          <ac:chgData name="内山 裕弥" userId="8d34b9d0-ec49-418d-b1de-019cf6b56da5" providerId="ADAL" clId="{154816C8-82C4-4E4B-ADDD-BBC9EE556CCD}" dt="2025-02-07T06:57:13.699" v="2842" actId="27636"/>
          <ac:spMkLst>
            <pc:docMk/>
            <pc:sldMk cId="112285639" sldId="2147378703"/>
            <ac:spMk id="2" creationId="{0E5D0AD9-2BA7-E85C-4211-2AC064C1CB7E}"/>
          </ac:spMkLst>
        </pc:spChg>
        <pc:spChg chg="mod">
          <ac:chgData name="内山 裕弥" userId="8d34b9d0-ec49-418d-b1de-019cf6b56da5" providerId="ADAL" clId="{154816C8-82C4-4E4B-ADDD-BBC9EE556CCD}" dt="2025-02-07T06:47:27.962" v="1624" actId="20577"/>
          <ac:spMkLst>
            <pc:docMk/>
            <pc:sldMk cId="112285639" sldId="2147378703"/>
            <ac:spMk id="4" creationId="{4F1B8C31-A2AA-E8B5-6842-B8CA68666E37}"/>
          </ac:spMkLst>
        </pc:spChg>
      </pc:sldChg>
      <pc:sldChg chg="modSp mod">
        <pc:chgData name="内山 裕弥" userId="8d34b9d0-ec49-418d-b1de-019cf6b56da5" providerId="ADAL" clId="{154816C8-82C4-4E4B-ADDD-BBC9EE556CCD}" dt="2025-02-07T06:57:13.428" v="2808" actId="27636"/>
        <pc:sldMkLst>
          <pc:docMk/>
          <pc:sldMk cId="936371591" sldId="2147378704"/>
        </pc:sldMkLst>
        <pc:spChg chg="mod">
          <ac:chgData name="内山 裕弥" userId="8d34b9d0-ec49-418d-b1de-019cf6b56da5" providerId="ADAL" clId="{154816C8-82C4-4E4B-ADDD-BBC9EE556CCD}" dt="2025-02-07T06:57:13.428" v="2808" actId="27636"/>
          <ac:spMkLst>
            <pc:docMk/>
            <pc:sldMk cId="936371591" sldId="2147378704"/>
            <ac:spMk id="9" creationId="{A480D1FA-7A9C-69C0-2BC3-1E986E802FD3}"/>
          </ac:spMkLst>
        </pc:spChg>
      </pc:sldChg>
      <pc:sldChg chg="modSp mod addCm delCm">
        <pc:chgData name="内山 裕弥" userId="8d34b9d0-ec49-418d-b1de-019cf6b56da5" providerId="ADAL" clId="{154816C8-82C4-4E4B-ADDD-BBC9EE556CCD}" dt="2025-02-07T06:57:13.529" v="2817" actId="27636"/>
        <pc:sldMkLst>
          <pc:docMk/>
          <pc:sldMk cId="3685116316" sldId="2147378709"/>
        </pc:sldMkLst>
        <pc:spChg chg="mod">
          <ac:chgData name="内山 裕弥" userId="8d34b9d0-ec49-418d-b1de-019cf6b56da5" providerId="ADAL" clId="{154816C8-82C4-4E4B-ADDD-BBC9EE556CCD}" dt="2025-02-07T06:57:13.529" v="2817" actId="27636"/>
          <ac:spMkLst>
            <pc:docMk/>
            <pc:sldMk cId="3685116316" sldId="2147378709"/>
            <ac:spMk id="11" creationId="{5B8ABDA1-3D2A-BE6F-2D47-4B44E4CE9142}"/>
          </ac:spMkLst>
        </pc:spChg>
        <pc:extLst>
          <p:ext xmlns:p="http://schemas.openxmlformats.org/presentationml/2006/main" uri="{D6D511B9-2390-475A-947B-AFAB55BFBCF1}">
            <pc226:cmChg xmlns:pc226="http://schemas.microsoft.com/office/powerpoint/2022/06/main/command" chg="add del">
              <pc226:chgData name="内山 裕弥" userId="8d34b9d0-ec49-418d-b1de-019cf6b56da5" providerId="ADAL" clId="{154816C8-82C4-4E4B-ADDD-BBC9EE556CCD}" dt="2025-02-06T05:58:03.109" v="17"/>
              <pc2:cmMkLst xmlns:pc2="http://schemas.microsoft.com/office/powerpoint/2019/9/main/command">
                <pc:docMk/>
                <pc:sldMk cId="3685116316" sldId="2147378709"/>
                <pc2:cmMk id="{0546C6D6-74B2-4DB4-8DCD-331FAC1E9233}"/>
              </pc2:cmMkLst>
            </pc226:cmChg>
          </p:ext>
        </pc:extLst>
      </pc:sldChg>
      <pc:sldChg chg="modSp mod">
        <pc:chgData name="内山 裕弥" userId="8d34b9d0-ec49-418d-b1de-019cf6b56da5" providerId="ADAL" clId="{154816C8-82C4-4E4B-ADDD-BBC9EE556CCD}" dt="2025-02-07T06:57:13.546" v="2820" actId="27636"/>
        <pc:sldMkLst>
          <pc:docMk/>
          <pc:sldMk cId="2249235288" sldId="2147378710"/>
        </pc:sldMkLst>
        <pc:spChg chg="mod">
          <ac:chgData name="内山 裕弥" userId="8d34b9d0-ec49-418d-b1de-019cf6b56da5" providerId="ADAL" clId="{154816C8-82C4-4E4B-ADDD-BBC9EE556CCD}" dt="2025-02-07T06:57:13.546" v="2820" actId="27636"/>
          <ac:spMkLst>
            <pc:docMk/>
            <pc:sldMk cId="2249235288" sldId="2147378710"/>
            <ac:spMk id="11" creationId="{5B8ABDA1-3D2A-BE6F-2D47-4B44E4CE9142}"/>
          </ac:spMkLst>
        </pc:spChg>
      </pc:sldChg>
      <pc:sldChg chg="modSp mod addCm">
        <pc:chgData name="内山 裕弥" userId="8d34b9d0-ec49-418d-b1de-019cf6b56da5" providerId="ADAL" clId="{154816C8-82C4-4E4B-ADDD-BBC9EE556CCD}" dt="2025-02-07T06:57:13.509" v="2815" actId="27636"/>
        <pc:sldMkLst>
          <pc:docMk/>
          <pc:sldMk cId="2848558883" sldId="2147378713"/>
        </pc:sldMkLst>
        <pc:spChg chg="mod">
          <ac:chgData name="内山 裕弥" userId="8d34b9d0-ec49-418d-b1de-019cf6b56da5" providerId="ADAL" clId="{154816C8-82C4-4E4B-ADDD-BBC9EE556CCD}" dt="2025-02-06T05:59:53.058" v="32" actId="20577"/>
          <ac:spMkLst>
            <pc:docMk/>
            <pc:sldMk cId="2848558883" sldId="2147378713"/>
            <ac:spMk id="4" creationId="{29DB748F-EFF5-4509-B381-6B8D73B31303}"/>
          </ac:spMkLst>
        </pc:spChg>
        <pc:spChg chg="mod">
          <ac:chgData name="内山 裕弥" userId="8d34b9d0-ec49-418d-b1de-019cf6b56da5" providerId="ADAL" clId="{154816C8-82C4-4E4B-ADDD-BBC9EE556CCD}" dt="2025-02-07T06:57:13.509" v="2815" actId="27636"/>
          <ac:spMkLst>
            <pc:docMk/>
            <pc:sldMk cId="2848558883" sldId="2147378713"/>
            <ac:spMk id="8" creationId="{9D610DBF-17F7-608B-8680-1CFA54E54E02}"/>
          </ac:spMkLst>
        </pc:sp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6T05:59:04.133" v="24"/>
              <pc2:cmMkLst xmlns:pc2="http://schemas.microsoft.com/office/powerpoint/2019/9/main/command">
                <pc:docMk/>
                <pc:sldMk cId="2848558883" sldId="2147378713"/>
                <pc2:cmMk id="{23F7B8DB-7C63-4858-99AA-7F159A9B9412}"/>
              </pc2:cmMkLst>
            </pc226:cmChg>
          </p:ext>
        </pc:extLst>
      </pc:sldChg>
      <pc:sldChg chg="modSp mod addCm delCm">
        <pc:chgData name="内山 裕弥" userId="8d34b9d0-ec49-418d-b1de-019cf6b56da5" providerId="ADAL" clId="{154816C8-82C4-4E4B-ADDD-BBC9EE556CCD}" dt="2025-02-07T06:57:13.452" v="2810" actId="27636"/>
        <pc:sldMkLst>
          <pc:docMk/>
          <pc:sldMk cId="3334367261" sldId="2147378714"/>
        </pc:sldMkLst>
        <pc:spChg chg="mod">
          <ac:chgData name="内山 裕弥" userId="8d34b9d0-ec49-418d-b1de-019cf6b56da5" providerId="ADAL" clId="{154816C8-82C4-4E4B-ADDD-BBC9EE556CCD}" dt="2025-02-07T06:57:13.452" v="2810" actId="27636"/>
          <ac:spMkLst>
            <pc:docMk/>
            <pc:sldMk cId="3334367261" sldId="2147378714"/>
            <ac:spMk id="8" creationId="{E5452BB1-3ED0-4261-B76D-A910259B86CD}"/>
          </ac:spMkLst>
        </pc:spChg>
        <pc:extLst>
          <p:ext xmlns:p="http://schemas.openxmlformats.org/presentationml/2006/main" uri="{D6D511B9-2390-475A-947B-AFAB55BFBCF1}">
            <pc226:cmChg xmlns:pc226="http://schemas.microsoft.com/office/powerpoint/2022/06/main/command" chg="add del">
              <pc226:chgData name="内山 裕弥" userId="8d34b9d0-ec49-418d-b1de-019cf6b56da5" providerId="ADAL" clId="{154816C8-82C4-4E4B-ADDD-BBC9EE556CCD}" dt="2025-02-06T05:58:03.109" v="17"/>
              <pc2:cmMkLst xmlns:pc2="http://schemas.microsoft.com/office/powerpoint/2019/9/main/command">
                <pc:docMk/>
                <pc:sldMk cId="3334367261" sldId="2147378714"/>
                <pc2:cmMk id="{4FA9AB52-CF2D-495E-88E6-23F778D8D45C}"/>
              </pc2:cmMkLst>
            </pc226:cmChg>
          </p:ext>
        </pc:extLst>
      </pc:sldChg>
      <pc:sldChg chg="modSp mod ord addCm">
        <pc:chgData name="内山 裕弥" userId="8d34b9d0-ec49-418d-b1de-019cf6b56da5" providerId="ADAL" clId="{154816C8-82C4-4E4B-ADDD-BBC9EE556CCD}" dt="2025-02-07T06:57:13.749" v="2849" actId="27636"/>
        <pc:sldMkLst>
          <pc:docMk/>
          <pc:sldMk cId="1575785639" sldId="2147378716"/>
        </pc:sldMkLst>
        <pc:spChg chg="mod">
          <ac:chgData name="内山 裕弥" userId="8d34b9d0-ec49-418d-b1de-019cf6b56da5" providerId="ADAL" clId="{154816C8-82C4-4E4B-ADDD-BBC9EE556CCD}" dt="2025-02-07T06:46:35.080" v="1607"/>
          <ac:spMkLst>
            <pc:docMk/>
            <pc:sldMk cId="1575785639" sldId="2147378716"/>
            <ac:spMk id="2" creationId="{CBF10691-58CC-75D5-EA23-B36D933D90D3}"/>
          </ac:spMkLst>
        </pc:spChg>
        <pc:spChg chg="mod">
          <ac:chgData name="内山 裕弥" userId="8d34b9d0-ec49-418d-b1de-019cf6b56da5" providerId="ADAL" clId="{154816C8-82C4-4E4B-ADDD-BBC9EE556CCD}" dt="2025-02-07T06:57:13.749" v="2849" actId="27636"/>
          <ac:spMkLst>
            <pc:docMk/>
            <pc:sldMk cId="1575785639" sldId="2147378716"/>
            <ac:spMk id="6" creationId="{71206BDE-1A08-08E6-655E-57D44EBA924B}"/>
          </ac:spMkLst>
        </pc:spChg>
        <pc:spChg chg="mod">
          <ac:chgData name="内山 裕弥" userId="8d34b9d0-ec49-418d-b1de-019cf6b56da5" providerId="ADAL" clId="{154816C8-82C4-4E4B-ADDD-BBC9EE556CCD}" dt="2025-02-07T06:46:39.490" v="1610" actId="20577"/>
          <ac:spMkLst>
            <pc:docMk/>
            <pc:sldMk cId="1575785639" sldId="2147378716"/>
            <ac:spMk id="9" creationId="{F7DA7227-3724-60C8-1F06-5A8A2F4AF1F8}"/>
          </ac:spMkLst>
        </pc:sp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7T06:47:43.573" v="1629"/>
              <pc2:cmMkLst xmlns:pc2="http://schemas.microsoft.com/office/powerpoint/2019/9/main/command">
                <pc:docMk/>
                <pc:sldMk cId="1575785639" sldId="2147378716"/>
                <pc2:cmMk id="{18AF660C-E2CB-42B4-9158-55D9ED8208B7}"/>
              </pc2:cmMkLst>
            </pc226:cmChg>
          </p:ext>
        </pc:extLst>
      </pc:sldChg>
      <pc:sldChg chg="modSp mod">
        <pc:chgData name="内山 裕弥" userId="8d34b9d0-ec49-418d-b1de-019cf6b56da5" providerId="ADAL" clId="{154816C8-82C4-4E4B-ADDD-BBC9EE556CCD}" dt="2025-02-07T06:57:13.706" v="2843" actId="27636"/>
        <pc:sldMkLst>
          <pc:docMk/>
          <pc:sldMk cId="1334307493" sldId="2147378717"/>
        </pc:sldMkLst>
        <pc:spChg chg="mod">
          <ac:chgData name="内山 裕弥" userId="8d34b9d0-ec49-418d-b1de-019cf6b56da5" providerId="ADAL" clId="{154816C8-82C4-4E4B-ADDD-BBC9EE556CCD}" dt="2025-02-07T06:57:13.706" v="2843" actId="27636"/>
          <ac:spMkLst>
            <pc:docMk/>
            <pc:sldMk cId="1334307493" sldId="2147378717"/>
            <ac:spMk id="2" creationId="{0E5D0AD9-2BA7-E85C-4211-2AC064C1CB7E}"/>
          </ac:spMkLst>
        </pc:spChg>
        <pc:spChg chg="mod">
          <ac:chgData name="内山 裕弥" userId="8d34b9d0-ec49-418d-b1de-019cf6b56da5" providerId="ADAL" clId="{154816C8-82C4-4E4B-ADDD-BBC9EE556CCD}" dt="2025-02-07T06:47:29.866" v="1626" actId="20577"/>
          <ac:spMkLst>
            <pc:docMk/>
            <pc:sldMk cId="1334307493" sldId="2147378717"/>
            <ac:spMk id="4" creationId="{4F1B8C31-A2AA-E8B5-6842-B8CA68666E37}"/>
          </ac:spMkLst>
        </pc:spChg>
      </pc:sldChg>
      <pc:sldChg chg="modSp mod">
        <pc:chgData name="内山 裕弥" userId="8d34b9d0-ec49-418d-b1de-019cf6b56da5" providerId="ADAL" clId="{154816C8-82C4-4E4B-ADDD-BBC9EE556CCD}" dt="2025-02-07T06:57:13.430" v="2809" actId="27636"/>
        <pc:sldMkLst>
          <pc:docMk/>
          <pc:sldMk cId="2574112575" sldId="2147378718"/>
        </pc:sldMkLst>
        <pc:spChg chg="mod">
          <ac:chgData name="内山 裕弥" userId="8d34b9d0-ec49-418d-b1de-019cf6b56da5" providerId="ADAL" clId="{154816C8-82C4-4E4B-ADDD-BBC9EE556CCD}" dt="2025-02-07T06:57:13.430" v="2809" actId="27636"/>
          <ac:spMkLst>
            <pc:docMk/>
            <pc:sldMk cId="2574112575" sldId="2147378718"/>
            <ac:spMk id="9" creationId="{A480D1FA-7A9C-69C0-2BC3-1E986E802FD3}"/>
          </ac:spMkLst>
        </pc:spChg>
      </pc:sldChg>
      <pc:sldChg chg="modSp mod delCm">
        <pc:chgData name="内山 裕弥" userId="8d34b9d0-ec49-418d-b1de-019cf6b56da5" providerId="ADAL" clId="{154816C8-82C4-4E4B-ADDD-BBC9EE556CCD}" dt="2025-02-06T06:22:33.392" v="127" actId="20577"/>
        <pc:sldMkLst>
          <pc:docMk/>
          <pc:sldMk cId="3448258732" sldId="2147378722"/>
        </pc:sldMkLst>
        <pc:spChg chg="mod">
          <ac:chgData name="内山 裕弥" userId="8d34b9d0-ec49-418d-b1de-019cf6b56da5" providerId="ADAL" clId="{154816C8-82C4-4E4B-ADDD-BBC9EE556CCD}" dt="2025-02-06T06:22:33.392" v="127" actId="20577"/>
          <ac:spMkLst>
            <pc:docMk/>
            <pc:sldMk cId="3448258732" sldId="2147378722"/>
            <ac:spMk id="10" creationId="{80E6EF29-A9F8-46B2-8DDE-5092A65E485F}"/>
          </ac:spMkLst>
        </pc:spChg>
        <pc:extLst>
          <p:ext xmlns:p="http://schemas.openxmlformats.org/presentationml/2006/main" uri="{D6D511B9-2390-475A-947B-AFAB55BFBCF1}">
            <pc226:cmChg xmlns:pc226="http://schemas.microsoft.com/office/powerpoint/2022/06/main/command" chg="del">
              <pc226:chgData name="内山 裕弥" userId="8d34b9d0-ec49-418d-b1de-019cf6b56da5" providerId="ADAL" clId="{154816C8-82C4-4E4B-ADDD-BBC9EE556CCD}" dt="2025-02-06T05:58:03.109" v="17"/>
              <pc2:cmMkLst xmlns:pc2="http://schemas.microsoft.com/office/powerpoint/2019/9/main/command">
                <pc:docMk/>
                <pc:sldMk cId="3448258732" sldId="2147378722"/>
                <pc2:cmMk id="{937D6578-3BB9-46B5-B6E5-27DA3A3B0A27}"/>
              </pc2:cmMkLst>
            </pc226:cmChg>
            <pc226:cmChg xmlns:pc226="http://schemas.microsoft.com/office/powerpoint/2022/06/main/command" chg="del">
              <pc226:chgData name="内山 裕弥" userId="8d34b9d0-ec49-418d-b1de-019cf6b56da5" providerId="ADAL" clId="{154816C8-82C4-4E4B-ADDD-BBC9EE556CCD}" dt="2025-02-06T05:58:03.109" v="17"/>
              <pc2:cmMkLst xmlns:pc2="http://schemas.microsoft.com/office/powerpoint/2019/9/main/command">
                <pc:docMk/>
                <pc:sldMk cId="3448258732" sldId="2147378722"/>
                <pc2:cmMk id="{39E4EB80-B43C-431F-8FF3-4A71F93B1568}"/>
              </pc2:cmMkLst>
            </pc226:cmChg>
            <pc226:cmChg xmlns:pc226="http://schemas.microsoft.com/office/powerpoint/2022/06/main/command" chg="del">
              <pc226:chgData name="内山 裕弥" userId="8d34b9d0-ec49-418d-b1de-019cf6b56da5" providerId="ADAL" clId="{154816C8-82C4-4E4B-ADDD-BBC9EE556CCD}" dt="2025-02-06T05:58:03.109" v="17"/>
              <pc2:cmMkLst xmlns:pc2="http://schemas.microsoft.com/office/powerpoint/2019/9/main/command">
                <pc:docMk/>
                <pc:sldMk cId="3448258732" sldId="2147378722"/>
                <pc2:cmMk id="{9823C489-EA8B-4909-AB0E-DC58679D75FD}"/>
              </pc2:cmMkLst>
            </pc226:cmChg>
          </p:ext>
        </pc:extLst>
      </pc:sldChg>
      <pc:sldChg chg="delCm">
        <pc:chgData name="内山 裕弥" userId="8d34b9d0-ec49-418d-b1de-019cf6b56da5" providerId="ADAL" clId="{154816C8-82C4-4E4B-ADDD-BBC9EE556CCD}" dt="2025-02-06T05:58:03.109" v="17"/>
        <pc:sldMkLst>
          <pc:docMk/>
          <pc:sldMk cId="1353841146" sldId="2147378723"/>
        </pc:sldMkLst>
        <pc:extLst>
          <p:ext xmlns:p="http://schemas.openxmlformats.org/presentationml/2006/main" uri="{D6D511B9-2390-475A-947B-AFAB55BFBCF1}">
            <pc226:cmChg xmlns:pc226="http://schemas.microsoft.com/office/powerpoint/2022/06/main/command" chg="del">
              <pc226:chgData name="内山 裕弥" userId="8d34b9d0-ec49-418d-b1de-019cf6b56da5" providerId="ADAL" clId="{154816C8-82C4-4E4B-ADDD-BBC9EE556CCD}" dt="2025-02-06T05:58:03.109" v="17"/>
              <pc2:cmMkLst xmlns:pc2="http://schemas.microsoft.com/office/powerpoint/2019/9/main/command">
                <pc:docMk/>
                <pc:sldMk cId="1353841146" sldId="2147378723"/>
                <pc2:cmMk id="{CEE12A35-6292-48C3-8259-D3721C619490}"/>
              </pc2:cmMkLst>
            </pc226:cmChg>
            <pc226:cmChg xmlns:pc226="http://schemas.microsoft.com/office/powerpoint/2022/06/main/command" chg="del">
              <pc226:chgData name="内山 裕弥" userId="8d34b9d0-ec49-418d-b1de-019cf6b56da5" providerId="ADAL" clId="{154816C8-82C4-4E4B-ADDD-BBC9EE556CCD}" dt="2025-02-06T05:58:03.109" v="17"/>
              <pc2:cmMkLst xmlns:pc2="http://schemas.microsoft.com/office/powerpoint/2019/9/main/command">
                <pc:docMk/>
                <pc:sldMk cId="1353841146" sldId="2147378723"/>
                <pc2:cmMk id="{ED708786-9D43-4DD6-8029-9FF2A10E3AC9}"/>
              </pc2:cmMkLst>
            </pc226:cmChg>
            <pc226:cmChg xmlns:pc226="http://schemas.microsoft.com/office/powerpoint/2022/06/main/command" chg="del">
              <pc226:chgData name="内山 裕弥" userId="8d34b9d0-ec49-418d-b1de-019cf6b56da5" providerId="ADAL" clId="{154816C8-82C4-4E4B-ADDD-BBC9EE556CCD}" dt="2025-02-06T05:58:03.109" v="17"/>
              <pc2:cmMkLst xmlns:pc2="http://schemas.microsoft.com/office/powerpoint/2019/9/main/command">
                <pc:docMk/>
                <pc:sldMk cId="1353841146" sldId="2147378723"/>
                <pc2:cmMk id="{6FDCEED2-BE41-4DF6-9C4F-CEF72E4B8D9E}"/>
              </pc2:cmMkLst>
            </pc226:cmChg>
          </p:ext>
        </pc:extLst>
      </pc:sldChg>
      <pc:sldChg chg="delCm">
        <pc:chgData name="内山 裕弥" userId="8d34b9d0-ec49-418d-b1de-019cf6b56da5" providerId="ADAL" clId="{154816C8-82C4-4E4B-ADDD-BBC9EE556CCD}" dt="2025-02-06T05:58:03.109" v="17"/>
        <pc:sldMkLst>
          <pc:docMk/>
          <pc:sldMk cId="3748599133" sldId="2147378724"/>
        </pc:sldMkLst>
        <pc:extLst>
          <p:ext xmlns:p="http://schemas.openxmlformats.org/presentationml/2006/main" uri="{D6D511B9-2390-475A-947B-AFAB55BFBCF1}">
            <pc226:cmChg xmlns:pc226="http://schemas.microsoft.com/office/powerpoint/2022/06/main/command" chg="del">
              <pc226:chgData name="内山 裕弥" userId="8d34b9d0-ec49-418d-b1de-019cf6b56da5" providerId="ADAL" clId="{154816C8-82C4-4E4B-ADDD-BBC9EE556CCD}" dt="2025-02-06T05:58:03.109" v="17"/>
              <pc2:cmMkLst xmlns:pc2="http://schemas.microsoft.com/office/powerpoint/2019/9/main/command">
                <pc:docMk/>
                <pc:sldMk cId="3748599133" sldId="2147378724"/>
                <pc2:cmMk id="{3ECCBC82-BDD0-4451-A510-04C5494EDD4C}"/>
              </pc2:cmMkLst>
            </pc226:cmChg>
            <pc226:cmChg xmlns:pc226="http://schemas.microsoft.com/office/powerpoint/2022/06/main/command" chg="del">
              <pc226:chgData name="内山 裕弥" userId="8d34b9d0-ec49-418d-b1de-019cf6b56da5" providerId="ADAL" clId="{154816C8-82C4-4E4B-ADDD-BBC9EE556CCD}" dt="2025-02-06T05:58:03.109" v="17"/>
              <pc2:cmMkLst xmlns:pc2="http://schemas.microsoft.com/office/powerpoint/2019/9/main/command">
                <pc:docMk/>
                <pc:sldMk cId="3748599133" sldId="2147378724"/>
                <pc2:cmMk id="{048F56C4-2F03-4FA1-9110-36B612DCC18B}"/>
              </pc2:cmMkLst>
            </pc226:cmChg>
            <pc226:cmChg xmlns:pc226="http://schemas.microsoft.com/office/powerpoint/2022/06/main/command" chg="del">
              <pc226:chgData name="内山 裕弥" userId="8d34b9d0-ec49-418d-b1de-019cf6b56da5" providerId="ADAL" clId="{154816C8-82C4-4E4B-ADDD-BBC9EE556CCD}" dt="2025-02-06T05:58:03.109" v="17"/>
              <pc2:cmMkLst xmlns:pc2="http://schemas.microsoft.com/office/powerpoint/2019/9/main/command">
                <pc:docMk/>
                <pc:sldMk cId="3748599133" sldId="2147378724"/>
                <pc2:cmMk id="{DC6D3DCF-DB84-4449-AAAD-E3A403F8CFF0}"/>
              </pc2:cmMkLst>
            </pc226:cmChg>
          </p:ext>
        </pc:extLst>
      </pc:sldChg>
      <pc:sldChg chg="add">
        <pc:chgData name="内山 裕弥" userId="8d34b9d0-ec49-418d-b1de-019cf6b56da5" providerId="ADAL" clId="{154816C8-82C4-4E4B-ADDD-BBC9EE556CCD}" dt="2025-02-06T05:59:38.723" v="26" actId="2890"/>
        <pc:sldMkLst>
          <pc:docMk/>
          <pc:sldMk cId="2274346092" sldId="2147378725"/>
        </pc:sldMkLst>
      </pc:sldChg>
      <pc:sldChg chg="add del">
        <pc:chgData name="内山 裕弥" userId="8d34b9d0-ec49-418d-b1de-019cf6b56da5" providerId="ADAL" clId="{154816C8-82C4-4E4B-ADDD-BBC9EE556CCD}" dt="2025-02-06T06:00:48.125" v="36" actId="2890"/>
        <pc:sldMkLst>
          <pc:docMk/>
          <pc:sldMk cId="856863220" sldId="2147378726"/>
        </pc:sldMkLst>
      </pc:sldChg>
      <pc:sldChg chg="modSp mod">
        <pc:chgData name="内山 裕弥" userId="8d34b9d0-ec49-418d-b1de-019cf6b56da5" providerId="ADAL" clId="{154816C8-82C4-4E4B-ADDD-BBC9EE556CCD}" dt="2025-02-07T06:57:13.522" v="2816" actId="27636"/>
        <pc:sldMkLst>
          <pc:docMk/>
          <pc:sldMk cId="2425091294" sldId="2147378727"/>
        </pc:sldMkLst>
        <pc:spChg chg="mod">
          <ac:chgData name="内山 裕弥" userId="8d34b9d0-ec49-418d-b1de-019cf6b56da5" providerId="ADAL" clId="{154816C8-82C4-4E4B-ADDD-BBC9EE556CCD}" dt="2025-02-07T06:57:13.522" v="2816" actId="27636"/>
          <ac:spMkLst>
            <pc:docMk/>
            <pc:sldMk cId="2425091294" sldId="2147378727"/>
            <ac:spMk id="17" creationId="{ED5B4037-6A33-091F-CAB0-26A3BC43E5EE}"/>
          </ac:spMkLst>
        </pc:spChg>
      </pc:sldChg>
      <pc:sldChg chg="modSp mod">
        <pc:chgData name="内山 裕弥" userId="8d34b9d0-ec49-418d-b1de-019cf6b56da5" providerId="ADAL" clId="{154816C8-82C4-4E4B-ADDD-BBC9EE556CCD}" dt="2025-02-07T06:57:13.531" v="2818" actId="27636"/>
        <pc:sldMkLst>
          <pc:docMk/>
          <pc:sldMk cId="1108136930" sldId="2147378728"/>
        </pc:sldMkLst>
        <pc:spChg chg="mod">
          <ac:chgData name="内山 裕弥" userId="8d34b9d0-ec49-418d-b1de-019cf6b56da5" providerId="ADAL" clId="{154816C8-82C4-4E4B-ADDD-BBC9EE556CCD}" dt="2025-02-07T06:57:13.531" v="2818" actId="27636"/>
          <ac:spMkLst>
            <pc:docMk/>
            <pc:sldMk cId="1108136930" sldId="2147378728"/>
            <ac:spMk id="11" creationId="{5B8ABDA1-3D2A-BE6F-2D47-4B44E4CE9142}"/>
          </ac:spMkLst>
        </pc:spChg>
      </pc:sldChg>
      <pc:sldChg chg="modSp mod">
        <pc:chgData name="内山 裕弥" userId="8d34b9d0-ec49-418d-b1de-019cf6b56da5" providerId="ADAL" clId="{154816C8-82C4-4E4B-ADDD-BBC9EE556CCD}" dt="2025-02-07T06:57:13.542" v="2819" actId="27636"/>
        <pc:sldMkLst>
          <pc:docMk/>
          <pc:sldMk cId="2933890016" sldId="2147378729"/>
        </pc:sldMkLst>
        <pc:spChg chg="mod">
          <ac:chgData name="内山 裕弥" userId="8d34b9d0-ec49-418d-b1de-019cf6b56da5" providerId="ADAL" clId="{154816C8-82C4-4E4B-ADDD-BBC9EE556CCD}" dt="2025-02-07T06:57:13.542" v="2819" actId="27636"/>
          <ac:spMkLst>
            <pc:docMk/>
            <pc:sldMk cId="2933890016" sldId="2147378729"/>
            <ac:spMk id="11" creationId="{5B8ABDA1-3D2A-BE6F-2D47-4B44E4CE9142}"/>
          </ac:spMkLst>
        </pc:spChg>
      </pc:sldChg>
      <pc:sldChg chg="modSp mod">
        <pc:chgData name="内山 裕弥" userId="8d34b9d0-ec49-418d-b1de-019cf6b56da5" providerId="ADAL" clId="{154816C8-82C4-4E4B-ADDD-BBC9EE556CCD}" dt="2025-02-07T06:57:13.546" v="2821" actId="27636"/>
        <pc:sldMkLst>
          <pc:docMk/>
          <pc:sldMk cId="866572055" sldId="2147378731"/>
        </pc:sldMkLst>
        <pc:spChg chg="mod">
          <ac:chgData name="内山 裕弥" userId="8d34b9d0-ec49-418d-b1de-019cf6b56da5" providerId="ADAL" clId="{154816C8-82C4-4E4B-ADDD-BBC9EE556CCD}" dt="2025-02-07T06:57:13.546" v="2821" actId="27636"/>
          <ac:spMkLst>
            <pc:docMk/>
            <pc:sldMk cId="866572055" sldId="2147378731"/>
            <ac:spMk id="11" creationId="{5B8ABDA1-3D2A-BE6F-2D47-4B44E4CE9142}"/>
          </ac:spMkLst>
        </pc:spChg>
      </pc:sldChg>
      <pc:sldChg chg="modSp mod">
        <pc:chgData name="内山 裕弥" userId="8d34b9d0-ec49-418d-b1de-019cf6b56da5" providerId="ADAL" clId="{154816C8-82C4-4E4B-ADDD-BBC9EE556CCD}" dt="2025-02-07T06:57:13.557" v="2822" actId="27636"/>
        <pc:sldMkLst>
          <pc:docMk/>
          <pc:sldMk cId="2588649303" sldId="2147378732"/>
        </pc:sldMkLst>
        <pc:spChg chg="mod">
          <ac:chgData name="内山 裕弥" userId="8d34b9d0-ec49-418d-b1de-019cf6b56da5" providerId="ADAL" clId="{154816C8-82C4-4E4B-ADDD-BBC9EE556CCD}" dt="2025-02-07T06:57:13.557" v="2822" actId="27636"/>
          <ac:spMkLst>
            <pc:docMk/>
            <pc:sldMk cId="2588649303" sldId="2147378732"/>
            <ac:spMk id="11" creationId="{5B8ABDA1-3D2A-BE6F-2D47-4B44E4CE9142}"/>
          </ac:spMkLst>
        </pc:spChg>
      </pc:sldChg>
      <pc:sldChg chg="modSp mod">
        <pc:chgData name="内山 裕弥" userId="8d34b9d0-ec49-418d-b1de-019cf6b56da5" providerId="ADAL" clId="{154816C8-82C4-4E4B-ADDD-BBC9EE556CCD}" dt="2025-02-07T06:57:13.589" v="2826" actId="27636"/>
        <pc:sldMkLst>
          <pc:docMk/>
          <pc:sldMk cId="2642190918" sldId="2147378739"/>
        </pc:sldMkLst>
        <pc:spChg chg="mod">
          <ac:chgData name="内山 裕弥" userId="8d34b9d0-ec49-418d-b1de-019cf6b56da5" providerId="ADAL" clId="{154816C8-82C4-4E4B-ADDD-BBC9EE556CCD}" dt="2025-02-07T06:57:13.589" v="2826" actId="27636"/>
          <ac:spMkLst>
            <pc:docMk/>
            <pc:sldMk cId="2642190918" sldId="2147378739"/>
            <ac:spMk id="6" creationId="{71206BDE-1A08-08E6-655E-57D44EBA924B}"/>
          </ac:spMkLst>
        </pc:spChg>
      </pc:sldChg>
      <pc:sldChg chg="modSp mod addCm">
        <pc:chgData name="内山 裕弥" userId="8d34b9d0-ec49-418d-b1de-019cf6b56da5" providerId="ADAL" clId="{154816C8-82C4-4E4B-ADDD-BBC9EE556CCD}" dt="2025-02-07T05:45:45.754" v="452"/>
        <pc:sldMkLst>
          <pc:docMk/>
          <pc:sldMk cId="165971776" sldId="2147378740"/>
        </pc:sldMkLst>
        <pc:spChg chg="mod">
          <ac:chgData name="内山 裕弥" userId="8d34b9d0-ec49-418d-b1de-019cf6b56da5" providerId="ADAL" clId="{154816C8-82C4-4E4B-ADDD-BBC9EE556CCD}" dt="2025-02-07T05:42:30.198" v="298" actId="21"/>
          <ac:spMkLst>
            <pc:docMk/>
            <pc:sldMk cId="165971776" sldId="2147378740"/>
            <ac:spMk id="3" creationId="{D69F45AB-97DA-86D6-7B3F-F21CC23CCBBD}"/>
          </ac:spMkLst>
        </pc:sp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7T05:45:45.754" v="452"/>
              <pc2:cmMkLst xmlns:pc2="http://schemas.microsoft.com/office/powerpoint/2019/9/main/command">
                <pc:docMk/>
                <pc:sldMk cId="165971776" sldId="2147378740"/>
                <pc2:cmMk id="{26267A6C-3EDE-4890-84B7-42FE5DC3BD08}"/>
              </pc2:cmMkLst>
            </pc226:cmChg>
          </p:ext>
        </pc:extLst>
      </pc:sldChg>
      <pc:sldChg chg="modSp mod addCm">
        <pc:chgData name="内山 裕弥" userId="8d34b9d0-ec49-418d-b1de-019cf6b56da5" providerId="ADAL" clId="{154816C8-82C4-4E4B-ADDD-BBC9EE556CCD}" dt="2025-02-07T06:57:13.595" v="2827" actId="27636"/>
        <pc:sldMkLst>
          <pc:docMk/>
          <pc:sldMk cId="3556400781" sldId="2147378741"/>
        </pc:sldMkLst>
        <pc:spChg chg="mod">
          <ac:chgData name="内山 裕弥" userId="8d34b9d0-ec49-418d-b1de-019cf6b56da5" providerId="ADAL" clId="{154816C8-82C4-4E4B-ADDD-BBC9EE556CCD}" dt="2025-02-07T06:57:13.595" v="2827" actId="27636"/>
          <ac:spMkLst>
            <pc:docMk/>
            <pc:sldMk cId="3556400781" sldId="2147378741"/>
            <ac:spMk id="6" creationId="{85E02E86-1857-0430-484E-BB6E2039FE47}"/>
          </ac:spMkLst>
        </pc:spChg>
        <pc:graphicFrameChg chg="modGraphic">
          <ac:chgData name="内山 裕弥" userId="8d34b9d0-ec49-418d-b1de-019cf6b56da5" providerId="ADAL" clId="{154816C8-82C4-4E4B-ADDD-BBC9EE556CCD}" dt="2025-02-07T05:45:22.010" v="450" actId="20577"/>
          <ac:graphicFrameMkLst>
            <pc:docMk/>
            <pc:sldMk cId="3556400781" sldId="2147378741"/>
            <ac:graphicFrameMk id="3" creationId="{1E352AD7-4D05-33EE-61E0-3F07FA0F915F}"/>
          </ac:graphicFrameMkLst>
        </pc:graphicFrame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7T05:45:34.120" v="451"/>
              <pc2:cmMkLst xmlns:pc2="http://schemas.microsoft.com/office/powerpoint/2019/9/main/command">
                <pc:docMk/>
                <pc:sldMk cId="3556400781" sldId="2147378741"/>
                <pc2:cmMk id="{399B2814-BE3D-4650-98B5-90921052AAC8}"/>
              </pc2:cmMkLst>
            </pc226:cmChg>
          </p:ext>
        </pc:extLst>
      </pc:sldChg>
      <pc:sldChg chg="modSp mod addCm">
        <pc:chgData name="内山 裕弥" userId="8d34b9d0-ec49-418d-b1de-019cf6b56da5" providerId="ADAL" clId="{154816C8-82C4-4E4B-ADDD-BBC9EE556CCD}" dt="2025-02-07T06:57:13.624" v="2831" actId="27636"/>
        <pc:sldMkLst>
          <pc:docMk/>
          <pc:sldMk cId="4237138605" sldId="2147378742"/>
        </pc:sldMkLst>
        <pc:spChg chg="mod">
          <ac:chgData name="内山 裕弥" userId="8d34b9d0-ec49-418d-b1de-019cf6b56da5" providerId="ADAL" clId="{154816C8-82C4-4E4B-ADDD-BBC9EE556CCD}" dt="2025-02-07T05:47:49.759" v="472" actId="20577"/>
          <ac:spMkLst>
            <pc:docMk/>
            <pc:sldMk cId="4237138605" sldId="2147378742"/>
            <ac:spMk id="9" creationId="{D22A0A06-D5A8-4A1A-B66F-2A8EDBD644F1}"/>
          </ac:spMkLst>
        </pc:spChg>
        <pc:spChg chg="mod">
          <ac:chgData name="内山 裕弥" userId="8d34b9d0-ec49-418d-b1de-019cf6b56da5" providerId="ADAL" clId="{154816C8-82C4-4E4B-ADDD-BBC9EE556CCD}" dt="2025-02-07T06:57:13.624" v="2831" actId="27636"/>
          <ac:spMkLst>
            <pc:docMk/>
            <pc:sldMk cId="4237138605" sldId="2147378742"/>
            <ac:spMk id="17" creationId="{ED5B4037-6A33-091F-CAB0-26A3BC43E5EE}"/>
          </ac:spMkLst>
        </pc:sp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7T05:48:12.903" v="473"/>
              <pc2:cmMkLst xmlns:pc2="http://schemas.microsoft.com/office/powerpoint/2019/9/main/command">
                <pc:docMk/>
                <pc:sldMk cId="4237138605" sldId="2147378742"/>
                <pc2:cmMk id="{A009D21C-C179-4BF7-9895-B69F6E0AED87}"/>
              </pc2:cmMkLst>
            </pc226:cmChg>
            <pc226:cmChg xmlns:pc226="http://schemas.microsoft.com/office/powerpoint/2022/06/main/command" chg="add">
              <pc226:chgData name="内山 裕弥" userId="8d34b9d0-ec49-418d-b1de-019cf6b56da5" providerId="ADAL" clId="{154816C8-82C4-4E4B-ADDD-BBC9EE556CCD}" dt="2025-02-07T05:48:28.955" v="474"/>
              <pc2:cmMkLst xmlns:pc2="http://schemas.microsoft.com/office/powerpoint/2019/9/main/command">
                <pc:docMk/>
                <pc:sldMk cId="4237138605" sldId="2147378742"/>
                <pc2:cmMk id="{77004874-076B-4049-A0E0-7BA24B50A2A9}"/>
              </pc2:cmMkLst>
            </pc226:cmChg>
          </p:ext>
        </pc:extLst>
      </pc:sldChg>
      <pc:sldChg chg="modSp mod">
        <pc:chgData name="内山 裕弥" userId="8d34b9d0-ec49-418d-b1de-019cf6b56da5" providerId="ADAL" clId="{154816C8-82C4-4E4B-ADDD-BBC9EE556CCD}" dt="2025-02-07T06:57:13.640" v="2833" actId="27636"/>
        <pc:sldMkLst>
          <pc:docMk/>
          <pc:sldMk cId="3931455884" sldId="2147378743"/>
        </pc:sldMkLst>
        <pc:spChg chg="mod">
          <ac:chgData name="内山 裕弥" userId="8d34b9d0-ec49-418d-b1de-019cf6b56da5" providerId="ADAL" clId="{154816C8-82C4-4E4B-ADDD-BBC9EE556CCD}" dt="2025-02-07T06:45:07.799" v="1601"/>
          <ac:spMkLst>
            <pc:docMk/>
            <pc:sldMk cId="3931455884" sldId="2147378743"/>
            <ac:spMk id="9" creationId="{D22A0A06-D5A8-4A1A-B66F-2A8EDBD644F1}"/>
          </ac:spMkLst>
        </pc:spChg>
        <pc:spChg chg="mod">
          <ac:chgData name="内山 裕弥" userId="8d34b9d0-ec49-418d-b1de-019cf6b56da5" providerId="ADAL" clId="{154816C8-82C4-4E4B-ADDD-BBC9EE556CCD}" dt="2025-02-07T06:57:13.640" v="2833" actId="27636"/>
          <ac:spMkLst>
            <pc:docMk/>
            <pc:sldMk cId="3931455884" sldId="2147378743"/>
            <ac:spMk id="11" creationId="{5B8ABDA1-3D2A-BE6F-2D47-4B44E4CE9142}"/>
          </ac:spMkLst>
        </pc:spChg>
      </pc:sldChg>
      <pc:sldChg chg="modSp mod">
        <pc:chgData name="内山 裕弥" userId="8d34b9d0-ec49-418d-b1de-019cf6b56da5" providerId="ADAL" clId="{154816C8-82C4-4E4B-ADDD-BBC9EE556CCD}" dt="2025-02-07T06:57:13.630" v="2832" actId="27636"/>
        <pc:sldMkLst>
          <pc:docMk/>
          <pc:sldMk cId="2340429532" sldId="2147378744"/>
        </pc:sldMkLst>
        <pc:spChg chg="mod">
          <ac:chgData name="内山 裕弥" userId="8d34b9d0-ec49-418d-b1de-019cf6b56da5" providerId="ADAL" clId="{154816C8-82C4-4E4B-ADDD-BBC9EE556CCD}" dt="2025-02-07T06:45:05.042" v="1600"/>
          <ac:spMkLst>
            <pc:docMk/>
            <pc:sldMk cId="2340429532" sldId="2147378744"/>
            <ac:spMk id="9" creationId="{D22A0A06-D5A8-4A1A-B66F-2A8EDBD644F1}"/>
          </ac:spMkLst>
        </pc:spChg>
        <pc:spChg chg="mod">
          <ac:chgData name="内山 裕弥" userId="8d34b9d0-ec49-418d-b1de-019cf6b56da5" providerId="ADAL" clId="{154816C8-82C4-4E4B-ADDD-BBC9EE556CCD}" dt="2025-02-07T06:57:13.630" v="2832" actId="27636"/>
          <ac:spMkLst>
            <pc:docMk/>
            <pc:sldMk cId="2340429532" sldId="2147378744"/>
            <ac:spMk id="11" creationId="{5B8ABDA1-3D2A-BE6F-2D47-4B44E4CE9142}"/>
          </ac:spMkLst>
        </pc:spChg>
      </pc:sldChg>
      <pc:sldChg chg="modSp mod">
        <pc:chgData name="内山 裕弥" userId="8d34b9d0-ec49-418d-b1de-019cf6b56da5" providerId="ADAL" clId="{154816C8-82C4-4E4B-ADDD-BBC9EE556CCD}" dt="2025-02-07T06:45:10.050" v="1602"/>
        <pc:sldMkLst>
          <pc:docMk/>
          <pc:sldMk cId="2271814075" sldId="2147378745"/>
        </pc:sldMkLst>
        <pc:spChg chg="mod">
          <ac:chgData name="内山 裕弥" userId="8d34b9d0-ec49-418d-b1de-019cf6b56da5" providerId="ADAL" clId="{154816C8-82C4-4E4B-ADDD-BBC9EE556CCD}" dt="2025-02-07T06:45:10.050" v="1602"/>
          <ac:spMkLst>
            <pc:docMk/>
            <pc:sldMk cId="2271814075" sldId="2147378745"/>
            <ac:spMk id="9" creationId="{D22A0A06-D5A8-4A1A-B66F-2A8EDBD644F1}"/>
          </ac:spMkLst>
        </pc:spChg>
      </pc:sldChg>
      <pc:sldChg chg="addCm">
        <pc:chgData name="内山 裕弥" userId="8d34b9d0-ec49-418d-b1de-019cf6b56da5" providerId="ADAL" clId="{154816C8-82C4-4E4B-ADDD-BBC9EE556CCD}" dt="2025-02-07T06:45:25.260" v="1603"/>
        <pc:sldMkLst>
          <pc:docMk/>
          <pc:sldMk cId="478136210" sldId="2147378746"/>
        </pc:sldMkLst>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7T06:45:25.260" v="1603"/>
              <pc2:cmMkLst xmlns:pc2="http://schemas.microsoft.com/office/powerpoint/2019/9/main/command">
                <pc:docMk/>
                <pc:sldMk cId="478136210" sldId="2147378746"/>
                <pc2:cmMk id="{BE5279C2-6FB9-4789-8A4B-9B7D06857022}"/>
              </pc2:cmMkLst>
            </pc226:cmChg>
          </p:ext>
        </pc:extLst>
      </pc:sldChg>
      <pc:sldChg chg="modSp mod addCm">
        <pc:chgData name="内山 裕弥" userId="8d34b9d0-ec49-418d-b1de-019cf6b56da5" providerId="ADAL" clId="{154816C8-82C4-4E4B-ADDD-BBC9EE556CCD}" dt="2025-02-07T06:57:13.652" v="2835" actId="27636"/>
        <pc:sldMkLst>
          <pc:docMk/>
          <pc:sldMk cId="177420526" sldId="2147378748"/>
        </pc:sldMkLst>
        <pc:spChg chg="mod">
          <ac:chgData name="内山 裕弥" userId="8d34b9d0-ec49-418d-b1de-019cf6b56da5" providerId="ADAL" clId="{154816C8-82C4-4E4B-ADDD-BBC9EE556CCD}" dt="2025-02-07T06:57:13.652" v="2835" actId="27636"/>
          <ac:spMkLst>
            <pc:docMk/>
            <pc:sldMk cId="177420526" sldId="2147378748"/>
            <ac:spMk id="8" creationId="{E5452BB1-3ED0-4261-B76D-A910259B86CD}"/>
          </ac:spMkLst>
        </pc:sp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7T05:49:41.457" v="475"/>
              <pc2:cmMkLst xmlns:pc2="http://schemas.microsoft.com/office/powerpoint/2019/9/main/command">
                <pc:docMk/>
                <pc:sldMk cId="177420526" sldId="2147378748"/>
                <pc2:cmMk id="{B6A99A4A-1FF6-4BA3-9442-C5A0CBC5DA44}"/>
              </pc2:cmMkLst>
            </pc226:cmChg>
          </p:ext>
        </pc:extLst>
      </pc:sldChg>
      <pc:sldChg chg="modSp mod addCm">
        <pc:chgData name="内山 裕弥" userId="8d34b9d0-ec49-418d-b1de-019cf6b56da5" providerId="ADAL" clId="{154816C8-82C4-4E4B-ADDD-BBC9EE556CCD}" dt="2025-02-07T06:57:13.652" v="2836" actId="27636"/>
        <pc:sldMkLst>
          <pc:docMk/>
          <pc:sldMk cId="2929259541" sldId="2147378749"/>
        </pc:sldMkLst>
        <pc:spChg chg="mod">
          <ac:chgData name="内山 裕弥" userId="8d34b9d0-ec49-418d-b1de-019cf6b56da5" providerId="ADAL" clId="{154816C8-82C4-4E4B-ADDD-BBC9EE556CCD}" dt="2025-02-07T06:45:47.785" v="1604"/>
          <ac:spMkLst>
            <pc:docMk/>
            <pc:sldMk cId="2929259541" sldId="2147378749"/>
            <ac:spMk id="9" creationId="{D22A0A06-D5A8-4A1A-B66F-2A8EDBD644F1}"/>
          </ac:spMkLst>
        </pc:spChg>
        <pc:spChg chg="mod">
          <ac:chgData name="内山 裕弥" userId="8d34b9d0-ec49-418d-b1de-019cf6b56da5" providerId="ADAL" clId="{154816C8-82C4-4E4B-ADDD-BBC9EE556CCD}" dt="2025-02-07T06:57:13.652" v="2836" actId="27636"/>
          <ac:spMkLst>
            <pc:docMk/>
            <pc:sldMk cId="2929259541" sldId="2147378749"/>
            <ac:spMk id="10" creationId="{09B8CBA2-03F1-FCA3-5EF4-E163C51AD89A}"/>
          </ac:spMkLst>
        </pc:sp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7T05:50:03.080" v="476"/>
              <pc2:cmMkLst xmlns:pc2="http://schemas.microsoft.com/office/powerpoint/2019/9/main/command">
                <pc:docMk/>
                <pc:sldMk cId="2929259541" sldId="2147378749"/>
                <pc2:cmMk id="{C05411B0-08AD-4B5D-94B3-4EC875BC15B8}"/>
              </pc2:cmMkLst>
            </pc226:cmChg>
          </p:ext>
        </pc:extLst>
      </pc:sldChg>
      <pc:sldChg chg="modSp mod">
        <pc:chgData name="内山 裕弥" userId="8d34b9d0-ec49-418d-b1de-019cf6b56da5" providerId="ADAL" clId="{154816C8-82C4-4E4B-ADDD-BBC9EE556CCD}" dt="2025-02-07T06:57:13.706" v="2844" actId="27636"/>
        <pc:sldMkLst>
          <pc:docMk/>
          <pc:sldMk cId="4044403005" sldId="2147378750"/>
        </pc:sldMkLst>
        <pc:spChg chg="mod">
          <ac:chgData name="内山 裕弥" userId="8d34b9d0-ec49-418d-b1de-019cf6b56da5" providerId="ADAL" clId="{154816C8-82C4-4E4B-ADDD-BBC9EE556CCD}" dt="2025-02-07T06:47:31.749" v="1628" actId="20577"/>
          <ac:spMkLst>
            <pc:docMk/>
            <pc:sldMk cId="4044403005" sldId="2147378750"/>
            <ac:spMk id="4" creationId="{2C3BBDD6-C18E-A8D5-D35C-ABB97297C5DD}"/>
          </ac:spMkLst>
        </pc:spChg>
        <pc:spChg chg="mod">
          <ac:chgData name="内山 裕弥" userId="8d34b9d0-ec49-418d-b1de-019cf6b56da5" providerId="ADAL" clId="{154816C8-82C4-4E4B-ADDD-BBC9EE556CCD}" dt="2025-02-07T06:57:13.706" v="2844" actId="27636"/>
          <ac:spMkLst>
            <pc:docMk/>
            <pc:sldMk cId="4044403005" sldId="2147378750"/>
            <ac:spMk id="9" creationId="{43C330CB-8A4D-F4A2-AFFC-48CA4FB9C719}"/>
          </ac:spMkLst>
        </pc:spChg>
      </pc:sldChg>
      <pc:sldChg chg="modSp mod">
        <pc:chgData name="内山 裕弥" userId="8d34b9d0-ec49-418d-b1de-019cf6b56da5" providerId="ADAL" clId="{154816C8-82C4-4E4B-ADDD-BBC9EE556CCD}" dt="2025-02-07T06:57:13.652" v="2837" actId="27636"/>
        <pc:sldMkLst>
          <pc:docMk/>
          <pc:sldMk cId="1641424686" sldId="2147378751"/>
        </pc:sldMkLst>
        <pc:spChg chg="mod">
          <ac:chgData name="内山 裕弥" userId="8d34b9d0-ec49-418d-b1de-019cf6b56da5" providerId="ADAL" clId="{154816C8-82C4-4E4B-ADDD-BBC9EE556CCD}" dt="2025-02-07T06:57:13.652" v="2837" actId="27636"/>
          <ac:spMkLst>
            <pc:docMk/>
            <pc:sldMk cId="1641424686" sldId="2147378751"/>
            <ac:spMk id="6" creationId="{71206BDE-1A08-08E6-655E-57D44EBA924B}"/>
          </ac:spMkLst>
        </pc:spChg>
      </pc:sldChg>
      <pc:sldChg chg="modSp mod">
        <pc:chgData name="内山 裕弥" userId="8d34b9d0-ec49-418d-b1de-019cf6b56da5" providerId="ADAL" clId="{154816C8-82C4-4E4B-ADDD-BBC9EE556CCD}" dt="2025-02-07T06:47:10.860" v="1615" actId="20577"/>
        <pc:sldMkLst>
          <pc:docMk/>
          <pc:sldMk cId="7942078" sldId="2147378752"/>
        </pc:sldMkLst>
        <pc:spChg chg="mod">
          <ac:chgData name="内山 裕弥" userId="8d34b9d0-ec49-418d-b1de-019cf6b56da5" providerId="ADAL" clId="{154816C8-82C4-4E4B-ADDD-BBC9EE556CCD}" dt="2025-02-07T06:47:10.860" v="1615" actId="20577"/>
          <ac:spMkLst>
            <pc:docMk/>
            <pc:sldMk cId="7942078" sldId="2147378752"/>
            <ac:spMk id="9" creationId="{D22A0A06-D5A8-4A1A-B66F-2A8EDBD644F1}"/>
          </ac:spMkLst>
        </pc:spChg>
      </pc:sldChg>
      <pc:sldChg chg="modSp mod">
        <pc:chgData name="内山 裕弥" userId="8d34b9d0-ec49-418d-b1de-019cf6b56da5" providerId="ADAL" clId="{154816C8-82C4-4E4B-ADDD-BBC9EE556CCD}" dt="2025-02-07T06:57:13.669" v="2839" actId="27636"/>
        <pc:sldMkLst>
          <pc:docMk/>
          <pc:sldMk cId="3142788195" sldId="2147378754"/>
        </pc:sldMkLst>
        <pc:spChg chg="mod">
          <ac:chgData name="内山 裕弥" userId="8d34b9d0-ec49-418d-b1de-019cf6b56da5" providerId="ADAL" clId="{154816C8-82C4-4E4B-ADDD-BBC9EE556CCD}" dt="2025-02-07T06:57:13.669" v="2839" actId="27636"/>
          <ac:spMkLst>
            <pc:docMk/>
            <pc:sldMk cId="3142788195" sldId="2147378754"/>
            <ac:spMk id="6" creationId="{85E02E86-1857-0430-484E-BB6E2039FE47}"/>
          </ac:spMkLst>
        </pc:spChg>
        <pc:spChg chg="mod">
          <ac:chgData name="内山 裕弥" userId="8d34b9d0-ec49-418d-b1de-019cf6b56da5" providerId="ADAL" clId="{154816C8-82C4-4E4B-ADDD-BBC9EE556CCD}" dt="2025-02-07T06:47:12.233" v="1616" actId="20577"/>
          <ac:spMkLst>
            <pc:docMk/>
            <pc:sldMk cId="3142788195" sldId="2147378754"/>
            <ac:spMk id="9" creationId="{D22A0A06-D5A8-4A1A-B66F-2A8EDBD644F1}"/>
          </ac:spMkLst>
        </pc:spChg>
      </pc:sldChg>
      <pc:sldChg chg="addSp modSp mod addCm">
        <pc:chgData name="内山 裕弥" userId="8d34b9d0-ec49-418d-b1de-019cf6b56da5" providerId="ADAL" clId="{154816C8-82C4-4E4B-ADDD-BBC9EE556CCD}" dt="2025-02-07T06:57:13.683" v="2840" actId="27636"/>
        <pc:sldMkLst>
          <pc:docMk/>
          <pc:sldMk cId="3278106509" sldId="2147378755"/>
        </pc:sldMkLst>
        <pc:spChg chg="add mod">
          <ac:chgData name="内山 裕弥" userId="8d34b9d0-ec49-418d-b1de-019cf6b56da5" providerId="ADAL" clId="{154816C8-82C4-4E4B-ADDD-BBC9EE556CCD}" dt="2025-02-07T06:44:35.677" v="1598" actId="20577"/>
          <ac:spMkLst>
            <pc:docMk/>
            <pc:sldMk cId="3278106509" sldId="2147378755"/>
            <ac:spMk id="4" creationId="{9C70D182-E3ED-833A-2988-C7FDBE46B5C2}"/>
          </ac:spMkLst>
        </pc:spChg>
        <pc:spChg chg="mod">
          <ac:chgData name="内山 裕弥" userId="8d34b9d0-ec49-418d-b1de-019cf6b56da5" providerId="ADAL" clId="{154816C8-82C4-4E4B-ADDD-BBC9EE556CCD}" dt="2025-02-07T06:57:13.683" v="2840" actId="27636"/>
          <ac:spMkLst>
            <pc:docMk/>
            <pc:sldMk cId="3278106509" sldId="2147378755"/>
            <ac:spMk id="6" creationId="{B8A4D455-177B-0F48-C20A-E9924256F15C}"/>
          </ac:spMkLst>
        </pc:spChg>
        <pc:spChg chg="mod">
          <ac:chgData name="内山 裕弥" userId="8d34b9d0-ec49-418d-b1de-019cf6b56da5" providerId="ADAL" clId="{154816C8-82C4-4E4B-ADDD-BBC9EE556CCD}" dt="2025-02-07T06:47:14.614" v="1618" actId="20577"/>
          <ac:spMkLst>
            <pc:docMk/>
            <pc:sldMk cId="3278106509" sldId="2147378755"/>
            <ac:spMk id="9" creationId="{D22A0A06-D5A8-4A1A-B66F-2A8EDBD644F1}"/>
          </ac:spMkLst>
        </pc:sp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7T06:44:43.290" v="1599"/>
              <pc2:cmMkLst xmlns:pc2="http://schemas.microsoft.com/office/powerpoint/2019/9/main/command">
                <pc:docMk/>
                <pc:sldMk cId="3278106509" sldId="2147378755"/>
                <pc2:cmMk id="{FCCEA4C0-ACE5-42D5-86FE-18AC499EE7B6}"/>
              </pc2:cmMkLst>
            </pc226:cmChg>
          </p:ext>
        </pc:extLst>
      </pc:sldChg>
      <pc:sldChg chg="modSp mod">
        <pc:chgData name="内山 裕弥" userId="8d34b9d0-ec49-418d-b1de-019cf6b56da5" providerId="ADAL" clId="{154816C8-82C4-4E4B-ADDD-BBC9EE556CCD}" dt="2025-02-07T06:57:13.606" v="2828" actId="27636"/>
        <pc:sldMkLst>
          <pc:docMk/>
          <pc:sldMk cId="1359778448" sldId="2147378756"/>
        </pc:sldMkLst>
        <pc:spChg chg="mod">
          <ac:chgData name="内山 裕弥" userId="8d34b9d0-ec49-418d-b1de-019cf6b56da5" providerId="ADAL" clId="{154816C8-82C4-4E4B-ADDD-BBC9EE556CCD}" dt="2025-02-07T06:57:13.606" v="2828" actId="27636"/>
          <ac:spMkLst>
            <pc:docMk/>
            <pc:sldMk cId="1359778448" sldId="2147378756"/>
            <ac:spMk id="2" creationId="{0E5D0AD9-2BA7-E85C-4211-2AC064C1CB7E}"/>
          </ac:spMkLst>
        </pc:spChg>
      </pc:sldChg>
      <pc:sldChg chg="modSp mod">
        <pc:chgData name="内山 裕弥" userId="8d34b9d0-ec49-418d-b1de-019cf6b56da5" providerId="ADAL" clId="{154816C8-82C4-4E4B-ADDD-BBC9EE556CCD}" dt="2025-02-07T06:57:13.606" v="2829" actId="27636"/>
        <pc:sldMkLst>
          <pc:docMk/>
          <pc:sldMk cId="1460307593" sldId="2147378757"/>
        </pc:sldMkLst>
        <pc:spChg chg="mod">
          <ac:chgData name="内山 裕弥" userId="8d34b9d0-ec49-418d-b1de-019cf6b56da5" providerId="ADAL" clId="{154816C8-82C4-4E4B-ADDD-BBC9EE556CCD}" dt="2025-02-07T06:57:13.606" v="2829" actId="27636"/>
          <ac:spMkLst>
            <pc:docMk/>
            <pc:sldMk cId="1460307593" sldId="2147378757"/>
            <ac:spMk id="2" creationId="{0E5D0AD9-2BA7-E85C-4211-2AC064C1CB7E}"/>
          </ac:spMkLst>
        </pc:spChg>
      </pc:sldChg>
      <pc:sldChg chg="modSp mod">
        <pc:chgData name="内山 裕弥" userId="8d34b9d0-ec49-418d-b1de-019cf6b56da5" providerId="ADAL" clId="{154816C8-82C4-4E4B-ADDD-BBC9EE556CCD}" dt="2025-02-07T06:57:13.715" v="2845" actId="27636"/>
        <pc:sldMkLst>
          <pc:docMk/>
          <pc:sldMk cId="2766661592" sldId="2147378759"/>
        </pc:sldMkLst>
        <pc:spChg chg="mod">
          <ac:chgData name="内山 裕弥" userId="8d34b9d0-ec49-418d-b1de-019cf6b56da5" providerId="ADAL" clId="{154816C8-82C4-4E4B-ADDD-BBC9EE556CCD}" dt="2025-02-07T06:57:13.715" v="2845" actId="27636"/>
          <ac:spMkLst>
            <pc:docMk/>
            <pc:sldMk cId="2766661592" sldId="2147378759"/>
            <ac:spMk id="17" creationId="{ED5B4037-6A33-091F-CAB0-26A3BC43E5EE}"/>
          </ac:spMkLst>
        </pc:spChg>
      </pc:sldChg>
      <pc:sldChg chg="modSp mod">
        <pc:chgData name="内山 裕弥" userId="8d34b9d0-ec49-418d-b1de-019cf6b56da5" providerId="ADAL" clId="{154816C8-82C4-4E4B-ADDD-BBC9EE556CCD}" dt="2025-02-07T06:57:13.734" v="2847" actId="27636"/>
        <pc:sldMkLst>
          <pc:docMk/>
          <pc:sldMk cId="3009745310" sldId="2147378767"/>
        </pc:sldMkLst>
        <pc:spChg chg="mod">
          <ac:chgData name="内山 裕弥" userId="8d34b9d0-ec49-418d-b1de-019cf6b56da5" providerId="ADAL" clId="{154816C8-82C4-4E4B-ADDD-BBC9EE556CCD}" dt="2025-02-07T06:57:13.734" v="2847" actId="27636"/>
          <ac:spMkLst>
            <pc:docMk/>
            <pc:sldMk cId="3009745310" sldId="2147378767"/>
            <ac:spMk id="9" creationId="{43C330CB-8A4D-F4A2-AFFC-48CA4FB9C719}"/>
          </ac:spMkLst>
        </pc:spChg>
      </pc:sldChg>
      <pc:sldChg chg="modSp mod">
        <pc:chgData name="内山 裕弥" userId="8d34b9d0-ec49-418d-b1de-019cf6b56da5" providerId="ADAL" clId="{154816C8-82C4-4E4B-ADDD-BBC9EE556CCD}" dt="2025-02-07T06:57:13.744" v="2848" actId="27636"/>
        <pc:sldMkLst>
          <pc:docMk/>
          <pc:sldMk cId="1343814349" sldId="2147378768"/>
        </pc:sldMkLst>
        <pc:spChg chg="mod">
          <ac:chgData name="内山 裕弥" userId="8d34b9d0-ec49-418d-b1de-019cf6b56da5" providerId="ADAL" clId="{154816C8-82C4-4E4B-ADDD-BBC9EE556CCD}" dt="2025-02-07T06:57:13.744" v="2848" actId="27636"/>
          <ac:spMkLst>
            <pc:docMk/>
            <pc:sldMk cId="1343814349" sldId="2147378768"/>
            <ac:spMk id="6" creationId="{71206BDE-1A08-08E6-655E-57D44EBA924B}"/>
          </ac:spMkLst>
        </pc:spChg>
      </pc:sldChg>
      <pc:sldChg chg="modSp mod">
        <pc:chgData name="内山 裕弥" userId="8d34b9d0-ec49-418d-b1de-019cf6b56da5" providerId="ADAL" clId="{154816C8-82C4-4E4B-ADDD-BBC9EE556CCD}" dt="2025-02-07T06:57:13.715" v="2846" actId="27636"/>
        <pc:sldMkLst>
          <pc:docMk/>
          <pc:sldMk cId="4268087364" sldId="2147378769"/>
        </pc:sldMkLst>
        <pc:spChg chg="mod">
          <ac:chgData name="内山 裕弥" userId="8d34b9d0-ec49-418d-b1de-019cf6b56da5" providerId="ADAL" clId="{154816C8-82C4-4E4B-ADDD-BBC9EE556CCD}" dt="2025-02-07T06:57:13.715" v="2846" actId="27636"/>
          <ac:spMkLst>
            <pc:docMk/>
            <pc:sldMk cId="4268087364" sldId="2147378769"/>
            <ac:spMk id="17" creationId="{ED5B4037-6A33-091F-CAB0-26A3BC43E5EE}"/>
          </ac:spMkLst>
        </pc:spChg>
      </pc:sldChg>
      <pc:sldChg chg="modSp mod">
        <pc:chgData name="内山 裕弥" userId="8d34b9d0-ec49-418d-b1de-019cf6b56da5" providerId="ADAL" clId="{154816C8-82C4-4E4B-ADDD-BBC9EE556CCD}" dt="2025-02-07T06:57:13.643" v="2834" actId="27636"/>
        <pc:sldMkLst>
          <pc:docMk/>
          <pc:sldMk cId="2779406652" sldId="2147378770"/>
        </pc:sldMkLst>
        <pc:spChg chg="mod">
          <ac:chgData name="内山 裕弥" userId="8d34b9d0-ec49-418d-b1de-019cf6b56da5" providerId="ADAL" clId="{154816C8-82C4-4E4B-ADDD-BBC9EE556CCD}" dt="2025-02-07T06:57:13.643" v="2834" actId="27636"/>
          <ac:spMkLst>
            <pc:docMk/>
            <pc:sldMk cId="2779406652" sldId="2147378770"/>
            <ac:spMk id="7" creationId="{7F81DA45-2EDB-3376-10B4-C61FAB506B4F}"/>
          </ac:spMkLst>
        </pc:spChg>
      </pc:sldChg>
      <pc:sldChg chg="addSp delSp modSp add mod addCm">
        <pc:chgData name="内山 裕弥" userId="8d34b9d0-ec49-418d-b1de-019cf6b56da5" providerId="ADAL" clId="{154816C8-82C4-4E4B-ADDD-BBC9EE556CCD}" dt="2025-02-07T06:57:13.683" v="2841" actId="27636"/>
        <pc:sldMkLst>
          <pc:docMk/>
          <pc:sldMk cId="2192251413" sldId="2147483276"/>
        </pc:sldMkLst>
        <pc:spChg chg="mod">
          <ac:chgData name="内山 裕弥" userId="8d34b9d0-ec49-418d-b1de-019cf6b56da5" providerId="ADAL" clId="{154816C8-82C4-4E4B-ADDD-BBC9EE556CCD}" dt="2025-02-07T06:57:13.683" v="2841" actId="27636"/>
          <ac:spMkLst>
            <pc:docMk/>
            <pc:sldMk cId="2192251413" sldId="2147483276"/>
            <ac:spMk id="6" creationId="{B8A4D455-177B-0F48-C20A-E9924256F15C}"/>
          </ac:spMkLst>
        </pc:spChg>
        <pc:spChg chg="add mod ord">
          <ac:chgData name="内山 裕弥" userId="8d34b9d0-ec49-418d-b1de-019cf6b56da5" providerId="ADAL" clId="{154816C8-82C4-4E4B-ADDD-BBC9EE556CCD}" dt="2025-02-07T06:43:28.504" v="1251" actId="166"/>
          <ac:spMkLst>
            <pc:docMk/>
            <pc:sldMk cId="2192251413" sldId="2147483276"/>
            <ac:spMk id="8" creationId="{7C8E84C0-1CFB-1220-AA61-2E66130F5B32}"/>
          </ac:spMkLst>
        </pc:spChg>
        <pc:spChg chg="mod">
          <ac:chgData name="内山 裕弥" userId="8d34b9d0-ec49-418d-b1de-019cf6b56da5" providerId="ADAL" clId="{154816C8-82C4-4E4B-ADDD-BBC9EE556CCD}" dt="2025-02-07T06:47:25.203" v="1622" actId="20577"/>
          <ac:spMkLst>
            <pc:docMk/>
            <pc:sldMk cId="2192251413" sldId="2147483276"/>
            <ac:spMk id="9" creationId="{D22A0A06-D5A8-4A1A-B66F-2A8EDBD644F1}"/>
          </ac:spMkLst>
        </pc:spChg>
        <pc:graphicFrameChg chg="mod modGraphic">
          <ac:chgData name="内山 裕弥" userId="8d34b9d0-ec49-418d-b1de-019cf6b56da5" providerId="ADAL" clId="{154816C8-82C4-4E4B-ADDD-BBC9EE556CCD}" dt="2025-02-07T06:43:20.983" v="1248" actId="14100"/>
          <ac:graphicFrameMkLst>
            <pc:docMk/>
            <pc:sldMk cId="2192251413" sldId="2147483276"/>
            <ac:graphicFrameMk id="3" creationId="{B77AD93B-2184-6E7E-991B-6FFF513314DB}"/>
          </ac:graphicFrameMkLst>
        </pc:graphicFrameChg>
        <pc:graphicFrameChg chg="add del mod">
          <ac:chgData name="内山 裕弥" userId="8d34b9d0-ec49-418d-b1de-019cf6b56da5" providerId="ADAL" clId="{154816C8-82C4-4E4B-ADDD-BBC9EE556CCD}" dt="2025-02-07T06:43:17.068" v="1247" actId="21"/>
          <ac:graphicFrameMkLst>
            <pc:docMk/>
            <pc:sldMk cId="2192251413" sldId="2147483276"/>
            <ac:graphicFrameMk id="4" creationId="{52AA4510-4D17-8032-A114-D5F2B3CF41AB}"/>
          </ac:graphicFrameMkLst>
        </pc:graphicFrameChg>
        <pc:graphicFrameChg chg="add del mod">
          <ac:chgData name="内山 裕弥" userId="8d34b9d0-ec49-418d-b1de-019cf6b56da5" providerId="ADAL" clId="{154816C8-82C4-4E4B-ADDD-BBC9EE556CCD}" dt="2025-02-07T06:43:17.068" v="1247" actId="21"/>
          <ac:graphicFrameMkLst>
            <pc:docMk/>
            <pc:sldMk cId="2192251413" sldId="2147483276"/>
            <ac:graphicFrameMk id="7" creationId="{ECF1BDFC-9170-6CB8-2E0E-8D4FDE82587E}"/>
          </ac:graphicFrameMkLst>
        </pc:graphicFrameChg>
        <pc:graphicFrameChg chg="add mod">
          <ac:chgData name="内山 裕弥" userId="8d34b9d0-ec49-418d-b1de-019cf6b56da5" providerId="ADAL" clId="{154816C8-82C4-4E4B-ADDD-BBC9EE556CCD}" dt="2025-02-07T06:43:23.721" v="1249" actId="571"/>
          <ac:graphicFrameMkLst>
            <pc:docMk/>
            <pc:sldMk cId="2192251413" sldId="2147483276"/>
            <ac:graphicFrameMk id="10" creationId="{C5F6DA09-76D6-B10B-361F-04956F79EDE5}"/>
          </ac:graphicFrameMkLst>
        </pc:graphicFrameChg>
        <pc:graphicFrameChg chg="add mod">
          <ac:chgData name="内山 裕弥" userId="8d34b9d0-ec49-418d-b1de-019cf6b56da5" providerId="ADAL" clId="{154816C8-82C4-4E4B-ADDD-BBC9EE556CCD}" dt="2025-02-07T06:43:26.164" v="1250" actId="571"/>
          <ac:graphicFrameMkLst>
            <pc:docMk/>
            <pc:sldMk cId="2192251413" sldId="2147483276"/>
            <ac:graphicFrameMk id="11" creationId="{3F5ED731-1608-9D49-AA5B-4D22F31A1F6F}"/>
          </ac:graphicFrameMkLst>
        </pc:graphicFrame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7T06:27:20.027" v="512"/>
              <pc2:cmMkLst xmlns:pc2="http://schemas.microsoft.com/office/powerpoint/2019/9/main/command">
                <pc:docMk/>
                <pc:sldMk cId="2192251413" sldId="2147483276"/>
                <pc2:cmMk id="{284BFB41-0210-4B88-A047-2D8C351C36A9}"/>
              </pc2:cmMkLst>
            </pc226:cmChg>
          </p:ext>
        </pc:extLst>
      </pc:sldChg>
      <pc:sldChg chg="modSp add mod addCm">
        <pc:chgData name="内山 裕弥" userId="8d34b9d0-ec49-418d-b1de-019cf6b56da5" providerId="ADAL" clId="{154816C8-82C4-4E4B-ADDD-BBC9EE556CCD}" dt="2025-02-07T06:57:13.669" v="2838" actId="27636"/>
        <pc:sldMkLst>
          <pc:docMk/>
          <pc:sldMk cId="3516192024" sldId="2147483277"/>
        </pc:sldMkLst>
        <pc:spChg chg="mod">
          <ac:chgData name="内山 裕弥" userId="8d34b9d0-ec49-418d-b1de-019cf6b56da5" providerId="ADAL" clId="{154816C8-82C4-4E4B-ADDD-BBC9EE556CCD}" dt="2025-02-07T06:46:49.866" v="1612"/>
          <ac:spMkLst>
            <pc:docMk/>
            <pc:sldMk cId="3516192024" sldId="2147483277"/>
            <ac:spMk id="2" creationId="{CBF10691-58CC-75D5-EA23-B36D933D90D3}"/>
          </ac:spMkLst>
        </pc:spChg>
        <pc:spChg chg="mod">
          <ac:chgData name="内山 裕弥" userId="8d34b9d0-ec49-418d-b1de-019cf6b56da5" providerId="ADAL" clId="{154816C8-82C4-4E4B-ADDD-BBC9EE556CCD}" dt="2025-02-07T06:57:13.669" v="2838" actId="27636"/>
          <ac:spMkLst>
            <pc:docMk/>
            <pc:sldMk cId="3516192024" sldId="2147483277"/>
            <ac:spMk id="6" creationId="{71206BDE-1A08-08E6-655E-57D44EBA924B}"/>
          </ac:spMkLst>
        </pc:spChg>
        <pc:spChg chg="mod">
          <ac:chgData name="内山 裕弥" userId="8d34b9d0-ec49-418d-b1de-019cf6b56da5" providerId="ADAL" clId="{154816C8-82C4-4E4B-ADDD-BBC9EE556CCD}" dt="2025-02-07T06:46:53.212" v="1613" actId="20577"/>
          <ac:spMkLst>
            <pc:docMk/>
            <pc:sldMk cId="3516192024" sldId="2147483277"/>
            <ac:spMk id="9" creationId="{F7DA7227-3724-60C8-1F06-5A8A2F4AF1F8}"/>
          </ac:spMkLst>
        </pc:sp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7T06:47:01.649" v="1614"/>
              <pc2:cmMkLst xmlns:pc2="http://schemas.microsoft.com/office/powerpoint/2019/9/main/command">
                <pc:docMk/>
                <pc:sldMk cId="3516192024" sldId="2147483277"/>
                <pc2:cmMk id="{426A4EFF-F30E-4A23-8C5F-F935F78456BA}"/>
              </pc2:cmMkLst>
            </pc226:cmChg>
          </p:ext>
        </pc:extLst>
      </pc:sldChg>
      <pc:sldMasterChg chg="modSldLayout">
        <pc:chgData name="内山 裕弥" userId="8d34b9d0-ec49-418d-b1de-019cf6b56da5" providerId="ADAL" clId="{154816C8-82C4-4E4B-ADDD-BBC9EE556CCD}" dt="2025-02-07T06:51:45.235" v="1764" actId="478"/>
        <pc:sldMasterMkLst>
          <pc:docMk/>
          <pc:sldMasterMk cId="2162003807" sldId="2147483755"/>
        </pc:sldMasterMkLst>
        <pc:sldLayoutChg chg="delSp mod">
          <pc:chgData name="内山 裕弥" userId="8d34b9d0-ec49-418d-b1de-019cf6b56da5" providerId="ADAL" clId="{154816C8-82C4-4E4B-ADDD-BBC9EE556CCD}" dt="2025-02-07T06:51:45.235" v="1764" actId="478"/>
          <pc:sldLayoutMkLst>
            <pc:docMk/>
            <pc:sldMasterMk cId="2162003807" sldId="2147483755"/>
            <pc:sldLayoutMk cId="3034404116" sldId="2147483761"/>
          </pc:sldLayoutMkLst>
          <pc:spChg chg="del">
            <ac:chgData name="内山 裕弥" userId="8d34b9d0-ec49-418d-b1de-019cf6b56da5" providerId="ADAL" clId="{154816C8-82C4-4E4B-ADDD-BBC9EE556CCD}" dt="2025-02-07T06:51:45.235" v="1764" actId="478"/>
            <ac:spMkLst>
              <pc:docMk/>
              <pc:sldMasterMk cId="2162003807" sldId="2147483755"/>
              <pc:sldLayoutMk cId="3034404116" sldId="2147483761"/>
              <ac:spMk id="8" creationId="{1F5D0AC9-20E5-44AB-A57F-159FD31A7C3F}"/>
            </ac:spMkLst>
          </pc:spChg>
        </pc:sldLayoutChg>
      </pc:sldMasterChg>
    </pc:docChg>
  </pc:docChgLst>
  <pc:docChgLst>
    <pc:chgData name="Mikami, Maho" userId="50612f1b-df2d-47bb-8fdd-7ddedc83fc7e" providerId="ADAL" clId="{F7D83F21-36A9-40AE-BD2D-D23C0BEDA3FB}"/>
    <pc:docChg chg="delSld delMainMaster delSection modSection">
      <pc:chgData name="Mikami, Maho" userId="50612f1b-df2d-47bb-8fdd-7ddedc83fc7e" providerId="ADAL" clId="{F7D83F21-36A9-40AE-BD2D-D23C0BEDA3FB}" dt="2024-03-04T03:40:15.567" v="10" actId="17851"/>
      <pc:docMkLst>
        <pc:docMk/>
      </pc:docMkLst>
      <pc:sldChg chg="del">
        <pc:chgData name="Mikami, Maho" userId="50612f1b-df2d-47bb-8fdd-7ddedc83fc7e" providerId="ADAL" clId="{F7D83F21-36A9-40AE-BD2D-D23C0BEDA3FB}" dt="2024-03-04T03:39:45.376" v="0" actId="18676"/>
        <pc:sldMkLst>
          <pc:docMk/>
          <pc:sldMk cId="462420486" sldId="2146847375"/>
        </pc:sldMkLst>
      </pc:sldChg>
      <pc:sldChg chg="del">
        <pc:chgData name="Mikami, Maho" userId="50612f1b-df2d-47bb-8fdd-7ddedc83fc7e" providerId="ADAL" clId="{F7D83F21-36A9-40AE-BD2D-D23C0BEDA3FB}" dt="2024-03-04T03:39:45.376" v="0" actId="18676"/>
        <pc:sldMkLst>
          <pc:docMk/>
          <pc:sldMk cId="528819178" sldId="2147376917"/>
        </pc:sldMkLst>
      </pc:sldChg>
      <pc:sldChg chg="del">
        <pc:chgData name="Mikami, Maho" userId="50612f1b-df2d-47bb-8fdd-7ddedc83fc7e" providerId="ADAL" clId="{F7D83F21-36A9-40AE-BD2D-D23C0BEDA3FB}" dt="2024-03-04T03:39:48.782" v="2" actId="18676"/>
        <pc:sldMkLst>
          <pc:docMk/>
          <pc:sldMk cId="1351919840" sldId="2147377556"/>
        </pc:sldMkLst>
      </pc:sldChg>
      <pc:sldChg chg="del">
        <pc:chgData name="Mikami, Maho" userId="50612f1b-df2d-47bb-8fdd-7ddedc83fc7e" providerId="ADAL" clId="{F7D83F21-36A9-40AE-BD2D-D23C0BEDA3FB}" dt="2024-03-04T03:39:47.194" v="1" actId="18676"/>
        <pc:sldMkLst>
          <pc:docMk/>
          <pc:sldMk cId="2246359945" sldId="2147377561"/>
        </pc:sldMkLst>
      </pc:sldChg>
      <pc:sldChg chg="del">
        <pc:chgData name="Mikami, Maho" userId="50612f1b-df2d-47bb-8fdd-7ddedc83fc7e" providerId="ADAL" clId="{F7D83F21-36A9-40AE-BD2D-D23C0BEDA3FB}" dt="2024-03-04T03:39:47.194" v="1" actId="18676"/>
        <pc:sldMkLst>
          <pc:docMk/>
          <pc:sldMk cId="734518959" sldId="2147377562"/>
        </pc:sldMkLst>
      </pc:sldChg>
      <pc:sldChg chg="del">
        <pc:chgData name="Mikami, Maho" userId="50612f1b-df2d-47bb-8fdd-7ddedc83fc7e" providerId="ADAL" clId="{F7D83F21-36A9-40AE-BD2D-D23C0BEDA3FB}" dt="2024-03-04T03:39:47.194" v="1" actId="18676"/>
        <pc:sldMkLst>
          <pc:docMk/>
          <pc:sldMk cId="238679770" sldId="2147377563"/>
        </pc:sldMkLst>
      </pc:sldChg>
      <pc:sldChg chg="del">
        <pc:chgData name="Mikami, Maho" userId="50612f1b-df2d-47bb-8fdd-7ddedc83fc7e" providerId="ADAL" clId="{F7D83F21-36A9-40AE-BD2D-D23C0BEDA3FB}" dt="2024-03-04T03:39:45.376" v="0" actId="18676"/>
        <pc:sldMkLst>
          <pc:docMk/>
          <pc:sldMk cId="805073852" sldId="2147377567"/>
        </pc:sldMkLst>
      </pc:sldChg>
      <pc:sldChg chg="del">
        <pc:chgData name="Mikami, Maho" userId="50612f1b-df2d-47bb-8fdd-7ddedc83fc7e" providerId="ADAL" clId="{F7D83F21-36A9-40AE-BD2D-D23C0BEDA3FB}" dt="2024-03-04T03:39:45.376" v="0" actId="18676"/>
        <pc:sldMkLst>
          <pc:docMk/>
          <pc:sldMk cId="685865146" sldId="2147377574"/>
        </pc:sldMkLst>
      </pc:sldChg>
      <pc:sldChg chg="del">
        <pc:chgData name="Mikami, Maho" userId="50612f1b-df2d-47bb-8fdd-7ddedc83fc7e" providerId="ADAL" clId="{F7D83F21-36A9-40AE-BD2D-D23C0BEDA3FB}" dt="2024-03-04T03:39:45.376" v="0" actId="18676"/>
        <pc:sldMkLst>
          <pc:docMk/>
          <pc:sldMk cId="2570715531" sldId="2147377575"/>
        </pc:sldMkLst>
      </pc:sldChg>
      <pc:sldChg chg="del">
        <pc:chgData name="Mikami, Maho" userId="50612f1b-df2d-47bb-8fdd-7ddedc83fc7e" providerId="ADAL" clId="{F7D83F21-36A9-40AE-BD2D-D23C0BEDA3FB}" dt="2024-03-04T03:39:59.933" v="5" actId="18676"/>
        <pc:sldMkLst>
          <pc:docMk/>
          <pc:sldMk cId="3281773256" sldId="2147377576"/>
        </pc:sldMkLst>
      </pc:sldChg>
      <pc:sldChg chg="del">
        <pc:chgData name="Mikami, Maho" userId="50612f1b-df2d-47bb-8fdd-7ddedc83fc7e" providerId="ADAL" clId="{F7D83F21-36A9-40AE-BD2D-D23C0BEDA3FB}" dt="2024-03-04T03:39:59.933" v="5" actId="18676"/>
        <pc:sldMkLst>
          <pc:docMk/>
          <pc:sldMk cId="107032690" sldId="2147377577"/>
        </pc:sldMkLst>
      </pc:sldChg>
      <pc:sldChg chg="del">
        <pc:chgData name="Mikami, Maho" userId="50612f1b-df2d-47bb-8fdd-7ddedc83fc7e" providerId="ADAL" clId="{F7D83F21-36A9-40AE-BD2D-D23C0BEDA3FB}" dt="2024-03-04T03:39:52.338" v="4" actId="18676"/>
        <pc:sldMkLst>
          <pc:docMk/>
          <pc:sldMk cId="3227318452" sldId="2147377581"/>
        </pc:sldMkLst>
      </pc:sldChg>
      <pc:sldChg chg="del">
        <pc:chgData name="Mikami, Maho" userId="50612f1b-df2d-47bb-8fdd-7ddedc83fc7e" providerId="ADAL" clId="{F7D83F21-36A9-40AE-BD2D-D23C0BEDA3FB}" dt="2024-03-04T03:39:48.782" v="2" actId="18676"/>
        <pc:sldMkLst>
          <pc:docMk/>
          <pc:sldMk cId="1839331040" sldId="2147377657"/>
        </pc:sldMkLst>
      </pc:sldChg>
      <pc:sldChg chg="del">
        <pc:chgData name="Mikami, Maho" userId="50612f1b-df2d-47bb-8fdd-7ddedc83fc7e" providerId="ADAL" clId="{F7D83F21-36A9-40AE-BD2D-D23C0BEDA3FB}" dt="2024-03-04T03:39:48.782" v="2" actId="18676"/>
        <pc:sldMkLst>
          <pc:docMk/>
          <pc:sldMk cId="4163403683" sldId="2147377659"/>
        </pc:sldMkLst>
      </pc:sldChg>
      <pc:sldChg chg="del">
        <pc:chgData name="Mikami, Maho" userId="50612f1b-df2d-47bb-8fdd-7ddedc83fc7e" providerId="ADAL" clId="{F7D83F21-36A9-40AE-BD2D-D23C0BEDA3FB}" dt="2024-03-04T03:39:48.782" v="2" actId="18676"/>
        <pc:sldMkLst>
          <pc:docMk/>
          <pc:sldMk cId="1120326078" sldId="2147377666"/>
        </pc:sldMkLst>
      </pc:sldChg>
      <pc:sldChg chg="del">
        <pc:chgData name="Mikami, Maho" userId="50612f1b-df2d-47bb-8fdd-7ddedc83fc7e" providerId="ADAL" clId="{F7D83F21-36A9-40AE-BD2D-D23C0BEDA3FB}" dt="2024-03-04T03:39:45.376" v="0" actId="18676"/>
        <pc:sldMkLst>
          <pc:docMk/>
          <pc:sldMk cId="3890934605" sldId="2147377668"/>
        </pc:sldMkLst>
      </pc:sldChg>
      <pc:sldChg chg="del">
        <pc:chgData name="Mikami, Maho" userId="50612f1b-df2d-47bb-8fdd-7ddedc83fc7e" providerId="ADAL" clId="{F7D83F21-36A9-40AE-BD2D-D23C0BEDA3FB}" dt="2024-03-04T03:39:52.338" v="4" actId="18676"/>
        <pc:sldMkLst>
          <pc:docMk/>
          <pc:sldMk cId="1135267340" sldId="2147377669"/>
        </pc:sldMkLst>
      </pc:sldChg>
      <pc:sldChg chg="del">
        <pc:chgData name="Mikami, Maho" userId="50612f1b-df2d-47bb-8fdd-7ddedc83fc7e" providerId="ADAL" clId="{F7D83F21-36A9-40AE-BD2D-D23C0BEDA3FB}" dt="2024-03-04T03:40:11.972" v="9" actId="47"/>
        <pc:sldMkLst>
          <pc:docMk/>
          <pc:sldMk cId="1817343379" sldId="2147377671"/>
        </pc:sldMkLst>
      </pc:sldChg>
      <pc:sldChg chg="del">
        <pc:chgData name="Mikami, Maho" userId="50612f1b-df2d-47bb-8fdd-7ddedc83fc7e" providerId="ADAL" clId="{F7D83F21-36A9-40AE-BD2D-D23C0BEDA3FB}" dt="2024-03-04T03:39:45.376" v="0" actId="18676"/>
        <pc:sldMkLst>
          <pc:docMk/>
          <pc:sldMk cId="844297631" sldId="2147377673"/>
        </pc:sldMkLst>
      </pc:sldChg>
      <pc:sldChg chg="del">
        <pc:chgData name="Mikami, Maho" userId="50612f1b-df2d-47bb-8fdd-7ddedc83fc7e" providerId="ADAL" clId="{F7D83F21-36A9-40AE-BD2D-D23C0BEDA3FB}" dt="2024-03-04T03:39:45.376" v="0" actId="18676"/>
        <pc:sldMkLst>
          <pc:docMk/>
          <pc:sldMk cId="4244873255" sldId="2147377689"/>
        </pc:sldMkLst>
      </pc:sldChg>
      <pc:sldChg chg="del">
        <pc:chgData name="Mikami, Maho" userId="50612f1b-df2d-47bb-8fdd-7ddedc83fc7e" providerId="ADAL" clId="{F7D83F21-36A9-40AE-BD2D-D23C0BEDA3FB}" dt="2024-03-04T03:39:50.542" v="3" actId="18676"/>
        <pc:sldMkLst>
          <pc:docMk/>
          <pc:sldMk cId="1739290471" sldId="2147377690"/>
        </pc:sldMkLst>
      </pc:sldChg>
      <pc:sldChg chg="del">
        <pc:chgData name="Mikami, Maho" userId="50612f1b-df2d-47bb-8fdd-7ddedc83fc7e" providerId="ADAL" clId="{F7D83F21-36A9-40AE-BD2D-D23C0BEDA3FB}" dt="2024-03-04T03:39:47.194" v="1" actId="18676"/>
        <pc:sldMkLst>
          <pc:docMk/>
          <pc:sldMk cId="1758274760" sldId="2147377704"/>
        </pc:sldMkLst>
      </pc:sldChg>
      <pc:sldChg chg="del">
        <pc:chgData name="Mikami, Maho" userId="50612f1b-df2d-47bb-8fdd-7ddedc83fc7e" providerId="ADAL" clId="{F7D83F21-36A9-40AE-BD2D-D23C0BEDA3FB}" dt="2024-03-04T03:39:47.194" v="1" actId="18676"/>
        <pc:sldMkLst>
          <pc:docMk/>
          <pc:sldMk cId="3883192585" sldId="2147377705"/>
        </pc:sldMkLst>
      </pc:sldChg>
      <pc:sldChg chg="del">
        <pc:chgData name="Mikami, Maho" userId="50612f1b-df2d-47bb-8fdd-7ddedc83fc7e" providerId="ADAL" clId="{F7D83F21-36A9-40AE-BD2D-D23C0BEDA3FB}" dt="2024-03-04T03:39:47.194" v="1" actId="18676"/>
        <pc:sldMkLst>
          <pc:docMk/>
          <pc:sldMk cId="504310052" sldId="2147377727"/>
        </pc:sldMkLst>
      </pc:sldChg>
      <pc:sldChg chg="del">
        <pc:chgData name="Mikami, Maho" userId="50612f1b-df2d-47bb-8fdd-7ddedc83fc7e" providerId="ADAL" clId="{F7D83F21-36A9-40AE-BD2D-D23C0BEDA3FB}" dt="2024-03-04T03:40:06.877" v="7" actId="47"/>
        <pc:sldMkLst>
          <pc:docMk/>
          <pc:sldMk cId="262838709" sldId="2147377729"/>
        </pc:sldMkLst>
      </pc:sldChg>
      <pc:sldChg chg="del">
        <pc:chgData name="Mikami, Maho" userId="50612f1b-df2d-47bb-8fdd-7ddedc83fc7e" providerId="ADAL" clId="{F7D83F21-36A9-40AE-BD2D-D23C0BEDA3FB}" dt="2024-03-04T03:40:08.758" v="8" actId="18676"/>
        <pc:sldMkLst>
          <pc:docMk/>
          <pc:sldMk cId="333876597" sldId="2147377892"/>
        </pc:sldMkLst>
      </pc:sldChg>
      <pc:sldChg chg="del">
        <pc:chgData name="Mikami, Maho" userId="50612f1b-df2d-47bb-8fdd-7ddedc83fc7e" providerId="ADAL" clId="{F7D83F21-36A9-40AE-BD2D-D23C0BEDA3FB}" dt="2024-03-04T03:40:08.758" v="8" actId="18676"/>
        <pc:sldMkLst>
          <pc:docMk/>
          <pc:sldMk cId="3652295164" sldId="2147377906"/>
        </pc:sldMkLst>
      </pc:sldChg>
      <pc:sldChg chg="del">
        <pc:chgData name="Mikami, Maho" userId="50612f1b-df2d-47bb-8fdd-7ddedc83fc7e" providerId="ADAL" clId="{F7D83F21-36A9-40AE-BD2D-D23C0BEDA3FB}" dt="2024-03-04T03:40:03.934" v="6" actId="18676"/>
        <pc:sldMkLst>
          <pc:docMk/>
          <pc:sldMk cId="1061942161" sldId="2147377908"/>
        </pc:sldMkLst>
      </pc:sldChg>
      <pc:sldChg chg="del">
        <pc:chgData name="Mikami, Maho" userId="50612f1b-df2d-47bb-8fdd-7ddedc83fc7e" providerId="ADAL" clId="{F7D83F21-36A9-40AE-BD2D-D23C0BEDA3FB}" dt="2024-03-04T03:40:08.758" v="8" actId="18676"/>
        <pc:sldMkLst>
          <pc:docMk/>
          <pc:sldMk cId="2998354439" sldId="2147377945"/>
        </pc:sldMkLst>
      </pc:sldChg>
      <pc:sldChg chg="del">
        <pc:chgData name="Mikami, Maho" userId="50612f1b-df2d-47bb-8fdd-7ddedc83fc7e" providerId="ADAL" clId="{F7D83F21-36A9-40AE-BD2D-D23C0BEDA3FB}" dt="2024-03-04T03:39:48.782" v="2" actId="18676"/>
        <pc:sldMkLst>
          <pc:docMk/>
          <pc:sldMk cId="2185342663" sldId="2147378575"/>
        </pc:sldMkLst>
      </pc:sldChg>
      <pc:sldChg chg="del">
        <pc:chgData name="Mikami, Maho" userId="50612f1b-df2d-47bb-8fdd-7ddedc83fc7e" providerId="ADAL" clId="{F7D83F21-36A9-40AE-BD2D-D23C0BEDA3FB}" dt="2024-03-04T03:39:48.782" v="2" actId="18676"/>
        <pc:sldMkLst>
          <pc:docMk/>
          <pc:sldMk cId="3435946206" sldId="2147378576"/>
        </pc:sldMkLst>
      </pc:sldChg>
      <pc:sldChg chg="del">
        <pc:chgData name="Mikami, Maho" userId="50612f1b-df2d-47bb-8fdd-7ddedc83fc7e" providerId="ADAL" clId="{F7D83F21-36A9-40AE-BD2D-D23C0BEDA3FB}" dt="2024-03-04T03:39:48.782" v="2" actId="18676"/>
        <pc:sldMkLst>
          <pc:docMk/>
          <pc:sldMk cId="3567355389" sldId="2147378578"/>
        </pc:sldMkLst>
      </pc:sldChg>
      <pc:sldChg chg="del">
        <pc:chgData name="Mikami, Maho" userId="50612f1b-df2d-47bb-8fdd-7ddedc83fc7e" providerId="ADAL" clId="{F7D83F21-36A9-40AE-BD2D-D23C0BEDA3FB}" dt="2024-03-04T03:39:48.782" v="2" actId="18676"/>
        <pc:sldMkLst>
          <pc:docMk/>
          <pc:sldMk cId="707529735" sldId="2147378579"/>
        </pc:sldMkLst>
      </pc:sldChg>
      <pc:sldChg chg="del">
        <pc:chgData name="Mikami, Maho" userId="50612f1b-df2d-47bb-8fdd-7ddedc83fc7e" providerId="ADAL" clId="{F7D83F21-36A9-40AE-BD2D-D23C0BEDA3FB}" dt="2024-03-04T03:39:48.782" v="2" actId="18676"/>
        <pc:sldMkLst>
          <pc:docMk/>
          <pc:sldMk cId="3727282006" sldId="2147378580"/>
        </pc:sldMkLst>
      </pc:sldChg>
      <pc:sldChg chg="del">
        <pc:chgData name="Mikami, Maho" userId="50612f1b-df2d-47bb-8fdd-7ddedc83fc7e" providerId="ADAL" clId="{F7D83F21-36A9-40AE-BD2D-D23C0BEDA3FB}" dt="2024-03-04T03:39:48.782" v="2" actId="18676"/>
        <pc:sldMkLst>
          <pc:docMk/>
          <pc:sldMk cId="2792087975" sldId="2147378616"/>
        </pc:sldMkLst>
      </pc:sldChg>
      <pc:sldChg chg="del">
        <pc:chgData name="Mikami, Maho" userId="50612f1b-df2d-47bb-8fdd-7ddedc83fc7e" providerId="ADAL" clId="{F7D83F21-36A9-40AE-BD2D-D23C0BEDA3FB}" dt="2024-03-04T03:39:48.782" v="2" actId="18676"/>
        <pc:sldMkLst>
          <pc:docMk/>
          <pc:sldMk cId="981739146" sldId="2147378617"/>
        </pc:sldMkLst>
      </pc:sldChg>
      <pc:sldChg chg="del">
        <pc:chgData name="Mikami, Maho" userId="50612f1b-df2d-47bb-8fdd-7ddedc83fc7e" providerId="ADAL" clId="{F7D83F21-36A9-40AE-BD2D-D23C0BEDA3FB}" dt="2024-03-04T03:39:48.782" v="2" actId="18676"/>
        <pc:sldMkLst>
          <pc:docMk/>
          <pc:sldMk cId="3534535305" sldId="2147378618"/>
        </pc:sldMkLst>
      </pc:sldChg>
      <pc:sldChg chg="del">
        <pc:chgData name="Mikami, Maho" userId="50612f1b-df2d-47bb-8fdd-7ddedc83fc7e" providerId="ADAL" clId="{F7D83F21-36A9-40AE-BD2D-D23C0BEDA3FB}" dt="2024-03-04T03:39:47.194" v="1" actId="18676"/>
        <pc:sldMkLst>
          <pc:docMk/>
          <pc:sldMk cId="1623541732" sldId="2147378624"/>
        </pc:sldMkLst>
      </pc:sldChg>
      <pc:sldChg chg="del">
        <pc:chgData name="Mikami, Maho" userId="50612f1b-df2d-47bb-8fdd-7ddedc83fc7e" providerId="ADAL" clId="{F7D83F21-36A9-40AE-BD2D-D23C0BEDA3FB}" dt="2024-03-04T03:39:47.194" v="1" actId="18676"/>
        <pc:sldMkLst>
          <pc:docMk/>
          <pc:sldMk cId="896410585" sldId="2147378627"/>
        </pc:sldMkLst>
      </pc:sldChg>
      <pc:sldChg chg="del">
        <pc:chgData name="Mikami, Maho" userId="50612f1b-df2d-47bb-8fdd-7ddedc83fc7e" providerId="ADAL" clId="{F7D83F21-36A9-40AE-BD2D-D23C0BEDA3FB}" dt="2024-03-04T03:39:47.194" v="1" actId="18676"/>
        <pc:sldMkLst>
          <pc:docMk/>
          <pc:sldMk cId="1824916541" sldId="2147378629"/>
        </pc:sldMkLst>
      </pc:sldChg>
      <pc:sldChg chg="del">
        <pc:chgData name="Mikami, Maho" userId="50612f1b-df2d-47bb-8fdd-7ddedc83fc7e" providerId="ADAL" clId="{F7D83F21-36A9-40AE-BD2D-D23C0BEDA3FB}" dt="2024-03-04T03:39:47.194" v="1" actId="18676"/>
        <pc:sldMkLst>
          <pc:docMk/>
          <pc:sldMk cId="996035034" sldId="2147378643"/>
        </pc:sldMkLst>
      </pc:sldChg>
      <pc:sldChg chg="del">
        <pc:chgData name="Mikami, Maho" userId="50612f1b-df2d-47bb-8fdd-7ddedc83fc7e" providerId="ADAL" clId="{F7D83F21-36A9-40AE-BD2D-D23C0BEDA3FB}" dt="2024-03-04T03:39:45.376" v="0" actId="18676"/>
        <pc:sldMkLst>
          <pc:docMk/>
          <pc:sldMk cId="561355321" sldId="2147378644"/>
        </pc:sldMkLst>
      </pc:sldChg>
      <pc:sldChg chg="del">
        <pc:chgData name="Mikami, Maho" userId="50612f1b-df2d-47bb-8fdd-7ddedc83fc7e" providerId="ADAL" clId="{F7D83F21-36A9-40AE-BD2D-D23C0BEDA3FB}" dt="2024-03-04T03:39:50.542" v="3" actId="18676"/>
        <pc:sldMkLst>
          <pc:docMk/>
          <pc:sldMk cId="3910577318" sldId="2147378646"/>
        </pc:sldMkLst>
      </pc:sldChg>
      <pc:sldChg chg="del">
        <pc:chgData name="Mikami, Maho" userId="50612f1b-df2d-47bb-8fdd-7ddedc83fc7e" providerId="ADAL" clId="{F7D83F21-36A9-40AE-BD2D-D23C0BEDA3FB}" dt="2024-03-04T03:39:45.376" v="0" actId="18676"/>
        <pc:sldMkLst>
          <pc:docMk/>
          <pc:sldMk cId="3368404900" sldId="2147378647"/>
        </pc:sldMkLst>
      </pc:sldChg>
      <pc:sldChg chg="del">
        <pc:chgData name="Mikami, Maho" userId="50612f1b-df2d-47bb-8fdd-7ddedc83fc7e" providerId="ADAL" clId="{F7D83F21-36A9-40AE-BD2D-D23C0BEDA3FB}" dt="2024-03-04T03:39:47.194" v="1" actId="18676"/>
        <pc:sldMkLst>
          <pc:docMk/>
          <pc:sldMk cId="4276795404" sldId="2147378673"/>
        </pc:sldMkLst>
      </pc:sldChg>
      <pc:sldChg chg="del">
        <pc:chgData name="Mikami, Maho" userId="50612f1b-df2d-47bb-8fdd-7ddedc83fc7e" providerId="ADAL" clId="{F7D83F21-36A9-40AE-BD2D-D23C0BEDA3FB}" dt="2024-03-04T03:39:47.194" v="1" actId="18676"/>
        <pc:sldMkLst>
          <pc:docMk/>
          <pc:sldMk cId="2502302048" sldId="2147378674"/>
        </pc:sldMkLst>
      </pc:sldChg>
      <pc:sldChg chg="del">
        <pc:chgData name="Mikami, Maho" userId="50612f1b-df2d-47bb-8fdd-7ddedc83fc7e" providerId="ADAL" clId="{F7D83F21-36A9-40AE-BD2D-D23C0BEDA3FB}" dt="2024-03-04T03:39:47.194" v="1" actId="18676"/>
        <pc:sldMkLst>
          <pc:docMk/>
          <pc:sldMk cId="3451483535" sldId="2147378697"/>
        </pc:sldMkLst>
      </pc:sldChg>
      <pc:sldChg chg="del">
        <pc:chgData name="Mikami, Maho" userId="50612f1b-df2d-47bb-8fdd-7ddedc83fc7e" providerId="ADAL" clId="{F7D83F21-36A9-40AE-BD2D-D23C0BEDA3FB}" dt="2024-03-04T03:39:47.194" v="1" actId="18676"/>
        <pc:sldMkLst>
          <pc:docMk/>
          <pc:sldMk cId="2526397507" sldId="2147378698"/>
        </pc:sldMkLst>
      </pc:sldChg>
      <pc:sldChg chg="del">
        <pc:chgData name="Mikami, Maho" userId="50612f1b-df2d-47bb-8fdd-7ddedc83fc7e" providerId="ADAL" clId="{F7D83F21-36A9-40AE-BD2D-D23C0BEDA3FB}" dt="2024-03-04T03:39:47.194" v="1" actId="18676"/>
        <pc:sldMkLst>
          <pc:docMk/>
          <pc:sldMk cId="2319219132" sldId="2147378699"/>
        </pc:sldMkLst>
      </pc:sldChg>
      <pc:sldMasterChg chg="del delSldLayout">
        <pc:chgData name="Mikami, Maho" userId="50612f1b-df2d-47bb-8fdd-7ddedc83fc7e" providerId="ADAL" clId="{F7D83F21-36A9-40AE-BD2D-D23C0BEDA3FB}" dt="2024-03-04T03:39:50.542" v="3" actId="18676"/>
        <pc:sldMasterMkLst>
          <pc:docMk/>
          <pc:sldMasterMk cId="3255063131" sldId="2147483667"/>
        </pc:sldMasterMkLst>
        <pc:sldLayoutChg chg="del">
          <pc:chgData name="Mikami, Maho" userId="50612f1b-df2d-47bb-8fdd-7ddedc83fc7e" providerId="ADAL" clId="{F7D83F21-36A9-40AE-BD2D-D23C0BEDA3FB}" dt="2024-03-04T03:39:50.542" v="3" actId="18676"/>
          <pc:sldLayoutMkLst>
            <pc:docMk/>
            <pc:sldMasterMk cId="3255063131" sldId="2147483667"/>
            <pc:sldLayoutMk cId="1791946754" sldId="2147483668"/>
          </pc:sldLayoutMkLst>
        </pc:sldLayoutChg>
        <pc:sldLayoutChg chg="del">
          <pc:chgData name="Mikami, Maho" userId="50612f1b-df2d-47bb-8fdd-7ddedc83fc7e" providerId="ADAL" clId="{F7D83F21-36A9-40AE-BD2D-D23C0BEDA3FB}" dt="2024-03-04T03:39:50.542" v="3" actId="18676"/>
          <pc:sldLayoutMkLst>
            <pc:docMk/>
            <pc:sldMasterMk cId="3255063131" sldId="2147483667"/>
            <pc:sldLayoutMk cId="908681121" sldId="2147483669"/>
          </pc:sldLayoutMkLst>
        </pc:sldLayoutChg>
        <pc:sldLayoutChg chg="del">
          <pc:chgData name="Mikami, Maho" userId="50612f1b-df2d-47bb-8fdd-7ddedc83fc7e" providerId="ADAL" clId="{F7D83F21-36A9-40AE-BD2D-D23C0BEDA3FB}" dt="2024-03-04T03:39:50.542" v="3" actId="18676"/>
          <pc:sldLayoutMkLst>
            <pc:docMk/>
            <pc:sldMasterMk cId="3255063131" sldId="2147483667"/>
            <pc:sldLayoutMk cId="1267481303" sldId="2147483670"/>
          </pc:sldLayoutMkLst>
        </pc:sldLayoutChg>
        <pc:sldLayoutChg chg="del">
          <pc:chgData name="Mikami, Maho" userId="50612f1b-df2d-47bb-8fdd-7ddedc83fc7e" providerId="ADAL" clId="{F7D83F21-36A9-40AE-BD2D-D23C0BEDA3FB}" dt="2024-03-04T03:39:50.542" v="3" actId="18676"/>
          <pc:sldLayoutMkLst>
            <pc:docMk/>
            <pc:sldMasterMk cId="3255063131" sldId="2147483667"/>
            <pc:sldLayoutMk cId="2485696525" sldId="2147483671"/>
          </pc:sldLayoutMkLst>
        </pc:sldLayoutChg>
        <pc:sldLayoutChg chg="del">
          <pc:chgData name="Mikami, Maho" userId="50612f1b-df2d-47bb-8fdd-7ddedc83fc7e" providerId="ADAL" clId="{F7D83F21-36A9-40AE-BD2D-D23C0BEDA3FB}" dt="2024-03-04T03:39:50.542" v="3" actId="18676"/>
          <pc:sldLayoutMkLst>
            <pc:docMk/>
            <pc:sldMasterMk cId="3255063131" sldId="2147483667"/>
            <pc:sldLayoutMk cId="885518602" sldId="2147483672"/>
          </pc:sldLayoutMkLst>
        </pc:sldLayoutChg>
        <pc:sldLayoutChg chg="del">
          <pc:chgData name="Mikami, Maho" userId="50612f1b-df2d-47bb-8fdd-7ddedc83fc7e" providerId="ADAL" clId="{F7D83F21-36A9-40AE-BD2D-D23C0BEDA3FB}" dt="2024-03-04T03:39:50.542" v="3" actId="18676"/>
          <pc:sldLayoutMkLst>
            <pc:docMk/>
            <pc:sldMasterMk cId="3255063131" sldId="2147483667"/>
            <pc:sldLayoutMk cId="1945914954" sldId="2147483673"/>
          </pc:sldLayoutMkLst>
        </pc:sldLayoutChg>
        <pc:sldLayoutChg chg="del">
          <pc:chgData name="Mikami, Maho" userId="50612f1b-df2d-47bb-8fdd-7ddedc83fc7e" providerId="ADAL" clId="{F7D83F21-36A9-40AE-BD2D-D23C0BEDA3FB}" dt="2024-03-04T03:39:50.542" v="3" actId="18676"/>
          <pc:sldLayoutMkLst>
            <pc:docMk/>
            <pc:sldMasterMk cId="3255063131" sldId="2147483667"/>
            <pc:sldLayoutMk cId="3101348441" sldId="2147483674"/>
          </pc:sldLayoutMkLst>
        </pc:sldLayoutChg>
        <pc:sldLayoutChg chg="del">
          <pc:chgData name="Mikami, Maho" userId="50612f1b-df2d-47bb-8fdd-7ddedc83fc7e" providerId="ADAL" clId="{F7D83F21-36A9-40AE-BD2D-D23C0BEDA3FB}" dt="2024-03-04T03:39:50.542" v="3" actId="18676"/>
          <pc:sldLayoutMkLst>
            <pc:docMk/>
            <pc:sldMasterMk cId="3255063131" sldId="2147483667"/>
            <pc:sldLayoutMk cId="1306352199" sldId="2147483675"/>
          </pc:sldLayoutMkLst>
        </pc:sldLayoutChg>
        <pc:sldLayoutChg chg="del">
          <pc:chgData name="Mikami, Maho" userId="50612f1b-df2d-47bb-8fdd-7ddedc83fc7e" providerId="ADAL" clId="{F7D83F21-36A9-40AE-BD2D-D23C0BEDA3FB}" dt="2024-03-04T03:39:50.542" v="3" actId="18676"/>
          <pc:sldLayoutMkLst>
            <pc:docMk/>
            <pc:sldMasterMk cId="3255063131" sldId="2147483667"/>
            <pc:sldLayoutMk cId="1824245592" sldId="2147483676"/>
          </pc:sldLayoutMkLst>
        </pc:sldLayoutChg>
        <pc:sldLayoutChg chg="del">
          <pc:chgData name="Mikami, Maho" userId="50612f1b-df2d-47bb-8fdd-7ddedc83fc7e" providerId="ADAL" clId="{F7D83F21-36A9-40AE-BD2D-D23C0BEDA3FB}" dt="2024-03-04T03:39:50.542" v="3" actId="18676"/>
          <pc:sldLayoutMkLst>
            <pc:docMk/>
            <pc:sldMasterMk cId="3255063131" sldId="2147483667"/>
            <pc:sldLayoutMk cId="3806583456" sldId="2147483677"/>
          </pc:sldLayoutMkLst>
        </pc:sldLayoutChg>
        <pc:sldLayoutChg chg="del">
          <pc:chgData name="Mikami, Maho" userId="50612f1b-df2d-47bb-8fdd-7ddedc83fc7e" providerId="ADAL" clId="{F7D83F21-36A9-40AE-BD2D-D23C0BEDA3FB}" dt="2024-03-04T03:39:50.542" v="3" actId="18676"/>
          <pc:sldLayoutMkLst>
            <pc:docMk/>
            <pc:sldMasterMk cId="3255063131" sldId="2147483667"/>
            <pc:sldLayoutMk cId="3762773956" sldId="2147483678"/>
          </pc:sldLayoutMkLst>
        </pc:sldLayoutChg>
        <pc:sldLayoutChg chg="del">
          <pc:chgData name="Mikami, Maho" userId="50612f1b-df2d-47bb-8fdd-7ddedc83fc7e" providerId="ADAL" clId="{F7D83F21-36A9-40AE-BD2D-D23C0BEDA3FB}" dt="2024-03-04T03:39:50.542" v="3" actId="18676"/>
          <pc:sldLayoutMkLst>
            <pc:docMk/>
            <pc:sldMasterMk cId="3255063131" sldId="2147483667"/>
            <pc:sldLayoutMk cId="3096007197" sldId="2147483679"/>
          </pc:sldLayoutMkLst>
        </pc:sldLayoutChg>
        <pc:sldLayoutChg chg="del">
          <pc:chgData name="Mikami, Maho" userId="50612f1b-df2d-47bb-8fdd-7ddedc83fc7e" providerId="ADAL" clId="{F7D83F21-36A9-40AE-BD2D-D23C0BEDA3FB}" dt="2024-03-04T03:39:50.542" v="3" actId="18676"/>
          <pc:sldLayoutMkLst>
            <pc:docMk/>
            <pc:sldMasterMk cId="3255063131" sldId="2147483667"/>
            <pc:sldLayoutMk cId="3968018419" sldId="2147483680"/>
          </pc:sldLayoutMkLst>
        </pc:sldLayoutChg>
        <pc:sldLayoutChg chg="del">
          <pc:chgData name="Mikami, Maho" userId="50612f1b-df2d-47bb-8fdd-7ddedc83fc7e" providerId="ADAL" clId="{F7D83F21-36A9-40AE-BD2D-D23C0BEDA3FB}" dt="2024-03-04T03:39:50.542" v="3" actId="18676"/>
          <pc:sldLayoutMkLst>
            <pc:docMk/>
            <pc:sldMasterMk cId="3255063131" sldId="2147483667"/>
            <pc:sldLayoutMk cId="4009546988" sldId="2147483742"/>
          </pc:sldLayoutMkLst>
        </pc:sldLayoutChg>
        <pc:sldLayoutChg chg="del">
          <pc:chgData name="Mikami, Maho" userId="50612f1b-df2d-47bb-8fdd-7ddedc83fc7e" providerId="ADAL" clId="{F7D83F21-36A9-40AE-BD2D-D23C0BEDA3FB}" dt="2024-03-04T03:39:50.542" v="3" actId="18676"/>
          <pc:sldLayoutMkLst>
            <pc:docMk/>
            <pc:sldMasterMk cId="3255063131" sldId="2147483667"/>
            <pc:sldLayoutMk cId="226775646" sldId="2147483743"/>
          </pc:sldLayoutMkLst>
        </pc:sldLayoutChg>
        <pc:sldLayoutChg chg="del">
          <pc:chgData name="Mikami, Maho" userId="50612f1b-df2d-47bb-8fdd-7ddedc83fc7e" providerId="ADAL" clId="{F7D83F21-36A9-40AE-BD2D-D23C0BEDA3FB}" dt="2024-03-04T03:39:50.542" v="3" actId="18676"/>
          <pc:sldLayoutMkLst>
            <pc:docMk/>
            <pc:sldMasterMk cId="3255063131" sldId="2147483667"/>
            <pc:sldLayoutMk cId="2455457935" sldId="2147483744"/>
          </pc:sldLayoutMkLst>
        </pc:sldLayoutChg>
        <pc:sldLayoutChg chg="del">
          <pc:chgData name="Mikami, Maho" userId="50612f1b-df2d-47bb-8fdd-7ddedc83fc7e" providerId="ADAL" clId="{F7D83F21-36A9-40AE-BD2D-D23C0BEDA3FB}" dt="2024-03-04T03:39:50.542" v="3" actId="18676"/>
          <pc:sldLayoutMkLst>
            <pc:docMk/>
            <pc:sldMasterMk cId="3255063131" sldId="2147483667"/>
            <pc:sldLayoutMk cId="3383907151" sldId="2147483824"/>
          </pc:sldLayoutMkLst>
        </pc:sldLayoutChg>
      </pc:sldMasterChg>
      <pc:sldMasterChg chg="delSldLayout">
        <pc:chgData name="Mikami, Maho" userId="50612f1b-df2d-47bb-8fdd-7ddedc83fc7e" providerId="ADAL" clId="{F7D83F21-36A9-40AE-BD2D-D23C0BEDA3FB}" dt="2024-03-04T03:40:11.972" v="9" actId="47"/>
        <pc:sldMasterMkLst>
          <pc:docMk/>
          <pc:sldMasterMk cId="1409019568" sldId="2147483714"/>
        </pc:sldMasterMkLst>
        <pc:sldLayoutChg chg="del">
          <pc:chgData name="Mikami, Maho" userId="50612f1b-df2d-47bb-8fdd-7ddedc83fc7e" providerId="ADAL" clId="{F7D83F21-36A9-40AE-BD2D-D23C0BEDA3FB}" dt="2024-03-04T03:39:47.194" v="1" actId="18676"/>
          <pc:sldLayoutMkLst>
            <pc:docMk/>
            <pc:sldMasterMk cId="1409019568" sldId="2147483714"/>
            <pc:sldLayoutMk cId="2744424327" sldId="2147483715"/>
          </pc:sldLayoutMkLst>
        </pc:sldLayoutChg>
        <pc:sldLayoutChg chg="del">
          <pc:chgData name="Mikami, Maho" userId="50612f1b-df2d-47bb-8fdd-7ddedc83fc7e" providerId="ADAL" clId="{F7D83F21-36A9-40AE-BD2D-D23C0BEDA3FB}" dt="2024-03-04T03:39:52.338" v="4" actId="18676"/>
          <pc:sldLayoutMkLst>
            <pc:docMk/>
            <pc:sldMasterMk cId="1409019568" sldId="2147483714"/>
            <pc:sldLayoutMk cId="1622084675" sldId="2147483821"/>
          </pc:sldLayoutMkLst>
        </pc:sldLayoutChg>
        <pc:sldLayoutChg chg="del">
          <pc:chgData name="Mikami, Maho" userId="50612f1b-df2d-47bb-8fdd-7ddedc83fc7e" providerId="ADAL" clId="{F7D83F21-36A9-40AE-BD2D-D23C0BEDA3FB}" dt="2024-03-04T03:39:52.338" v="4" actId="18676"/>
          <pc:sldLayoutMkLst>
            <pc:docMk/>
            <pc:sldMasterMk cId="1409019568" sldId="2147483714"/>
            <pc:sldLayoutMk cId="3569353491" sldId="2147483822"/>
          </pc:sldLayoutMkLst>
        </pc:sldLayoutChg>
        <pc:sldLayoutChg chg="del">
          <pc:chgData name="Mikami, Maho" userId="50612f1b-df2d-47bb-8fdd-7ddedc83fc7e" providerId="ADAL" clId="{F7D83F21-36A9-40AE-BD2D-D23C0BEDA3FB}" dt="2024-03-04T03:40:11.972" v="9" actId="47"/>
          <pc:sldLayoutMkLst>
            <pc:docMk/>
            <pc:sldMasterMk cId="1409019568" sldId="2147483714"/>
            <pc:sldLayoutMk cId="1204270907" sldId="2147483823"/>
          </pc:sldLayoutMkLst>
        </pc:sldLayoutChg>
      </pc:sldMasterChg>
      <pc:sldMasterChg chg="delSldLayout">
        <pc:chgData name="Mikami, Maho" userId="50612f1b-df2d-47bb-8fdd-7ddedc83fc7e" providerId="ADAL" clId="{F7D83F21-36A9-40AE-BD2D-D23C0BEDA3FB}" dt="2024-03-04T03:40:06.877" v="7" actId="47"/>
        <pc:sldMasterMkLst>
          <pc:docMk/>
          <pc:sldMasterMk cId="3804727514" sldId="2147483716"/>
        </pc:sldMasterMkLst>
        <pc:sldLayoutChg chg="del">
          <pc:chgData name="Mikami, Maho" userId="50612f1b-df2d-47bb-8fdd-7ddedc83fc7e" providerId="ADAL" clId="{F7D83F21-36A9-40AE-BD2D-D23C0BEDA3FB}" dt="2024-03-04T03:40:06.877" v="7" actId="47"/>
          <pc:sldLayoutMkLst>
            <pc:docMk/>
            <pc:sldMasterMk cId="3804727514" sldId="2147483716"/>
            <pc:sldLayoutMk cId="621630544" sldId="2147483790"/>
          </pc:sldLayoutMkLst>
        </pc:sldLayoutChg>
        <pc:sldLayoutChg chg="del">
          <pc:chgData name="Mikami, Maho" userId="50612f1b-df2d-47bb-8fdd-7ddedc83fc7e" providerId="ADAL" clId="{F7D83F21-36A9-40AE-BD2D-D23C0BEDA3FB}" dt="2024-03-04T03:39:59.933" v="5" actId="18676"/>
          <pc:sldLayoutMkLst>
            <pc:docMk/>
            <pc:sldMasterMk cId="3804727514" sldId="2147483716"/>
            <pc:sldLayoutMk cId="4181489371" sldId="2147483792"/>
          </pc:sldLayoutMkLst>
        </pc:sldLayoutChg>
      </pc:sldMasterChg>
      <pc:sldMasterChg chg="del delSldLayout">
        <pc:chgData name="Mikami, Maho" userId="50612f1b-df2d-47bb-8fdd-7ddedc83fc7e" providerId="ADAL" clId="{F7D83F21-36A9-40AE-BD2D-D23C0BEDA3FB}" dt="2024-03-04T03:39:48.782" v="2" actId="18676"/>
        <pc:sldMasterMkLst>
          <pc:docMk/>
          <pc:sldMasterMk cId="1130637653" sldId="2147483719"/>
        </pc:sldMasterMkLst>
        <pc:sldLayoutChg chg="del">
          <pc:chgData name="Mikami, Maho" userId="50612f1b-df2d-47bb-8fdd-7ddedc83fc7e" providerId="ADAL" clId="{F7D83F21-36A9-40AE-BD2D-D23C0BEDA3FB}" dt="2024-03-04T03:39:48.782" v="2" actId="18676"/>
          <pc:sldLayoutMkLst>
            <pc:docMk/>
            <pc:sldMasterMk cId="1130637653" sldId="2147483719"/>
            <pc:sldLayoutMk cId="3428661439" sldId="2147483720"/>
          </pc:sldLayoutMkLst>
        </pc:sldLayoutChg>
        <pc:sldLayoutChg chg="del">
          <pc:chgData name="Mikami, Maho" userId="50612f1b-df2d-47bb-8fdd-7ddedc83fc7e" providerId="ADAL" clId="{F7D83F21-36A9-40AE-BD2D-D23C0BEDA3FB}" dt="2024-03-04T03:39:48.782" v="2" actId="18676"/>
          <pc:sldLayoutMkLst>
            <pc:docMk/>
            <pc:sldMasterMk cId="1130637653" sldId="2147483719"/>
            <pc:sldLayoutMk cId="1398444210" sldId="2147483721"/>
          </pc:sldLayoutMkLst>
        </pc:sldLayoutChg>
        <pc:sldLayoutChg chg="del">
          <pc:chgData name="Mikami, Maho" userId="50612f1b-df2d-47bb-8fdd-7ddedc83fc7e" providerId="ADAL" clId="{F7D83F21-36A9-40AE-BD2D-D23C0BEDA3FB}" dt="2024-03-04T03:39:48.782" v="2" actId="18676"/>
          <pc:sldLayoutMkLst>
            <pc:docMk/>
            <pc:sldMasterMk cId="1130637653" sldId="2147483719"/>
            <pc:sldLayoutMk cId="3566422275" sldId="2147483722"/>
          </pc:sldLayoutMkLst>
        </pc:sldLayoutChg>
        <pc:sldLayoutChg chg="del">
          <pc:chgData name="Mikami, Maho" userId="50612f1b-df2d-47bb-8fdd-7ddedc83fc7e" providerId="ADAL" clId="{F7D83F21-36A9-40AE-BD2D-D23C0BEDA3FB}" dt="2024-03-04T03:39:48.782" v="2" actId="18676"/>
          <pc:sldLayoutMkLst>
            <pc:docMk/>
            <pc:sldMasterMk cId="1130637653" sldId="2147483719"/>
            <pc:sldLayoutMk cId="1244802322" sldId="2147483723"/>
          </pc:sldLayoutMkLst>
        </pc:sldLayoutChg>
        <pc:sldLayoutChg chg="del">
          <pc:chgData name="Mikami, Maho" userId="50612f1b-df2d-47bb-8fdd-7ddedc83fc7e" providerId="ADAL" clId="{F7D83F21-36A9-40AE-BD2D-D23C0BEDA3FB}" dt="2024-03-04T03:39:48.782" v="2" actId="18676"/>
          <pc:sldLayoutMkLst>
            <pc:docMk/>
            <pc:sldMasterMk cId="1130637653" sldId="2147483719"/>
            <pc:sldLayoutMk cId="919984755" sldId="2147483724"/>
          </pc:sldLayoutMkLst>
        </pc:sldLayoutChg>
        <pc:sldLayoutChg chg="del">
          <pc:chgData name="Mikami, Maho" userId="50612f1b-df2d-47bb-8fdd-7ddedc83fc7e" providerId="ADAL" clId="{F7D83F21-36A9-40AE-BD2D-D23C0BEDA3FB}" dt="2024-03-04T03:39:48.782" v="2" actId="18676"/>
          <pc:sldLayoutMkLst>
            <pc:docMk/>
            <pc:sldMasterMk cId="1130637653" sldId="2147483719"/>
            <pc:sldLayoutMk cId="2296966997" sldId="2147483725"/>
          </pc:sldLayoutMkLst>
        </pc:sldLayoutChg>
        <pc:sldLayoutChg chg="del">
          <pc:chgData name="Mikami, Maho" userId="50612f1b-df2d-47bb-8fdd-7ddedc83fc7e" providerId="ADAL" clId="{F7D83F21-36A9-40AE-BD2D-D23C0BEDA3FB}" dt="2024-03-04T03:39:48.782" v="2" actId="18676"/>
          <pc:sldLayoutMkLst>
            <pc:docMk/>
            <pc:sldMasterMk cId="1130637653" sldId="2147483719"/>
            <pc:sldLayoutMk cId="2388636047" sldId="2147483726"/>
          </pc:sldLayoutMkLst>
        </pc:sldLayoutChg>
        <pc:sldLayoutChg chg="del">
          <pc:chgData name="Mikami, Maho" userId="50612f1b-df2d-47bb-8fdd-7ddedc83fc7e" providerId="ADAL" clId="{F7D83F21-36A9-40AE-BD2D-D23C0BEDA3FB}" dt="2024-03-04T03:39:48.782" v="2" actId="18676"/>
          <pc:sldLayoutMkLst>
            <pc:docMk/>
            <pc:sldMasterMk cId="1130637653" sldId="2147483719"/>
            <pc:sldLayoutMk cId="722086246" sldId="2147483727"/>
          </pc:sldLayoutMkLst>
        </pc:sldLayoutChg>
        <pc:sldLayoutChg chg="del">
          <pc:chgData name="Mikami, Maho" userId="50612f1b-df2d-47bb-8fdd-7ddedc83fc7e" providerId="ADAL" clId="{F7D83F21-36A9-40AE-BD2D-D23C0BEDA3FB}" dt="2024-03-04T03:39:48.782" v="2" actId="18676"/>
          <pc:sldLayoutMkLst>
            <pc:docMk/>
            <pc:sldMasterMk cId="1130637653" sldId="2147483719"/>
            <pc:sldLayoutMk cId="460078298" sldId="2147483728"/>
          </pc:sldLayoutMkLst>
        </pc:sldLayoutChg>
        <pc:sldLayoutChg chg="del">
          <pc:chgData name="Mikami, Maho" userId="50612f1b-df2d-47bb-8fdd-7ddedc83fc7e" providerId="ADAL" clId="{F7D83F21-36A9-40AE-BD2D-D23C0BEDA3FB}" dt="2024-03-04T03:39:48.782" v="2" actId="18676"/>
          <pc:sldLayoutMkLst>
            <pc:docMk/>
            <pc:sldMasterMk cId="1130637653" sldId="2147483719"/>
            <pc:sldLayoutMk cId="3985985759" sldId="2147483729"/>
          </pc:sldLayoutMkLst>
        </pc:sldLayoutChg>
        <pc:sldLayoutChg chg="del">
          <pc:chgData name="Mikami, Maho" userId="50612f1b-df2d-47bb-8fdd-7ddedc83fc7e" providerId="ADAL" clId="{F7D83F21-36A9-40AE-BD2D-D23C0BEDA3FB}" dt="2024-03-04T03:39:48.782" v="2" actId="18676"/>
          <pc:sldLayoutMkLst>
            <pc:docMk/>
            <pc:sldMasterMk cId="1130637653" sldId="2147483719"/>
            <pc:sldLayoutMk cId="1002031112" sldId="2147483730"/>
          </pc:sldLayoutMkLst>
        </pc:sldLayoutChg>
        <pc:sldLayoutChg chg="del">
          <pc:chgData name="Mikami, Maho" userId="50612f1b-df2d-47bb-8fdd-7ddedc83fc7e" providerId="ADAL" clId="{F7D83F21-36A9-40AE-BD2D-D23C0BEDA3FB}" dt="2024-03-04T03:39:48.782" v="2" actId="18676"/>
          <pc:sldLayoutMkLst>
            <pc:docMk/>
            <pc:sldMasterMk cId="1130637653" sldId="2147483719"/>
            <pc:sldLayoutMk cId="1323236587" sldId="2147483731"/>
          </pc:sldLayoutMkLst>
        </pc:sldLayoutChg>
        <pc:sldLayoutChg chg="del">
          <pc:chgData name="Mikami, Maho" userId="50612f1b-df2d-47bb-8fdd-7ddedc83fc7e" providerId="ADAL" clId="{F7D83F21-36A9-40AE-BD2D-D23C0BEDA3FB}" dt="2024-03-04T03:39:48.782" v="2" actId="18676"/>
          <pc:sldLayoutMkLst>
            <pc:docMk/>
            <pc:sldMasterMk cId="1130637653" sldId="2147483719"/>
            <pc:sldLayoutMk cId="3594954394" sldId="2147483732"/>
          </pc:sldLayoutMkLst>
        </pc:sldLayoutChg>
      </pc:sldMasterChg>
      <pc:sldMasterChg chg="delSldLayout">
        <pc:chgData name="Mikami, Maho" userId="50612f1b-df2d-47bb-8fdd-7ddedc83fc7e" providerId="ADAL" clId="{F7D83F21-36A9-40AE-BD2D-D23C0BEDA3FB}" dt="2024-03-04T03:40:03.934" v="6" actId="18676"/>
        <pc:sldMasterMkLst>
          <pc:docMk/>
          <pc:sldMasterMk cId="2162003807" sldId="2147483755"/>
        </pc:sldMasterMkLst>
        <pc:sldLayoutChg chg="del">
          <pc:chgData name="Mikami, Maho" userId="50612f1b-df2d-47bb-8fdd-7ddedc83fc7e" providerId="ADAL" clId="{F7D83F21-36A9-40AE-BD2D-D23C0BEDA3FB}" dt="2024-03-04T03:40:03.934" v="6" actId="18676"/>
          <pc:sldLayoutMkLst>
            <pc:docMk/>
            <pc:sldMasterMk cId="2162003807" sldId="2147483755"/>
            <pc:sldLayoutMk cId="2298266385" sldId="2147483793"/>
          </pc:sldLayoutMkLst>
        </pc:sldLayoutChg>
      </pc:sldMasterChg>
      <pc:sldMasterChg chg="delSldLayout">
        <pc:chgData name="Mikami, Maho" userId="50612f1b-df2d-47bb-8fdd-7ddedc83fc7e" providerId="ADAL" clId="{F7D83F21-36A9-40AE-BD2D-D23C0BEDA3FB}" dt="2024-03-04T03:40:08.758" v="8" actId="18676"/>
        <pc:sldMasterMkLst>
          <pc:docMk/>
          <pc:sldMasterMk cId="1323487226" sldId="2147483794"/>
        </pc:sldMasterMkLst>
        <pc:sldLayoutChg chg="del">
          <pc:chgData name="Mikami, Maho" userId="50612f1b-df2d-47bb-8fdd-7ddedc83fc7e" providerId="ADAL" clId="{F7D83F21-36A9-40AE-BD2D-D23C0BEDA3FB}" dt="2024-03-04T03:40:08.758" v="8" actId="18676"/>
          <pc:sldLayoutMkLst>
            <pc:docMk/>
            <pc:sldMasterMk cId="1323487226" sldId="2147483794"/>
            <pc:sldLayoutMk cId="4287832297" sldId="2147483808"/>
          </pc:sldLayoutMkLst>
        </pc:sldLayoutChg>
      </pc:sldMasterChg>
      <pc:sldMasterChg chg="del delSldLayout">
        <pc:chgData name="Mikami, Maho" userId="50612f1b-df2d-47bb-8fdd-7ddedc83fc7e" providerId="ADAL" clId="{F7D83F21-36A9-40AE-BD2D-D23C0BEDA3FB}" dt="2024-03-04T03:39:48.782" v="2" actId="18676"/>
        <pc:sldMasterMkLst>
          <pc:docMk/>
          <pc:sldMasterMk cId="1902307208" sldId="2147483809"/>
        </pc:sldMasterMkLst>
        <pc:sldLayoutChg chg="del">
          <pc:chgData name="Mikami, Maho" userId="50612f1b-df2d-47bb-8fdd-7ddedc83fc7e" providerId="ADAL" clId="{F7D83F21-36A9-40AE-BD2D-D23C0BEDA3FB}" dt="2024-03-04T03:39:48.782" v="2" actId="18676"/>
          <pc:sldLayoutMkLst>
            <pc:docMk/>
            <pc:sldMasterMk cId="1902307208" sldId="2147483809"/>
            <pc:sldLayoutMk cId="3878583577" sldId="2147483810"/>
          </pc:sldLayoutMkLst>
        </pc:sldLayoutChg>
        <pc:sldLayoutChg chg="del">
          <pc:chgData name="Mikami, Maho" userId="50612f1b-df2d-47bb-8fdd-7ddedc83fc7e" providerId="ADAL" clId="{F7D83F21-36A9-40AE-BD2D-D23C0BEDA3FB}" dt="2024-03-04T03:39:48.782" v="2" actId="18676"/>
          <pc:sldLayoutMkLst>
            <pc:docMk/>
            <pc:sldMasterMk cId="1902307208" sldId="2147483809"/>
            <pc:sldLayoutMk cId="3477627534" sldId="2147483811"/>
          </pc:sldLayoutMkLst>
        </pc:sldLayoutChg>
        <pc:sldLayoutChg chg="del">
          <pc:chgData name="Mikami, Maho" userId="50612f1b-df2d-47bb-8fdd-7ddedc83fc7e" providerId="ADAL" clId="{F7D83F21-36A9-40AE-BD2D-D23C0BEDA3FB}" dt="2024-03-04T03:39:48.782" v="2" actId="18676"/>
          <pc:sldLayoutMkLst>
            <pc:docMk/>
            <pc:sldMasterMk cId="1902307208" sldId="2147483809"/>
            <pc:sldLayoutMk cId="1806932154" sldId="2147483812"/>
          </pc:sldLayoutMkLst>
        </pc:sldLayoutChg>
        <pc:sldLayoutChg chg="del">
          <pc:chgData name="Mikami, Maho" userId="50612f1b-df2d-47bb-8fdd-7ddedc83fc7e" providerId="ADAL" clId="{F7D83F21-36A9-40AE-BD2D-D23C0BEDA3FB}" dt="2024-03-04T03:39:48.782" v="2" actId="18676"/>
          <pc:sldLayoutMkLst>
            <pc:docMk/>
            <pc:sldMasterMk cId="1902307208" sldId="2147483809"/>
            <pc:sldLayoutMk cId="1482579408" sldId="2147483813"/>
          </pc:sldLayoutMkLst>
        </pc:sldLayoutChg>
        <pc:sldLayoutChg chg="del">
          <pc:chgData name="Mikami, Maho" userId="50612f1b-df2d-47bb-8fdd-7ddedc83fc7e" providerId="ADAL" clId="{F7D83F21-36A9-40AE-BD2D-D23C0BEDA3FB}" dt="2024-03-04T03:39:48.782" v="2" actId="18676"/>
          <pc:sldLayoutMkLst>
            <pc:docMk/>
            <pc:sldMasterMk cId="1902307208" sldId="2147483809"/>
            <pc:sldLayoutMk cId="4130844186" sldId="2147483814"/>
          </pc:sldLayoutMkLst>
        </pc:sldLayoutChg>
        <pc:sldLayoutChg chg="del">
          <pc:chgData name="Mikami, Maho" userId="50612f1b-df2d-47bb-8fdd-7ddedc83fc7e" providerId="ADAL" clId="{F7D83F21-36A9-40AE-BD2D-D23C0BEDA3FB}" dt="2024-03-04T03:39:48.782" v="2" actId="18676"/>
          <pc:sldLayoutMkLst>
            <pc:docMk/>
            <pc:sldMasterMk cId="1902307208" sldId="2147483809"/>
            <pc:sldLayoutMk cId="3704785445" sldId="2147483815"/>
          </pc:sldLayoutMkLst>
        </pc:sldLayoutChg>
        <pc:sldLayoutChg chg="del">
          <pc:chgData name="Mikami, Maho" userId="50612f1b-df2d-47bb-8fdd-7ddedc83fc7e" providerId="ADAL" clId="{F7D83F21-36A9-40AE-BD2D-D23C0BEDA3FB}" dt="2024-03-04T03:39:48.782" v="2" actId="18676"/>
          <pc:sldLayoutMkLst>
            <pc:docMk/>
            <pc:sldMasterMk cId="1902307208" sldId="2147483809"/>
            <pc:sldLayoutMk cId="1068605463" sldId="2147483816"/>
          </pc:sldLayoutMkLst>
        </pc:sldLayoutChg>
        <pc:sldLayoutChg chg="del">
          <pc:chgData name="Mikami, Maho" userId="50612f1b-df2d-47bb-8fdd-7ddedc83fc7e" providerId="ADAL" clId="{F7D83F21-36A9-40AE-BD2D-D23C0BEDA3FB}" dt="2024-03-04T03:39:48.782" v="2" actId="18676"/>
          <pc:sldLayoutMkLst>
            <pc:docMk/>
            <pc:sldMasterMk cId="1902307208" sldId="2147483809"/>
            <pc:sldLayoutMk cId="1661531452" sldId="2147483817"/>
          </pc:sldLayoutMkLst>
        </pc:sldLayoutChg>
        <pc:sldLayoutChg chg="del">
          <pc:chgData name="Mikami, Maho" userId="50612f1b-df2d-47bb-8fdd-7ddedc83fc7e" providerId="ADAL" clId="{F7D83F21-36A9-40AE-BD2D-D23C0BEDA3FB}" dt="2024-03-04T03:39:48.782" v="2" actId="18676"/>
          <pc:sldLayoutMkLst>
            <pc:docMk/>
            <pc:sldMasterMk cId="1902307208" sldId="2147483809"/>
            <pc:sldLayoutMk cId="2803917072" sldId="2147483818"/>
          </pc:sldLayoutMkLst>
        </pc:sldLayoutChg>
        <pc:sldLayoutChg chg="del">
          <pc:chgData name="Mikami, Maho" userId="50612f1b-df2d-47bb-8fdd-7ddedc83fc7e" providerId="ADAL" clId="{F7D83F21-36A9-40AE-BD2D-D23C0BEDA3FB}" dt="2024-03-04T03:39:48.782" v="2" actId="18676"/>
          <pc:sldLayoutMkLst>
            <pc:docMk/>
            <pc:sldMasterMk cId="1902307208" sldId="2147483809"/>
            <pc:sldLayoutMk cId="2815699561" sldId="2147483819"/>
          </pc:sldLayoutMkLst>
        </pc:sldLayoutChg>
        <pc:sldLayoutChg chg="del">
          <pc:chgData name="Mikami, Maho" userId="50612f1b-df2d-47bb-8fdd-7ddedc83fc7e" providerId="ADAL" clId="{F7D83F21-36A9-40AE-BD2D-D23C0BEDA3FB}" dt="2024-03-04T03:39:48.782" v="2" actId="18676"/>
          <pc:sldLayoutMkLst>
            <pc:docMk/>
            <pc:sldMasterMk cId="1902307208" sldId="2147483809"/>
            <pc:sldLayoutMk cId="2090377025" sldId="2147483820"/>
          </pc:sldLayoutMkLst>
        </pc:sldLayoutChg>
      </pc:sldMasterChg>
    </pc:docChg>
  </pc:docChgLst>
  <pc:docChgLst>
    <pc:chgData name="森田 光貴" userId="314cf0e2-2175-4948-8a4a-96924aa0786a" providerId="ADAL" clId="{FB4601D1-EEC5-4530-9890-7FAD5B48F6AF}"/>
    <pc:docChg chg="undo custSel modSld">
      <pc:chgData name="森田 光貴" userId="314cf0e2-2175-4948-8a4a-96924aa0786a" providerId="ADAL" clId="{FB4601D1-EEC5-4530-9890-7FAD5B48F6AF}" dt="2025-02-10T05:37:36.299" v="418"/>
      <pc:docMkLst>
        <pc:docMk/>
      </pc:docMkLst>
      <pc:sldChg chg="modSp mod">
        <pc:chgData name="森田 光貴" userId="314cf0e2-2175-4948-8a4a-96924aa0786a" providerId="ADAL" clId="{FB4601D1-EEC5-4530-9890-7FAD5B48F6AF}" dt="2025-02-10T05:37:16.312" v="396" actId="20577"/>
        <pc:sldMkLst>
          <pc:docMk/>
          <pc:sldMk cId="1575785639" sldId="2147378716"/>
        </pc:sldMkLst>
        <pc:spChg chg="mod">
          <ac:chgData name="森田 光貴" userId="314cf0e2-2175-4948-8a4a-96924aa0786a" providerId="ADAL" clId="{FB4601D1-EEC5-4530-9890-7FAD5B48F6AF}" dt="2025-02-10T05:37:16.312" v="396" actId="20577"/>
          <ac:spMkLst>
            <pc:docMk/>
            <pc:sldMk cId="1575785639" sldId="2147378716"/>
            <ac:spMk id="9" creationId="{F7DA7227-3724-60C8-1F06-5A8A2F4AF1F8}"/>
          </ac:spMkLst>
        </pc:spChg>
      </pc:sldChg>
      <pc:sldChg chg="modSp mod">
        <pc:chgData name="森田 光貴" userId="314cf0e2-2175-4948-8a4a-96924aa0786a" providerId="ADAL" clId="{FB4601D1-EEC5-4530-9890-7FAD5B48F6AF}" dt="2025-02-10T05:02:52.577" v="133" actId="1076"/>
        <pc:sldMkLst>
          <pc:docMk/>
          <pc:sldMk cId="4237138605" sldId="2147378742"/>
        </pc:sldMkLst>
        <pc:spChg chg="mod">
          <ac:chgData name="森田 光貴" userId="314cf0e2-2175-4948-8a4a-96924aa0786a" providerId="ADAL" clId="{FB4601D1-EEC5-4530-9890-7FAD5B48F6AF}" dt="2025-02-10T05:00:03.679" v="132" actId="20577"/>
          <ac:spMkLst>
            <pc:docMk/>
            <pc:sldMk cId="4237138605" sldId="2147378742"/>
            <ac:spMk id="6" creationId="{95B7D5A6-3733-419F-5F47-1323A3D8D852}"/>
          </ac:spMkLst>
        </pc:spChg>
        <pc:spChg chg="mod">
          <ac:chgData name="森田 光貴" userId="314cf0e2-2175-4948-8a4a-96924aa0786a" providerId="ADAL" clId="{FB4601D1-EEC5-4530-9890-7FAD5B48F6AF}" dt="2025-02-10T05:02:52.577" v="133" actId="1076"/>
          <ac:spMkLst>
            <pc:docMk/>
            <pc:sldMk cId="4237138605" sldId="2147378742"/>
            <ac:spMk id="53" creationId="{600AE28E-2F7C-E1F6-5796-97DD1A8A0830}"/>
          </ac:spMkLst>
        </pc:spChg>
      </pc:sldChg>
      <pc:sldChg chg="modSp mod">
        <pc:chgData name="森田 光貴" userId="314cf0e2-2175-4948-8a4a-96924aa0786a" providerId="ADAL" clId="{FB4601D1-EEC5-4530-9890-7FAD5B48F6AF}" dt="2025-02-10T04:47:14.869" v="7"/>
        <pc:sldMkLst>
          <pc:docMk/>
          <pc:sldMk cId="3772405785" sldId="2147378747"/>
        </pc:sldMkLst>
        <pc:graphicFrameChg chg="mod modGraphic">
          <ac:chgData name="森田 光貴" userId="314cf0e2-2175-4948-8a4a-96924aa0786a" providerId="ADAL" clId="{FB4601D1-EEC5-4530-9890-7FAD5B48F6AF}" dt="2025-02-10T04:47:14.869" v="7"/>
          <ac:graphicFrameMkLst>
            <pc:docMk/>
            <pc:sldMk cId="3772405785" sldId="2147378747"/>
            <ac:graphicFrameMk id="6" creationId="{5A7AFDF6-E377-1764-3320-E79733479593}"/>
          </ac:graphicFrameMkLst>
        </pc:graphicFrameChg>
      </pc:sldChg>
      <pc:sldChg chg="modSp mod">
        <pc:chgData name="森田 光貴" userId="314cf0e2-2175-4948-8a4a-96924aa0786a" providerId="ADAL" clId="{FB4601D1-EEC5-4530-9890-7FAD5B48F6AF}" dt="2025-02-10T05:37:21.900" v="401"/>
        <pc:sldMkLst>
          <pc:docMk/>
          <pc:sldMk cId="941489346" sldId="2147483302"/>
        </pc:sldMkLst>
        <pc:spChg chg="mod">
          <ac:chgData name="森田 光貴" userId="314cf0e2-2175-4948-8a4a-96924aa0786a" providerId="ADAL" clId="{FB4601D1-EEC5-4530-9890-7FAD5B48F6AF}" dt="2025-02-10T05:37:21.900" v="401"/>
          <ac:spMkLst>
            <pc:docMk/>
            <pc:sldMk cId="941489346" sldId="2147483302"/>
            <ac:spMk id="9" creationId="{D22A0A06-D5A8-4A1A-B66F-2A8EDBD644F1}"/>
          </ac:spMkLst>
        </pc:spChg>
      </pc:sldChg>
      <pc:sldChg chg="modSp mod">
        <pc:chgData name="森田 光貴" userId="314cf0e2-2175-4948-8a4a-96924aa0786a" providerId="ADAL" clId="{FB4601D1-EEC5-4530-9890-7FAD5B48F6AF}" dt="2025-02-10T05:37:26.852" v="406"/>
        <pc:sldMkLst>
          <pc:docMk/>
          <pc:sldMk cId="3407569653" sldId="2147483303"/>
        </pc:sldMkLst>
        <pc:spChg chg="mod">
          <ac:chgData name="森田 光貴" userId="314cf0e2-2175-4948-8a4a-96924aa0786a" providerId="ADAL" clId="{FB4601D1-EEC5-4530-9890-7FAD5B48F6AF}" dt="2025-02-10T05:37:26.852" v="406"/>
          <ac:spMkLst>
            <pc:docMk/>
            <pc:sldMk cId="3407569653" sldId="2147483303"/>
            <ac:spMk id="4" creationId="{4F1B8C31-A2AA-E8B5-6842-B8CA68666E37}"/>
          </ac:spMkLst>
        </pc:spChg>
      </pc:sldChg>
      <pc:sldChg chg="modSp mod">
        <pc:chgData name="森田 光貴" userId="314cf0e2-2175-4948-8a4a-96924aa0786a" providerId="ADAL" clId="{FB4601D1-EEC5-4530-9890-7FAD5B48F6AF}" dt="2025-02-10T05:37:31.330" v="412"/>
        <pc:sldMkLst>
          <pc:docMk/>
          <pc:sldMk cId="1376256369" sldId="2147483304"/>
        </pc:sldMkLst>
        <pc:spChg chg="mod">
          <ac:chgData name="森田 光貴" userId="314cf0e2-2175-4948-8a4a-96924aa0786a" providerId="ADAL" clId="{FB4601D1-EEC5-4530-9890-7FAD5B48F6AF}" dt="2025-02-10T05:37:31.330" v="412"/>
          <ac:spMkLst>
            <pc:docMk/>
            <pc:sldMk cId="1376256369" sldId="2147483304"/>
            <ac:spMk id="4" creationId="{4F1B8C31-A2AA-E8B5-6842-B8CA68666E37}"/>
          </ac:spMkLst>
        </pc:spChg>
      </pc:sldChg>
      <pc:sldChg chg="modSp mod">
        <pc:chgData name="森田 光貴" userId="314cf0e2-2175-4948-8a4a-96924aa0786a" providerId="ADAL" clId="{FB4601D1-EEC5-4530-9890-7FAD5B48F6AF}" dt="2025-02-10T05:37:36.299" v="418"/>
        <pc:sldMkLst>
          <pc:docMk/>
          <pc:sldMk cId="2188300909" sldId="2147483305"/>
        </pc:sldMkLst>
        <pc:spChg chg="mod">
          <ac:chgData name="森田 光貴" userId="314cf0e2-2175-4948-8a4a-96924aa0786a" providerId="ADAL" clId="{FB4601D1-EEC5-4530-9890-7FAD5B48F6AF}" dt="2025-02-10T05:37:36.299" v="418"/>
          <ac:spMkLst>
            <pc:docMk/>
            <pc:sldMk cId="2188300909" sldId="2147483305"/>
            <ac:spMk id="4" creationId="{2C3BBDD6-C18E-A8D5-D35C-ABB97297C5DD}"/>
          </ac:spMkLst>
        </pc:spChg>
      </pc:sldChg>
      <pc:sldChg chg="addSp delSp modSp mod">
        <pc:chgData name="森田 光貴" userId="314cf0e2-2175-4948-8a4a-96924aa0786a" providerId="ADAL" clId="{FB4601D1-EEC5-4530-9890-7FAD5B48F6AF}" dt="2025-02-10T05:16:18.398" v="303"/>
        <pc:sldMkLst>
          <pc:docMk/>
          <pc:sldMk cId="796142727" sldId="2147483306"/>
        </pc:sldMkLst>
        <pc:spChg chg="add mod">
          <ac:chgData name="森田 光貴" userId="314cf0e2-2175-4948-8a4a-96924aa0786a" providerId="ADAL" clId="{FB4601D1-EEC5-4530-9890-7FAD5B48F6AF}" dt="2025-02-10T05:16:18.398" v="303"/>
          <ac:spMkLst>
            <pc:docMk/>
            <pc:sldMk cId="796142727" sldId="2147483306"/>
            <ac:spMk id="4" creationId="{3C4C9EEB-C87D-198B-1D63-23C5838AE97A}"/>
          </ac:spMkLst>
        </pc:spChg>
        <pc:spChg chg="del">
          <ac:chgData name="森田 光貴" userId="314cf0e2-2175-4948-8a4a-96924aa0786a" providerId="ADAL" clId="{FB4601D1-EEC5-4530-9890-7FAD5B48F6AF}" dt="2025-02-10T05:16:16.604" v="302" actId="478"/>
          <ac:spMkLst>
            <pc:docMk/>
            <pc:sldMk cId="796142727" sldId="2147483306"/>
            <ac:spMk id="10" creationId="{80E6EF29-A9F8-46B2-8DDE-5092A65E485F}"/>
          </ac:spMkLst>
        </pc:spChg>
      </pc:sldChg>
      <pc:sldChg chg="addSp delSp modSp mod">
        <pc:chgData name="森田 光貴" userId="314cf0e2-2175-4948-8a4a-96924aa0786a" providerId="ADAL" clId="{FB4601D1-EEC5-4530-9890-7FAD5B48F6AF}" dt="2025-02-10T05:16:35.291" v="305"/>
        <pc:sldMkLst>
          <pc:docMk/>
          <pc:sldMk cId="704545505" sldId="2147483307"/>
        </pc:sldMkLst>
        <pc:spChg chg="add mod">
          <ac:chgData name="森田 光貴" userId="314cf0e2-2175-4948-8a4a-96924aa0786a" providerId="ADAL" clId="{FB4601D1-EEC5-4530-9890-7FAD5B48F6AF}" dt="2025-02-10T05:16:35.291" v="305"/>
          <ac:spMkLst>
            <pc:docMk/>
            <pc:sldMk cId="704545505" sldId="2147483307"/>
            <ac:spMk id="4" creationId="{C6338179-D8D3-61A3-0429-0A3FBF947021}"/>
          </ac:spMkLst>
        </pc:spChg>
        <pc:spChg chg="del">
          <ac:chgData name="森田 光貴" userId="314cf0e2-2175-4948-8a4a-96924aa0786a" providerId="ADAL" clId="{FB4601D1-EEC5-4530-9890-7FAD5B48F6AF}" dt="2025-02-10T05:16:33.534" v="304" actId="478"/>
          <ac:spMkLst>
            <pc:docMk/>
            <pc:sldMk cId="704545505" sldId="2147483307"/>
            <ac:spMk id="10" creationId="{80E6EF29-A9F8-46B2-8DDE-5092A65E485F}"/>
          </ac:spMkLst>
        </pc:spChg>
      </pc:sldChg>
      <pc:sldChg chg="addSp delSp modSp mod">
        <pc:chgData name="森田 光貴" userId="314cf0e2-2175-4948-8a4a-96924aa0786a" providerId="ADAL" clId="{FB4601D1-EEC5-4530-9890-7FAD5B48F6AF}" dt="2025-02-10T05:16:42.650" v="307"/>
        <pc:sldMkLst>
          <pc:docMk/>
          <pc:sldMk cId="17199232" sldId="2147483308"/>
        </pc:sldMkLst>
        <pc:spChg chg="add mod">
          <ac:chgData name="森田 光貴" userId="314cf0e2-2175-4948-8a4a-96924aa0786a" providerId="ADAL" clId="{FB4601D1-EEC5-4530-9890-7FAD5B48F6AF}" dt="2025-02-10T05:16:42.650" v="307"/>
          <ac:spMkLst>
            <pc:docMk/>
            <pc:sldMk cId="17199232" sldId="2147483308"/>
            <ac:spMk id="4" creationId="{1291AD02-EF8D-FE71-A248-6A9C38F76504}"/>
          </ac:spMkLst>
        </pc:spChg>
        <pc:spChg chg="del">
          <ac:chgData name="森田 光貴" userId="314cf0e2-2175-4948-8a4a-96924aa0786a" providerId="ADAL" clId="{FB4601D1-EEC5-4530-9890-7FAD5B48F6AF}" dt="2025-02-10T05:16:41.310" v="306" actId="478"/>
          <ac:spMkLst>
            <pc:docMk/>
            <pc:sldMk cId="17199232" sldId="2147483308"/>
            <ac:spMk id="10" creationId="{80E6EF29-A9F8-46B2-8DDE-5092A65E485F}"/>
          </ac:spMkLst>
        </pc:spChg>
      </pc:sldChg>
      <pc:sldChg chg="addSp delSp modSp mod">
        <pc:chgData name="森田 光貴" userId="314cf0e2-2175-4948-8a4a-96924aa0786a" providerId="ADAL" clId="{FB4601D1-EEC5-4530-9890-7FAD5B48F6AF}" dt="2025-02-10T05:16:49.456" v="309"/>
        <pc:sldMkLst>
          <pc:docMk/>
          <pc:sldMk cId="818736796" sldId="2147483309"/>
        </pc:sldMkLst>
        <pc:spChg chg="add mod">
          <ac:chgData name="森田 光貴" userId="314cf0e2-2175-4948-8a4a-96924aa0786a" providerId="ADAL" clId="{FB4601D1-EEC5-4530-9890-7FAD5B48F6AF}" dt="2025-02-10T05:16:49.456" v="309"/>
          <ac:spMkLst>
            <pc:docMk/>
            <pc:sldMk cId="818736796" sldId="2147483309"/>
            <ac:spMk id="4" creationId="{95A86948-9994-722E-72BA-C019034BA77F}"/>
          </ac:spMkLst>
        </pc:spChg>
        <pc:spChg chg="del">
          <ac:chgData name="森田 光貴" userId="314cf0e2-2175-4948-8a4a-96924aa0786a" providerId="ADAL" clId="{FB4601D1-EEC5-4530-9890-7FAD5B48F6AF}" dt="2025-02-10T05:16:48.201" v="308" actId="478"/>
          <ac:spMkLst>
            <pc:docMk/>
            <pc:sldMk cId="818736796" sldId="2147483309"/>
            <ac:spMk id="10" creationId="{80E6EF29-A9F8-46B2-8DDE-5092A65E485F}"/>
          </ac:spMkLst>
        </pc:spChg>
      </pc:sldChg>
      <pc:sldChg chg="addSp delSp modSp mod">
        <pc:chgData name="森田 光貴" userId="314cf0e2-2175-4948-8a4a-96924aa0786a" providerId="ADAL" clId="{FB4601D1-EEC5-4530-9890-7FAD5B48F6AF}" dt="2025-02-10T05:16:55.294" v="311"/>
        <pc:sldMkLst>
          <pc:docMk/>
          <pc:sldMk cId="4227699123" sldId="2147483310"/>
        </pc:sldMkLst>
        <pc:spChg chg="add mod">
          <ac:chgData name="森田 光貴" userId="314cf0e2-2175-4948-8a4a-96924aa0786a" providerId="ADAL" clId="{FB4601D1-EEC5-4530-9890-7FAD5B48F6AF}" dt="2025-02-10T05:16:55.294" v="311"/>
          <ac:spMkLst>
            <pc:docMk/>
            <pc:sldMk cId="4227699123" sldId="2147483310"/>
            <ac:spMk id="4" creationId="{F0834B2B-CE70-FA15-798D-05EECB16ACF8}"/>
          </ac:spMkLst>
        </pc:spChg>
        <pc:spChg chg="del">
          <ac:chgData name="森田 光貴" userId="314cf0e2-2175-4948-8a4a-96924aa0786a" providerId="ADAL" clId="{FB4601D1-EEC5-4530-9890-7FAD5B48F6AF}" dt="2025-02-10T05:16:54.067" v="310" actId="478"/>
          <ac:spMkLst>
            <pc:docMk/>
            <pc:sldMk cId="4227699123" sldId="2147483310"/>
            <ac:spMk id="10" creationId="{80E6EF29-A9F8-46B2-8DDE-5092A65E485F}"/>
          </ac:spMkLst>
        </pc:spChg>
      </pc:sldChg>
      <pc:sldChg chg="modSp mod">
        <pc:chgData name="森田 光貴" userId="314cf0e2-2175-4948-8a4a-96924aa0786a" providerId="ADAL" clId="{FB4601D1-EEC5-4530-9890-7FAD5B48F6AF}" dt="2025-02-10T05:19:37.303" v="329"/>
        <pc:sldMkLst>
          <pc:docMk/>
          <pc:sldMk cId="644493248" sldId="2147483311"/>
        </pc:sldMkLst>
        <pc:graphicFrameChg chg="mod modGraphic">
          <ac:chgData name="森田 光貴" userId="314cf0e2-2175-4948-8a4a-96924aa0786a" providerId="ADAL" clId="{FB4601D1-EEC5-4530-9890-7FAD5B48F6AF}" dt="2025-02-10T05:19:37.303" v="329"/>
          <ac:graphicFrameMkLst>
            <pc:docMk/>
            <pc:sldMk cId="644493248" sldId="2147483311"/>
            <ac:graphicFrameMk id="13" creationId="{6B84DF48-8B2E-7483-E19E-A4C36C91AA03}"/>
          </ac:graphicFrameMkLst>
        </pc:graphicFrameChg>
      </pc:sldChg>
      <pc:sldChg chg="modSp mod">
        <pc:chgData name="森田 光貴" userId="314cf0e2-2175-4948-8a4a-96924aa0786a" providerId="ADAL" clId="{FB4601D1-EEC5-4530-9890-7FAD5B48F6AF}" dt="2025-02-10T05:34:18.388" v="384"/>
        <pc:sldMkLst>
          <pc:docMk/>
          <pc:sldMk cId="2434394258" sldId="2147483312"/>
        </pc:sldMkLst>
        <pc:graphicFrameChg chg="mod modGraphic">
          <ac:chgData name="森田 光貴" userId="314cf0e2-2175-4948-8a4a-96924aa0786a" providerId="ADAL" clId="{FB4601D1-EEC5-4530-9890-7FAD5B48F6AF}" dt="2025-02-10T05:34:18.388" v="384"/>
          <ac:graphicFrameMkLst>
            <pc:docMk/>
            <pc:sldMk cId="2434394258" sldId="2147483312"/>
            <ac:graphicFrameMk id="13" creationId="{6B84DF48-8B2E-7483-E19E-A4C36C91AA03}"/>
          </ac:graphicFrameMkLst>
        </pc:graphicFrameChg>
      </pc:sldChg>
    </pc:docChg>
  </pc:docChgLst>
  <pc:docChgLst>
    <pc:chgData name="原田　惇" clId="Web-{2FB82AC1-2591-4DE5-B81B-EA0C2EE1C02E}"/>
    <pc:docChg chg="modSld sldOrd">
      <pc:chgData name="原田　惇" userId="" providerId="" clId="Web-{2FB82AC1-2591-4DE5-B81B-EA0C2EE1C02E}" dt="2024-04-18T06:29:41.553" v="69"/>
      <pc:docMkLst>
        <pc:docMk/>
      </pc:docMkLst>
      <pc:sldChg chg="addSp modSp">
        <pc:chgData name="原田　惇" userId="" providerId="" clId="Web-{2FB82AC1-2591-4DE5-B81B-EA0C2EE1C02E}" dt="2024-04-18T06:28:51.676" v="68" actId="1076"/>
        <pc:sldMkLst>
          <pc:docMk/>
          <pc:sldMk cId="548282329" sldId="2147377940"/>
        </pc:sldMkLst>
        <pc:spChg chg="add mod">
          <ac:chgData name="原田　惇" userId="" providerId="" clId="Web-{2FB82AC1-2591-4DE5-B81B-EA0C2EE1C02E}" dt="2024-04-18T06:28:51.676" v="68" actId="1076"/>
          <ac:spMkLst>
            <pc:docMk/>
            <pc:sldMk cId="548282329" sldId="2147377940"/>
            <ac:spMk id="7" creationId="{1E8DC314-BD13-5E0C-3F6F-B90A2074D664}"/>
          </ac:spMkLst>
        </pc:spChg>
      </pc:sldChg>
      <pc:sldChg chg="ord">
        <pc:chgData name="原田　惇" userId="" providerId="" clId="Web-{2FB82AC1-2591-4DE5-B81B-EA0C2EE1C02E}" dt="2024-04-18T06:29:41.553" v="69"/>
        <pc:sldMkLst>
          <pc:docMk/>
          <pc:sldMk cId="2061620207" sldId="2147378645"/>
        </pc:sldMkLst>
      </pc:sldChg>
      <pc:sldChg chg="modSp">
        <pc:chgData name="原田　惇" userId="" providerId="" clId="Web-{2FB82AC1-2591-4DE5-B81B-EA0C2EE1C02E}" dt="2024-04-18T06:28:38.254" v="67" actId="1076"/>
        <pc:sldMkLst>
          <pc:docMk/>
          <pc:sldMk cId="1541444175" sldId="2147378660"/>
        </pc:sldMkLst>
        <pc:spChg chg="mod">
          <ac:chgData name="原田　惇" userId="" providerId="" clId="Web-{2FB82AC1-2591-4DE5-B81B-EA0C2EE1C02E}" dt="2024-04-18T06:28:38.254" v="67" actId="1076"/>
          <ac:spMkLst>
            <pc:docMk/>
            <pc:sldMk cId="1541444175" sldId="2147378660"/>
            <ac:spMk id="2" creationId="{F94CF494-E0C2-22EA-8AE5-F92FB79F0C3D}"/>
          </ac:spMkLst>
        </pc:spChg>
      </pc:sldChg>
    </pc:docChg>
  </pc:docChgLst>
  <pc:docChgLst>
    <pc:chgData name="森田 光貴" userId="314cf0e2-2175-4948-8a4a-96924aa0786a" providerId="ADAL" clId="{A6405341-5B8D-4D8C-881C-35E94C1D1288}"/>
    <pc:docChg chg="custSel addSld delSld modSld sldOrd modSection">
      <pc:chgData name="森田 光貴" userId="314cf0e2-2175-4948-8a4a-96924aa0786a" providerId="ADAL" clId="{A6405341-5B8D-4D8C-881C-35E94C1D1288}" dt="2025-02-10T01:49:34.692" v="985"/>
      <pc:docMkLst>
        <pc:docMk/>
      </pc:docMkLst>
      <pc:sldChg chg="modCm">
        <pc:chgData name="森田 光貴" userId="314cf0e2-2175-4948-8a4a-96924aa0786a" providerId="ADAL" clId="{A6405341-5B8D-4D8C-881C-35E94C1D1288}" dt="2025-02-10T00:56:06.184" v="0" actId="2056"/>
        <pc:sldMkLst>
          <pc:docMk/>
          <pc:sldMk cId="2807815468" sldId="2147378693"/>
        </pc:sldMkLst>
        <pc:extLst>
          <p:ext xmlns:p="http://schemas.openxmlformats.org/presentationml/2006/main" uri="{D6D511B9-2390-475A-947B-AFAB55BFBCF1}">
            <pc226:cmChg xmlns:pc226="http://schemas.microsoft.com/office/powerpoint/2022/06/main/command" chg="mod">
              <pc226:chgData name="森田 光貴" userId="314cf0e2-2175-4948-8a4a-96924aa0786a" providerId="ADAL" clId="{A6405341-5B8D-4D8C-881C-35E94C1D1288}" dt="2025-02-10T00:56:06.184" v="0" actId="2056"/>
              <pc2:cmMkLst xmlns:pc2="http://schemas.microsoft.com/office/powerpoint/2019/9/main/command">
                <pc:docMk/>
                <pc:sldMk cId="2807815468" sldId="2147378693"/>
                <pc2:cmMk id="{DA319822-DB49-452C-BF10-51188F0A2691}"/>
              </pc2:cmMkLst>
            </pc226:cmChg>
          </p:ext>
        </pc:extLst>
      </pc:sldChg>
      <pc:sldChg chg="addSp delSp modSp del mod ord modCm">
        <pc:chgData name="森田 光貴" userId="314cf0e2-2175-4948-8a4a-96924aa0786a" providerId="ADAL" clId="{A6405341-5B8D-4D8C-881C-35E94C1D1288}" dt="2025-02-10T01:46:11.687" v="926" actId="47"/>
        <pc:sldMkLst>
          <pc:docMk/>
          <pc:sldMk cId="779576324" sldId="2147483290"/>
        </pc:sldMkLst>
        <pc:graphicFrameChg chg="add mod">
          <ac:chgData name="森田 光貴" userId="314cf0e2-2175-4948-8a4a-96924aa0786a" providerId="ADAL" clId="{A6405341-5B8D-4D8C-881C-35E94C1D1288}" dt="2025-02-10T01:39:53.182" v="922"/>
          <ac:graphicFrameMkLst>
            <pc:docMk/>
            <pc:sldMk cId="779576324" sldId="2147483290"/>
            <ac:graphicFrameMk id="2" creationId="{035F48E0-4501-EC29-3FBA-CC884E53756D}"/>
          </ac:graphicFrameMkLst>
        </pc:graphicFrameChg>
        <pc:graphicFrameChg chg="del mod modGraphic">
          <ac:chgData name="森田 光貴" userId="314cf0e2-2175-4948-8a4a-96924aa0786a" providerId="ADAL" clId="{A6405341-5B8D-4D8C-881C-35E94C1D1288}" dt="2025-02-10T01:39:51.373" v="920" actId="478"/>
          <ac:graphicFrameMkLst>
            <pc:docMk/>
            <pc:sldMk cId="779576324" sldId="2147483290"/>
            <ac:graphicFrameMk id="13" creationId="{6B84DF48-8B2E-7483-E19E-A4C36C91AA03}"/>
          </ac:graphicFrameMkLst>
        </pc:graphicFrameChg>
        <pc:extLst>
          <p:ext xmlns:p="http://schemas.openxmlformats.org/presentationml/2006/main" uri="{D6D511B9-2390-475A-947B-AFAB55BFBCF1}">
            <pc226:cmChg xmlns:pc226="http://schemas.microsoft.com/office/powerpoint/2022/06/main/command" chg="mod">
              <pc226:chgData name="森田 光貴" userId="314cf0e2-2175-4948-8a4a-96924aa0786a" providerId="ADAL" clId="{A6405341-5B8D-4D8C-881C-35E94C1D1288}" dt="2025-02-10T01:39:51.381" v="921" actId="2056"/>
              <pc2:cmMkLst xmlns:pc2="http://schemas.microsoft.com/office/powerpoint/2019/9/main/command">
                <pc:docMk/>
                <pc:sldMk cId="779576324" sldId="2147483290"/>
                <pc2:cmMk id="{736DE0C4-3851-47B1-B408-A05F89339E87}"/>
              </pc2:cmMkLst>
            </pc226:cmChg>
          </p:ext>
        </pc:extLst>
      </pc:sldChg>
      <pc:sldChg chg="del">
        <pc:chgData name="森田 光貴" userId="314cf0e2-2175-4948-8a4a-96924aa0786a" providerId="ADAL" clId="{A6405341-5B8D-4D8C-881C-35E94C1D1288}" dt="2025-02-10T01:46:12.307" v="927" actId="47"/>
        <pc:sldMkLst>
          <pc:docMk/>
          <pc:sldMk cId="4261027216" sldId="2147483291"/>
        </pc:sldMkLst>
      </pc:sldChg>
      <pc:sldChg chg="modSp mod">
        <pc:chgData name="森田 光貴" userId="314cf0e2-2175-4948-8a4a-96924aa0786a" providerId="ADAL" clId="{A6405341-5B8D-4D8C-881C-35E94C1D1288}" dt="2025-02-10T01:36:12.678" v="917" actId="1076"/>
        <pc:sldMkLst>
          <pc:docMk/>
          <pc:sldMk cId="3497061464" sldId="2147483293"/>
        </pc:sldMkLst>
        <pc:spChg chg="mod">
          <ac:chgData name="森田 光貴" userId="314cf0e2-2175-4948-8a4a-96924aa0786a" providerId="ADAL" clId="{A6405341-5B8D-4D8C-881C-35E94C1D1288}" dt="2025-02-10T01:36:12.678" v="917" actId="1076"/>
          <ac:spMkLst>
            <pc:docMk/>
            <pc:sldMk cId="3497061464" sldId="2147483293"/>
            <ac:spMk id="52" creationId="{0E467507-0884-6534-768F-4B2888FFD52C}"/>
          </ac:spMkLst>
        </pc:spChg>
      </pc:sldChg>
      <pc:sldChg chg="modSp mod">
        <pc:chgData name="森田 光貴" userId="314cf0e2-2175-4948-8a4a-96924aa0786a" providerId="ADAL" clId="{A6405341-5B8D-4D8C-881C-35E94C1D1288}" dt="2025-02-10T01:49:34.692" v="985"/>
        <pc:sldMkLst>
          <pc:docMk/>
          <pc:sldMk cId="3384715002" sldId="2147483296"/>
        </pc:sldMkLst>
        <pc:spChg chg="mod">
          <ac:chgData name="森田 光貴" userId="314cf0e2-2175-4948-8a4a-96924aa0786a" providerId="ADAL" clId="{A6405341-5B8D-4D8C-881C-35E94C1D1288}" dt="2025-02-10T01:35:28.101" v="916" actId="1076"/>
          <ac:spMkLst>
            <pc:docMk/>
            <pc:sldMk cId="3384715002" sldId="2147483296"/>
            <ac:spMk id="11" creationId="{F3C7DC9A-525C-F63B-8EA0-A1FD3AEF7283}"/>
          </ac:spMkLst>
        </pc:spChg>
        <pc:graphicFrameChg chg="mod modGraphic">
          <ac:chgData name="森田 光貴" userId="314cf0e2-2175-4948-8a4a-96924aa0786a" providerId="ADAL" clId="{A6405341-5B8D-4D8C-881C-35E94C1D1288}" dt="2025-02-10T01:49:34.692" v="985"/>
          <ac:graphicFrameMkLst>
            <pc:docMk/>
            <pc:sldMk cId="3384715002" sldId="2147483296"/>
            <ac:graphicFrameMk id="8" creationId="{628A4627-CAA7-6C39-A2F3-3AFB41DE8AAE}"/>
          </ac:graphicFrameMkLst>
        </pc:graphicFrameChg>
      </pc:sldChg>
      <pc:sldChg chg="modSp mod modCm">
        <pc:chgData name="森田 光貴" userId="314cf0e2-2175-4948-8a4a-96924aa0786a" providerId="ADAL" clId="{A6405341-5B8D-4D8C-881C-35E94C1D1288}" dt="2025-02-10T01:19:45.025" v="359" actId="6549"/>
        <pc:sldMkLst>
          <pc:docMk/>
          <pc:sldMk cId="2188300909" sldId="2147483305"/>
        </pc:sldMkLst>
        <pc:spChg chg="mod">
          <ac:chgData name="森田 光貴" userId="314cf0e2-2175-4948-8a4a-96924aa0786a" providerId="ADAL" clId="{A6405341-5B8D-4D8C-881C-35E94C1D1288}" dt="2025-02-10T01:02:36.404" v="52"/>
          <ac:spMkLst>
            <pc:docMk/>
            <pc:sldMk cId="2188300909" sldId="2147483305"/>
            <ac:spMk id="3" creationId="{6247E137-868B-539C-2D6E-DC37708CAC30}"/>
          </ac:spMkLst>
        </pc:spChg>
        <pc:spChg chg="mod">
          <ac:chgData name="森田 光貴" userId="314cf0e2-2175-4948-8a4a-96924aa0786a" providerId="ADAL" clId="{A6405341-5B8D-4D8C-881C-35E94C1D1288}" dt="2025-02-10T01:13:50.608" v="313"/>
          <ac:spMkLst>
            <pc:docMk/>
            <pc:sldMk cId="2188300909" sldId="2147483305"/>
            <ac:spMk id="6" creationId="{DF1069CE-7F5A-0645-E891-CDDA1E49F184}"/>
          </ac:spMkLst>
        </pc:spChg>
        <pc:graphicFrameChg chg="mod modGraphic">
          <ac:chgData name="森田 光貴" userId="314cf0e2-2175-4948-8a4a-96924aa0786a" providerId="ADAL" clId="{A6405341-5B8D-4D8C-881C-35E94C1D1288}" dt="2025-02-10T01:19:45.025" v="359" actId="6549"/>
          <ac:graphicFrameMkLst>
            <pc:docMk/>
            <pc:sldMk cId="2188300909" sldId="2147483305"/>
            <ac:graphicFrameMk id="2" creationId="{12ACD507-CDCD-7967-B093-33A8EA8B50AD}"/>
          </ac:graphicFrameMkLst>
        </pc:graphicFrameChg>
        <pc:extLst>
          <p:ext xmlns:p="http://schemas.openxmlformats.org/presentationml/2006/main" uri="{D6D511B9-2390-475A-947B-AFAB55BFBCF1}">
            <pc226:cmChg xmlns:pc226="http://schemas.microsoft.com/office/powerpoint/2022/06/main/command" chg="">
              <pc226:chgData name="森田 光貴" userId="314cf0e2-2175-4948-8a4a-96924aa0786a" providerId="ADAL" clId="{A6405341-5B8D-4D8C-881C-35E94C1D1288}" dt="2025-02-10T01:05:42.836" v="133"/>
              <pc2:cmMkLst xmlns:pc2="http://schemas.microsoft.com/office/powerpoint/2019/9/main/command">
                <pc:docMk/>
                <pc:sldMk cId="2188300909" sldId="2147483305"/>
                <pc2:cmMk id="{01493EA9-CD6C-4507-99F0-8AF7219E4B5F}"/>
              </pc2:cmMkLst>
              <pc226:cmRplyChg chg="add">
                <pc226:chgData name="森田 光貴" userId="314cf0e2-2175-4948-8a4a-96924aa0786a" providerId="ADAL" clId="{A6405341-5B8D-4D8C-881C-35E94C1D1288}" dt="2025-02-10T01:05:42.836" v="133"/>
                <pc2:cmRplyMkLst xmlns:pc2="http://schemas.microsoft.com/office/powerpoint/2019/9/main/command">
                  <pc:docMk/>
                  <pc:sldMk cId="2188300909" sldId="2147483305"/>
                  <pc2:cmMk id="{01493EA9-CD6C-4507-99F0-8AF7219E4B5F}"/>
                  <pc2:cmRplyMk id="{3F17EF8D-6EE8-42B0-976D-680D73529A2A}"/>
                </pc2:cmRplyMkLst>
              </pc226:cmRplyChg>
            </pc226:cmChg>
          </p:ext>
        </pc:extLst>
      </pc:sldChg>
      <pc:sldChg chg="add">
        <pc:chgData name="森田 光貴" userId="314cf0e2-2175-4948-8a4a-96924aa0786a" providerId="ADAL" clId="{A6405341-5B8D-4D8C-881C-35E94C1D1288}" dt="2025-02-10T01:45:38.217" v="923"/>
        <pc:sldMkLst>
          <pc:docMk/>
          <pc:sldMk cId="644493248" sldId="2147483311"/>
        </pc:sldMkLst>
      </pc:sldChg>
      <pc:sldChg chg="add">
        <pc:chgData name="森田 光貴" userId="314cf0e2-2175-4948-8a4a-96924aa0786a" providerId="ADAL" clId="{A6405341-5B8D-4D8C-881C-35E94C1D1288}" dt="2025-02-10T01:45:38.217" v="923"/>
        <pc:sldMkLst>
          <pc:docMk/>
          <pc:sldMk cId="2434394258" sldId="2147483312"/>
        </pc:sldMkLst>
      </pc:sldChg>
      <pc:sldChg chg="add">
        <pc:chgData name="森田 光貴" userId="314cf0e2-2175-4948-8a4a-96924aa0786a" providerId="ADAL" clId="{A6405341-5B8D-4D8C-881C-35E94C1D1288}" dt="2025-02-10T01:45:38.217" v="923"/>
        <pc:sldMkLst>
          <pc:docMk/>
          <pc:sldMk cId="1332402074" sldId="2147483313"/>
        </pc:sldMkLst>
      </pc:sldChg>
    </pc:docChg>
  </pc:docChgLst>
  <pc:docChgLst>
    <pc:chgData name="原田　惇" clId="Web-{B5B586EE-9B8F-4D7D-BD29-28B508D36219}"/>
    <pc:docChg chg="modSld">
      <pc:chgData name="原田　惇" userId="" providerId="" clId="Web-{B5B586EE-9B8F-4D7D-BD29-28B508D36219}" dt="2024-04-17T12:56:18.537" v="121" actId="14100"/>
      <pc:docMkLst>
        <pc:docMk/>
      </pc:docMkLst>
      <pc:sldChg chg="addSp modSp">
        <pc:chgData name="原田　惇" userId="" providerId="" clId="Web-{B5B586EE-9B8F-4D7D-BD29-28B508D36219}" dt="2024-04-17T12:56:18.537" v="121" actId="14100"/>
        <pc:sldMkLst>
          <pc:docMk/>
          <pc:sldMk cId="1541444175" sldId="2147378660"/>
        </pc:sldMkLst>
        <pc:spChg chg="add mod">
          <ac:chgData name="原田　惇" userId="" providerId="" clId="Web-{B5B586EE-9B8F-4D7D-BD29-28B508D36219}" dt="2024-04-17T12:56:18.537" v="121" actId="14100"/>
          <ac:spMkLst>
            <pc:docMk/>
            <pc:sldMk cId="1541444175" sldId="2147378660"/>
            <ac:spMk id="2" creationId="{F94CF494-E0C2-22EA-8AE5-F92FB79F0C3D}"/>
          </ac:spMkLst>
        </pc:spChg>
      </pc:sldChg>
    </pc:docChg>
  </pc:docChgLst>
  <pc:docChgLst>
    <pc:chgData name="Masuda, Akihito" userId="e1ea6b8a-a5ff-4bfd-8576-9598cb6e892c" providerId="ADAL" clId="{A6B3FEFB-7D96-4BDB-87B3-BC7C8C08982D}"/>
    <pc:docChg chg="undo custSel modSld">
      <pc:chgData name="Masuda, Akihito" userId="e1ea6b8a-a5ff-4bfd-8576-9598cb6e892c" providerId="ADAL" clId="{A6B3FEFB-7D96-4BDB-87B3-BC7C8C08982D}" dt="2024-03-23T13:34:23.134" v="9"/>
      <pc:docMkLst>
        <pc:docMk/>
      </pc:docMkLst>
      <pc:sldChg chg="modSp mod">
        <pc:chgData name="Masuda, Akihito" userId="e1ea6b8a-a5ff-4bfd-8576-9598cb6e892c" providerId="ADAL" clId="{A6B3FEFB-7D96-4BDB-87B3-BC7C8C08982D}" dt="2024-03-23T12:58:16.358" v="0" actId="1076"/>
        <pc:sldMkLst>
          <pc:docMk/>
          <pc:sldMk cId="2088699351" sldId="2146847588"/>
        </pc:sldMkLst>
        <pc:spChg chg="mod">
          <ac:chgData name="Masuda, Akihito" userId="e1ea6b8a-a5ff-4bfd-8576-9598cb6e892c" providerId="ADAL" clId="{A6B3FEFB-7D96-4BDB-87B3-BC7C8C08982D}" dt="2024-03-23T12:58:16.358" v="0" actId="1076"/>
          <ac:spMkLst>
            <pc:docMk/>
            <pc:sldMk cId="2088699351" sldId="2146847588"/>
            <ac:spMk id="7" creationId="{F0D8E545-A466-48F4-9272-B878EF0DC16B}"/>
          </ac:spMkLst>
        </pc:spChg>
      </pc:sldChg>
      <pc:sldChg chg="modSp mod">
        <pc:chgData name="Masuda, Akihito" userId="e1ea6b8a-a5ff-4bfd-8576-9598cb6e892c" providerId="ADAL" clId="{A6B3FEFB-7D96-4BDB-87B3-BC7C8C08982D}" dt="2024-03-23T13:34:23.134" v="9"/>
        <pc:sldMkLst>
          <pc:docMk/>
          <pc:sldMk cId="2766274149" sldId="2146847591"/>
        </pc:sldMkLst>
        <pc:spChg chg="mod">
          <ac:chgData name="Masuda, Akihito" userId="e1ea6b8a-a5ff-4bfd-8576-9598cb6e892c" providerId="ADAL" clId="{A6B3FEFB-7D96-4BDB-87B3-BC7C8C08982D}" dt="2024-03-23T13:31:49.511" v="7" actId="1076"/>
          <ac:spMkLst>
            <pc:docMk/>
            <pc:sldMk cId="2766274149" sldId="2146847591"/>
            <ac:spMk id="7" creationId="{F0D8E545-A466-48F4-9272-B878EF0DC16B}"/>
          </ac:spMkLst>
        </pc:spChg>
        <pc:graphicFrameChg chg="mod">
          <ac:chgData name="Masuda, Akihito" userId="e1ea6b8a-a5ff-4bfd-8576-9598cb6e892c" providerId="ADAL" clId="{A6B3FEFB-7D96-4BDB-87B3-BC7C8C08982D}" dt="2024-03-23T13:34:23.134" v="9"/>
          <ac:graphicFrameMkLst>
            <pc:docMk/>
            <pc:sldMk cId="2766274149" sldId="2146847591"/>
            <ac:graphicFrameMk id="5" creationId="{E78F9D36-5310-41D4-8608-5BFFDB0F22CA}"/>
          </ac:graphicFrameMkLst>
        </pc:graphicFrameChg>
      </pc:sldChg>
      <pc:sldChg chg="modSp mod">
        <pc:chgData name="Masuda, Akihito" userId="e1ea6b8a-a5ff-4bfd-8576-9598cb6e892c" providerId="ADAL" clId="{A6B3FEFB-7D96-4BDB-87B3-BC7C8C08982D}" dt="2024-03-23T13:10:15.703" v="4"/>
        <pc:sldMkLst>
          <pc:docMk/>
          <pc:sldMk cId="2852443830" sldId="2147378632"/>
        </pc:sldMkLst>
        <pc:graphicFrameChg chg="mod">
          <ac:chgData name="Masuda, Akihito" userId="e1ea6b8a-a5ff-4bfd-8576-9598cb6e892c" providerId="ADAL" clId="{A6B3FEFB-7D96-4BDB-87B3-BC7C8C08982D}" dt="2024-03-23T13:10:15.703" v="4"/>
          <ac:graphicFrameMkLst>
            <pc:docMk/>
            <pc:sldMk cId="2852443830" sldId="2147378632"/>
            <ac:graphicFrameMk id="5" creationId="{E78F9D36-5310-41D4-8608-5BFFDB0F22CA}"/>
          </ac:graphicFrameMkLst>
        </pc:graphicFrameChg>
      </pc:sldChg>
    </pc:docChg>
  </pc:docChgLst>
  <pc:docChgLst>
    <pc:chgData name="Tsuchida, Shinpei" userId="4375a60a-0653-49e2-ae45-00a92666541c" providerId="ADAL" clId="{D1725743-558E-4D9B-893B-DB62665A1A57}"/>
    <pc:docChg chg="undo custSel addSld delSld modSld sldOrd modSection replTag">
      <pc:chgData name="Tsuchida, Shinpei" userId="4375a60a-0653-49e2-ae45-00a92666541c" providerId="ADAL" clId="{D1725743-558E-4D9B-893B-DB62665A1A57}" dt="2024-03-26T09:15:31.810" v="6234"/>
      <pc:docMkLst>
        <pc:docMk/>
      </pc:docMkLst>
      <pc:sldChg chg="modSp mod">
        <pc:chgData name="Tsuchida, Shinpei" userId="4375a60a-0653-49e2-ae45-00a92666541c" providerId="ADAL" clId="{D1725743-558E-4D9B-893B-DB62665A1A57}" dt="2024-03-24T11:18:40.768" v="5972" actId="20577"/>
        <pc:sldMkLst>
          <pc:docMk/>
          <pc:sldMk cId="2355786622" sldId="2146847413"/>
        </pc:sldMkLst>
        <pc:spChg chg="mod">
          <ac:chgData name="Tsuchida, Shinpei" userId="4375a60a-0653-49e2-ae45-00a92666541c" providerId="ADAL" clId="{D1725743-558E-4D9B-893B-DB62665A1A57}" dt="2024-03-24T11:18:40.768" v="5972" actId="20577"/>
          <ac:spMkLst>
            <pc:docMk/>
            <pc:sldMk cId="2355786622" sldId="2146847413"/>
            <ac:spMk id="2" creationId="{1F2F2840-6B61-4DF2-B42A-EAA99F678FEE}"/>
          </ac:spMkLst>
        </pc:spChg>
      </pc:sldChg>
      <pc:sldChg chg="modSp mod">
        <pc:chgData name="Tsuchida, Shinpei" userId="4375a60a-0653-49e2-ae45-00a92666541c" providerId="ADAL" clId="{D1725743-558E-4D9B-893B-DB62665A1A57}" dt="2024-03-23T13:17:15.758" v="712" actId="14100"/>
        <pc:sldMkLst>
          <pc:docMk/>
          <pc:sldMk cId="1025266864" sldId="2146847545"/>
        </pc:sldMkLst>
        <pc:spChg chg="mod">
          <ac:chgData name="Tsuchida, Shinpei" userId="4375a60a-0653-49e2-ae45-00a92666541c" providerId="ADAL" clId="{D1725743-558E-4D9B-893B-DB62665A1A57}" dt="2024-03-23T13:17:15.758" v="712" actId="14100"/>
          <ac:spMkLst>
            <pc:docMk/>
            <pc:sldMk cId="1025266864" sldId="2146847545"/>
            <ac:spMk id="2" creationId="{98E8395D-EE85-D4E5-8D93-6C38D33D103A}"/>
          </ac:spMkLst>
        </pc:spChg>
      </pc:sldChg>
      <pc:sldChg chg="addSp modSp mod ord">
        <pc:chgData name="Tsuchida, Shinpei" userId="4375a60a-0653-49e2-ae45-00a92666541c" providerId="ADAL" clId="{D1725743-558E-4D9B-893B-DB62665A1A57}" dt="2024-03-24T01:44:59.645" v="1749" actId="1076"/>
        <pc:sldMkLst>
          <pc:docMk/>
          <pc:sldMk cId="429254024" sldId="2146847554"/>
        </pc:sldMkLst>
        <pc:spChg chg="add mod">
          <ac:chgData name="Tsuchida, Shinpei" userId="4375a60a-0653-49e2-ae45-00a92666541c" providerId="ADAL" clId="{D1725743-558E-4D9B-893B-DB62665A1A57}" dt="2024-03-24T01:44:59.645" v="1749" actId="1076"/>
          <ac:spMkLst>
            <pc:docMk/>
            <pc:sldMk cId="429254024" sldId="2146847554"/>
            <ac:spMk id="2" creationId="{6E9B2F69-8E24-7E7E-864A-F20B59DDE6FE}"/>
          </ac:spMkLst>
        </pc:spChg>
        <pc:spChg chg="mod">
          <ac:chgData name="Tsuchida, Shinpei" userId="4375a60a-0653-49e2-ae45-00a92666541c" providerId="ADAL" clId="{D1725743-558E-4D9B-893B-DB62665A1A57}" dt="2024-03-23T13:36:53.192" v="1038" actId="948"/>
          <ac:spMkLst>
            <pc:docMk/>
            <pc:sldMk cId="429254024" sldId="2146847554"/>
            <ac:spMk id="4" creationId="{AD8944B4-3C5B-C988-2185-AC2F7BEC7369}"/>
          </ac:spMkLst>
        </pc:spChg>
        <pc:graphicFrameChg chg="mod">
          <ac:chgData name="Tsuchida, Shinpei" userId="4375a60a-0653-49e2-ae45-00a92666541c" providerId="ADAL" clId="{D1725743-558E-4D9B-893B-DB62665A1A57}" dt="2024-03-23T13:36:53.206" v="1042"/>
          <ac:graphicFrameMkLst>
            <pc:docMk/>
            <pc:sldMk cId="429254024" sldId="2146847554"/>
            <ac:graphicFrameMk id="7" creationId="{DAEF77AD-2CE0-DFBE-F3EE-27BF4407FF6A}"/>
          </ac:graphicFrameMkLst>
        </pc:graphicFrameChg>
      </pc:sldChg>
      <pc:sldChg chg="addSp modSp mod">
        <pc:chgData name="Tsuchida, Shinpei" userId="4375a60a-0653-49e2-ae45-00a92666541c" providerId="ADAL" clId="{D1725743-558E-4D9B-893B-DB62665A1A57}" dt="2024-03-24T01:48:45.477" v="2456" actId="1076"/>
        <pc:sldMkLst>
          <pc:docMk/>
          <pc:sldMk cId="2559321920" sldId="2146847560"/>
        </pc:sldMkLst>
        <pc:spChg chg="add mod">
          <ac:chgData name="Tsuchida, Shinpei" userId="4375a60a-0653-49e2-ae45-00a92666541c" providerId="ADAL" clId="{D1725743-558E-4D9B-893B-DB62665A1A57}" dt="2024-03-24T01:48:43.648" v="2455" actId="1076"/>
          <ac:spMkLst>
            <pc:docMk/>
            <pc:sldMk cId="2559321920" sldId="2146847560"/>
            <ac:spMk id="2" creationId="{F6F33E3D-87C7-489C-D50F-B378A6B34C12}"/>
          </ac:spMkLst>
        </pc:spChg>
        <pc:spChg chg="mod">
          <ac:chgData name="Tsuchida, Shinpei" userId="4375a60a-0653-49e2-ae45-00a92666541c" providerId="ADAL" clId="{D1725743-558E-4D9B-893B-DB62665A1A57}" dt="2024-03-24T01:48:45.477" v="2456" actId="1076"/>
          <ac:spMkLst>
            <pc:docMk/>
            <pc:sldMk cId="2559321920" sldId="2146847560"/>
            <ac:spMk id="7" creationId="{F9ADCEC0-9C74-0C0E-8BCB-03B64B0E9536}"/>
          </ac:spMkLst>
        </pc:spChg>
      </pc:sldChg>
      <pc:sldChg chg="modSp mod">
        <pc:chgData name="Tsuchida, Shinpei" userId="4375a60a-0653-49e2-ae45-00a92666541c" providerId="ADAL" clId="{D1725743-558E-4D9B-893B-DB62665A1A57}" dt="2024-03-24T10:02:11.098" v="5304" actId="20577"/>
        <pc:sldMkLst>
          <pc:docMk/>
          <pc:sldMk cId="693426858" sldId="2146847590"/>
        </pc:sldMkLst>
        <pc:spChg chg="mod">
          <ac:chgData name="Tsuchida, Shinpei" userId="4375a60a-0653-49e2-ae45-00a92666541c" providerId="ADAL" clId="{D1725743-558E-4D9B-893B-DB62665A1A57}" dt="2024-03-24T10:02:11.098" v="5304" actId="20577"/>
          <ac:spMkLst>
            <pc:docMk/>
            <pc:sldMk cId="693426858" sldId="2146847590"/>
            <ac:spMk id="7" creationId="{F0D8E545-A466-48F4-9272-B878EF0DC16B}"/>
          </ac:spMkLst>
        </pc:spChg>
      </pc:sldChg>
      <pc:sldChg chg="addSp modSp mod">
        <pc:chgData name="Tsuchida, Shinpei" userId="4375a60a-0653-49e2-ae45-00a92666541c" providerId="ADAL" clId="{D1725743-558E-4D9B-893B-DB62665A1A57}" dt="2024-03-24T01:45:28.807" v="1807" actId="20577"/>
        <pc:sldMkLst>
          <pc:docMk/>
          <pc:sldMk cId="2766274149" sldId="2146847591"/>
        </pc:sldMkLst>
        <pc:spChg chg="add mod">
          <ac:chgData name="Tsuchida, Shinpei" userId="4375a60a-0653-49e2-ae45-00a92666541c" providerId="ADAL" clId="{D1725743-558E-4D9B-893B-DB62665A1A57}" dt="2024-03-24T01:45:28.807" v="1807" actId="20577"/>
          <ac:spMkLst>
            <pc:docMk/>
            <pc:sldMk cId="2766274149" sldId="2146847591"/>
            <ac:spMk id="3" creationId="{CC34A2F9-677E-A2BD-1DE8-CCC28E4A8300}"/>
          </ac:spMkLst>
        </pc:spChg>
        <pc:spChg chg="add mod">
          <ac:chgData name="Tsuchida, Shinpei" userId="4375a60a-0653-49e2-ae45-00a92666541c" providerId="ADAL" clId="{D1725743-558E-4D9B-893B-DB62665A1A57}" dt="2024-03-24T01:45:21.674" v="1786" actId="20577"/>
          <ac:spMkLst>
            <pc:docMk/>
            <pc:sldMk cId="2766274149" sldId="2146847591"/>
            <ac:spMk id="4" creationId="{9007537D-F927-3642-51DE-8BEF07CF47FF}"/>
          </ac:spMkLst>
        </pc:spChg>
        <pc:spChg chg="mod">
          <ac:chgData name="Tsuchida, Shinpei" userId="4375a60a-0653-49e2-ae45-00a92666541c" providerId="ADAL" clId="{D1725743-558E-4D9B-893B-DB62665A1A57}" dt="2024-03-24T01:45:17.518" v="1777" actId="1076"/>
          <ac:spMkLst>
            <pc:docMk/>
            <pc:sldMk cId="2766274149" sldId="2146847591"/>
            <ac:spMk id="7" creationId="{F0D8E545-A466-48F4-9272-B878EF0DC16B}"/>
          </ac:spMkLst>
        </pc:spChg>
      </pc:sldChg>
      <pc:sldChg chg="addSp modSp mod">
        <pc:chgData name="Tsuchida, Shinpei" userId="4375a60a-0653-49e2-ae45-00a92666541c" providerId="ADAL" clId="{D1725743-558E-4D9B-893B-DB62665A1A57}" dt="2024-03-24T10:04:31.046" v="5515" actId="13926"/>
        <pc:sldMkLst>
          <pc:docMk/>
          <pc:sldMk cId="2962430587" sldId="2146847592"/>
        </pc:sldMkLst>
        <pc:spChg chg="add mod">
          <ac:chgData name="Tsuchida, Shinpei" userId="4375a60a-0653-49e2-ae45-00a92666541c" providerId="ADAL" clId="{D1725743-558E-4D9B-893B-DB62665A1A57}" dt="2024-03-24T10:04:06.787" v="5421" actId="207"/>
          <ac:spMkLst>
            <pc:docMk/>
            <pc:sldMk cId="2962430587" sldId="2146847592"/>
            <ac:spMk id="4" creationId="{AEC73508-2B12-E643-78E1-23E45E2F251F}"/>
          </ac:spMkLst>
        </pc:spChg>
        <pc:spChg chg="mod">
          <ac:chgData name="Tsuchida, Shinpei" userId="4375a60a-0653-49e2-ae45-00a92666541c" providerId="ADAL" clId="{D1725743-558E-4D9B-893B-DB62665A1A57}" dt="2024-03-24T10:04:31.046" v="5515" actId="13926"/>
          <ac:spMkLst>
            <pc:docMk/>
            <pc:sldMk cId="2962430587" sldId="2146847592"/>
            <ac:spMk id="7" creationId="{F0D8E545-A466-48F4-9272-B878EF0DC16B}"/>
          </ac:spMkLst>
        </pc:spChg>
        <pc:spChg chg="mod">
          <ac:chgData name="Tsuchida, Shinpei" userId="4375a60a-0653-49e2-ae45-00a92666541c" providerId="ADAL" clId="{D1725743-558E-4D9B-893B-DB62665A1A57}" dt="2024-03-24T10:02:50.168" v="5307" actId="1076"/>
          <ac:spMkLst>
            <pc:docMk/>
            <pc:sldMk cId="2962430587" sldId="2146847592"/>
            <ac:spMk id="8" creationId="{4322232A-E033-4886-4B85-91FECA59CDF5}"/>
          </ac:spMkLst>
        </pc:spChg>
        <pc:spChg chg="add mod">
          <ac:chgData name="Tsuchida, Shinpei" userId="4375a60a-0653-49e2-ae45-00a92666541c" providerId="ADAL" clId="{D1725743-558E-4D9B-893B-DB62665A1A57}" dt="2024-03-24T10:03:52.391" v="5411" actId="207"/>
          <ac:spMkLst>
            <pc:docMk/>
            <pc:sldMk cId="2962430587" sldId="2146847592"/>
            <ac:spMk id="10" creationId="{E00673A8-ED3D-1992-B93D-3235C05A99F8}"/>
          </ac:spMkLst>
        </pc:spChg>
      </pc:sldChg>
      <pc:sldChg chg="addSp modSp mod">
        <pc:chgData name="Tsuchida, Shinpei" userId="4375a60a-0653-49e2-ae45-00a92666541c" providerId="ADAL" clId="{D1725743-558E-4D9B-893B-DB62665A1A57}" dt="2024-03-24T01:45:44.518" v="1826" actId="20577"/>
        <pc:sldMkLst>
          <pc:docMk/>
          <pc:sldMk cId="454459423" sldId="2146847596"/>
        </pc:sldMkLst>
        <pc:spChg chg="add mod">
          <ac:chgData name="Tsuchida, Shinpei" userId="4375a60a-0653-49e2-ae45-00a92666541c" providerId="ADAL" clId="{D1725743-558E-4D9B-893B-DB62665A1A57}" dt="2024-03-24T01:45:44.518" v="1826" actId="20577"/>
          <ac:spMkLst>
            <pc:docMk/>
            <pc:sldMk cId="454459423" sldId="2146847596"/>
            <ac:spMk id="3" creationId="{1718E0E3-0ED7-F510-E4B5-0069CBC2DB9C}"/>
          </ac:spMkLst>
        </pc:spChg>
      </pc:sldChg>
      <pc:sldChg chg="modSp mod">
        <pc:chgData name="Tsuchida, Shinpei" userId="4375a60a-0653-49e2-ae45-00a92666541c" providerId="ADAL" clId="{D1725743-558E-4D9B-893B-DB62665A1A57}" dt="2024-03-24T09:19:40.478" v="5255" actId="1076"/>
        <pc:sldMkLst>
          <pc:docMk/>
          <pc:sldMk cId="2073688605" sldId="2146847608"/>
        </pc:sldMkLst>
        <pc:spChg chg="mod">
          <ac:chgData name="Tsuchida, Shinpei" userId="4375a60a-0653-49e2-ae45-00a92666541c" providerId="ADAL" clId="{D1725743-558E-4D9B-893B-DB62665A1A57}" dt="2024-03-24T09:19:40.478" v="5255" actId="1076"/>
          <ac:spMkLst>
            <pc:docMk/>
            <pc:sldMk cId="2073688605" sldId="2146847608"/>
            <ac:spMk id="8" creationId="{46402638-2B83-461D-A5AF-34487FA532E1}"/>
          </ac:spMkLst>
        </pc:spChg>
      </pc:sldChg>
      <pc:sldChg chg="mod modShow">
        <pc:chgData name="Tsuchida, Shinpei" userId="4375a60a-0653-49e2-ae45-00a92666541c" providerId="ADAL" clId="{D1725743-558E-4D9B-893B-DB62665A1A57}" dt="2024-03-23T13:39:07.029" v="1071" actId="729"/>
        <pc:sldMkLst>
          <pc:docMk/>
          <pc:sldMk cId="1401715061" sldId="2146847621"/>
        </pc:sldMkLst>
      </pc:sldChg>
      <pc:sldChg chg="mod modShow">
        <pc:chgData name="Tsuchida, Shinpei" userId="4375a60a-0653-49e2-ae45-00a92666541c" providerId="ADAL" clId="{D1725743-558E-4D9B-893B-DB62665A1A57}" dt="2024-03-23T13:37:41.444" v="1070" actId="729"/>
        <pc:sldMkLst>
          <pc:docMk/>
          <pc:sldMk cId="2391146792" sldId="2146847622"/>
        </pc:sldMkLst>
      </pc:sldChg>
      <pc:sldChg chg="mod modShow">
        <pc:chgData name="Tsuchida, Shinpei" userId="4375a60a-0653-49e2-ae45-00a92666541c" providerId="ADAL" clId="{D1725743-558E-4D9B-893B-DB62665A1A57}" dt="2024-03-23T13:37:41.444" v="1070" actId="729"/>
        <pc:sldMkLst>
          <pc:docMk/>
          <pc:sldMk cId="3393070087" sldId="2146847623"/>
        </pc:sldMkLst>
      </pc:sldChg>
      <pc:sldChg chg="mod modShow">
        <pc:chgData name="Tsuchida, Shinpei" userId="4375a60a-0653-49e2-ae45-00a92666541c" providerId="ADAL" clId="{D1725743-558E-4D9B-893B-DB62665A1A57}" dt="2024-03-23T13:37:41.444" v="1070" actId="729"/>
        <pc:sldMkLst>
          <pc:docMk/>
          <pc:sldMk cId="2424482231" sldId="2146847624"/>
        </pc:sldMkLst>
      </pc:sldChg>
      <pc:sldChg chg="addSp modSp mod">
        <pc:chgData name="Tsuchida, Shinpei" userId="4375a60a-0653-49e2-ae45-00a92666541c" providerId="ADAL" clId="{D1725743-558E-4D9B-893B-DB62665A1A57}" dt="2024-03-24T01:43:02.655" v="1515" actId="20577"/>
        <pc:sldMkLst>
          <pc:docMk/>
          <pc:sldMk cId="445871252" sldId="2146847625"/>
        </pc:sldMkLst>
        <pc:spChg chg="add mod">
          <ac:chgData name="Tsuchida, Shinpei" userId="4375a60a-0653-49e2-ae45-00a92666541c" providerId="ADAL" clId="{D1725743-558E-4D9B-893B-DB62665A1A57}" dt="2024-03-24T01:42:58.129" v="1506" actId="20577"/>
          <ac:spMkLst>
            <pc:docMk/>
            <pc:sldMk cId="445871252" sldId="2146847625"/>
            <ac:spMk id="4" creationId="{AE506D56-80F0-47F2-0DE5-4219BE85B18E}"/>
          </ac:spMkLst>
        </pc:spChg>
        <pc:spChg chg="mod">
          <ac:chgData name="Tsuchida, Shinpei" userId="4375a60a-0653-49e2-ae45-00a92666541c" providerId="ADAL" clId="{D1725743-558E-4D9B-893B-DB62665A1A57}" dt="2024-03-23T13:39:43.738" v="1073" actId="1076"/>
          <ac:spMkLst>
            <pc:docMk/>
            <pc:sldMk cId="445871252" sldId="2146847625"/>
            <ac:spMk id="6" creationId="{D0B0D116-FBCC-4FD9-948F-36682F868471}"/>
          </ac:spMkLst>
        </pc:spChg>
        <pc:spChg chg="add mod">
          <ac:chgData name="Tsuchida, Shinpei" userId="4375a60a-0653-49e2-ae45-00a92666541c" providerId="ADAL" clId="{D1725743-558E-4D9B-893B-DB62665A1A57}" dt="2024-03-24T01:43:02.655" v="1515" actId="20577"/>
          <ac:spMkLst>
            <pc:docMk/>
            <pc:sldMk cId="445871252" sldId="2146847625"/>
            <ac:spMk id="9" creationId="{991227FB-4C9A-E248-14FF-66A1DF102BFA}"/>
          </ac:spMkLst>
        </pc:spChg>
      </pc:sldChg>
      <pc:sldChg chg="modSp add mod">
        <pc:chgData name="Tsuchida, Shinpei" userId="4375a60a-0653-49e2-ae45-00a92666541c" providerId="ADAL" clId="{D1725743-558E-4D9B-893B-DB62665A1A57}" dt="2024-03-26T09:15:25.853" v="6232"/>
        <pc:sldMkLst>
          <pc:docMk/>
          <pc:sldMk cId="953263529" sldId="2147377939"/>
        </pc:sldMkLst>
        <pc:spChg chg="mod">
          <ac:chgData name="Tsuchida, Shinpei" userId="4375a60a-0653-49e2-ae45-00a92666541c" providerId="ADAL" clId="{D1725743-558E-4D9B-893B-DB62665A1A57}" dt="2024-03-26T09:15:25.853" v="6232"/>
          <ac:spMkLst>
            <pc:docMk/>
            <pc:sldMk cId="953263529" sldId="2147377939"/>
            <ac:spMk id="2" creationId="{21D2411B-7FA8-59E7-5F38-B0990CCD4A6C}"/>
          </ac:spMkLst>
        </pc:spChg>
      </pc:sldChg>
      <pc:sldChg chg="addSp modSp add del mod">
        <pc:chgData name="Tsuchida, Shinpei" userId="4375a60a-0653-49e2-ae45-00a92666541c" providerId="ADAL" clId="{D1725743-558E-4D9B-893B-DB62665A1A57}" dt="2024-03-26T09:15:14.297" v="6230" actId="2696"/>
        <pc:sldMkLst>
          <pc:docMk/>
          <pc:sldMk cId="2682721128" sldId="2147377939"/>
        </pc:sldMkLst>
        <pc:spChg chg="mod">
          <ac:chgData name="Tsuchida, Shinpei" userId="4375a60a-0653-49e2-ae45-00a92666541c" providerId="ADAL" clId="{D1725743-558E-4D9B-893B-DB62665A1A57}" dt="2024-03-26T09:13:01.723" v="6180" actId="20577"/>
          <ac:spMkLst>
            <pc:docMk/>
            <pc:sldMk cId="2682721128" sldId="2147377939"/>
            <ac:spMk id="2" creationId="{F75318E8-E1FD-F6AB-F9A9-9696D6F22120}"/>
          </ac:spMkLst>
        </pc:spChg>
        <pc:spChg chg="mod">
          <ac:chgData name="Tsuchida, Shinpei" userId="4375a60a-0653-49e2-ae45-00a92666541c" providerId="ADAL" clId="{D1725743-558E-4D9B-893B-DB62665A1A57}" dt="2024-03-26T09:12:50.026" v="6177" actId="108"/>
          <ac:spMkLst>
            <pc:docMk/>
            <pc:sldMk cId="2682721128" sldId="2147377939"/>
            <ac:spMk id="3" creationId="{A92C1985-7CFB-919D-1230-32BBA066364A}"/>
          </ac:spMkLst>
        </pc:spChg>
        <pc:spChg chg="mod">
          <ac:chgData name="Tsuchida, Shinpei" userId="4375a60a-0653-49e2-ae45-00a92666541c" providerId="ADAL" clId="{D1725743-558E-4D9B-893B-DB62665A1A57}" dt="2024-03-26T09:12:50.602" v="6178" actId="108"/>
          <ac:spMkLst>
            <pc:docMk/>
            <pc:sldMk cId="2682721128" sldId="2147377939"/>
            <ac:spMk id="6" creationId="{EA967C1E-A10C-D9A5-E2E9-9C7FBD546D6C}"/>
          </ac:spMkLst>
        </pc:spChg>
        <pc:spChg chg="add mod">
          <ac:chgData name="Tsuchida, Shinpei" userId="4375a60a-0653-49e2-ae45-00a92666541c" providerId="ADAL" clId="{D1725743-558E-4D9B-893B-DB62665A1A57}" dt="2024-03-26T09:13:58.047" v="6227" actId="20577"/>
          <ac:spMkLst>
            <pc:docMk/>
            <pc:sldMk cId="2682721128" sldId="2147377939"/>
            <ac:spMk id="13" creationId="{2361FFD7-38E1-95AB-CB8A-53268DE27EDA}"/>
          </ac:spMkLst>
        </pc:spChg>
      </pc:sldChg>
      <pc:sldChg chg="addSp modSp add del mod">
        <pc:chgData name="Tsuchida, Shinpei" userId="4375a60a-0653-49e2-ae45-00a92666541c" providerId="ADAL" clId="{D1725743-558E-4D9B-893B-DB62665A1A57}" dt="2024-03-26T09:15:14.297" v="6230" actId="2696"/>
        <pc:sldMkLst>
          <pc:docMk/>
          <pc:sldMk cId="403144223" sldId="2147377940"/>
        </pc:sldMkLst>
        <pc:spChg chg="add mod">
          <ac:chgData name="Tsuchida, Shinpei" userId="4375a60a-0653-49e2-ae45-00a92666541c" providerId="ADAL" clId="{D1725743-558E-4D9B-893B-DB62665A1A57}" dt="2024-03-26T09:14:04.370" v="6229"/>
          <ac:spMkLst>
            <pc:docMk/>
            <pc:sldMk cId="403144223" sldId="2147377940"/>
            <ac:spMk id="2" creationId="{5B4BC4ED-505E-AC22-7B68-729A5DBCCA38}"/>
          </ac:spMkLst>
        </pc:spChg>
        <pc:spChg chg="mod">
          <ac:chgData name="Tsuchida, Shinpei" userId="4375a60a-0653-49e2-ae45-00a92666541c" providerId="ADAL" clId="{D1725743-558E-4D9B-893B-DB62665A1A57}" dt="2024-03-26T09:13:07.731" v="6184" actId="20577"/>
          <ac:spMkLst>
            <pc:docMk/>
            <pc:sldMk cId="403144223" sldId="2147377940"/>
            <ac:spMk id="3" creationId="{EFE31B6F-5801-413F-7AC4-AD0D8703F9B8}"/>
          </ac:spMkLst>
        </pc:spChg>
        <pc:spChg chg="mod">
          <ac:chgData name="Tsuchida, Shinpei" userId="4375a60a-0653-49e2-ae45-00a92666541c" providerId="ADAL" clId="{D1725743-558E-4D9B-893B-DB62665A1A57}" dt="2024-03-26T09:12:44.981" v="6174" actId="108"/>
          <ac:spMkLst>
            <pc:docMk/>
            <pc:sldMk cId="403144223" sldId="2147377940"/>
            <ac:spMk id="7" creationId="{7CA5D45C-32ED-DFED-1CEE-E0135FFFCA35}"/>
          </ac:spMkLst>
        </pc:spChg>
      </pc:sldChg>
      <pc:sldChg chg="modSp add mod">
        <pc:chgData name="Tsuchida, Shinpei" userId="4375a60a-0653-49e2-ae45-00a92666541c" providerId="ADAL" clId="{D1725743-558E-4D9B-893B-DB62665A1A57}" dt="2024-03-26T09:15:31.810" v="6234"/>
        <pc:sldMkLst>
          <pc:docMk/>
          <pc:sldMk cId="548282329" sldId="2147377940"/>
        </pc:sldMkLst>
        <pc:spChg chg="mod">
          <ac:chgData name="Tsuchida, Shinpei" userId="4375a60a-0653-49e2-ae45-00a92666541c" providerId="ADAL" clId="{D1725743-558E-4D9B-893B-DB62665A1A57}" dt="2024-03-26T09:15:31.810" v="6234"/>
          <ac:spMkLst>
            <pc:docMk/>
            <pc:sldMk cId="548282329" sldId="2147377940"/>
            <ac:spMk id="3" creationId="{AFFCED03-E06C-0065-9D06-F9E633A2EDE3}"/>
          </ac:spMkLst>
        </pc:spChg>
      </pc:sldChg>
      <pc:sldChg chg="modSp add mod">
        <pc:chgData name="Tsuchida, Shinpei" userId="4375a60a-0653-49e2-ae45-00a92666541c" providerId="ADAL" clId="{D1725743-558E-4D9B-893B-DB62665A1A57}" dt="2024-03-26T09:15:28.966" v="6233"/>
        <pc:sldMkLst>
          <pc:docMk/>
          <pc:sldMk cId="2917258169" sldId="2147377941"/>
        </pc:sldMkLst>
        <pc:spChg chg="mod">
          <ac:chgData name="Tsuchida, Shinpei" userId="4375a60a-0653-49e2-ae45-00a92666541c" providerId="ADAL" clId="{D1725743-558E-4D9B-893B-DB62665A1A57}" dt="2024-03-26T09:15:28.966" v="6233"/>
          <ac:spMkLst>
            <pc:docMk/>
            <pc:sldMk cId="2917258169" sldId="2147377941"/>
            <ac:spMk id="2" creationId="{2CFA4358-C955-E846-F703-BE1184B43345}"/>
          </ac:spMkLst>
        </pc:spChg>
      </pc:sldChg>
      <pc:sldChg chg="addSp modSp add del mod">
        <pc:chgData name="Tsuchida, Shinpei" userId="4375a60a-0653-49e2-ae45-00a92666541c" providerId="ADAL" clId="{D1725743-558E-4D9B-893B-DB62665A1A57}" dt="2024-03-26T09:15:14.297" v="6230" actId="2696"/>
        <pc:sldMkLst>
          <pc:docMk/>
          <pc:sldMk cId="3763088974" sldId="2147377941"/>
        </pc:sldMkLst>
        <pc:spChg chg="mod">
          <ac:chgData name="Tsuchida, Shinpei" userId="4375a60a-0653-49e2-ae45-00a92666541c" providerId="ADAL" clId="{D1725743-558E-4D9B-893B-DB62665A1A57}" dt="2024-03-26T09:13:04.786" v="6182" actId="20577"/>
          <ac:spMkLst>
            <pc:docMk/>
            <pc:sldMk cId="3763088974" sldId="2147377941"/>
            <ac:spMk id="2" creationId="{F75318E8-E1FD-F6AB-F9A9-9696D6F22120}"/>
          </ac:spMkLst>
        </pc:spChg>
        <pc:spChg chg="mod">
          <ac:chgData name="Tsuchida, Shinpei" userId="4375a60a-0653-49e2-ae45-00a92666541c" providerId="ADAL" clId="{D1725743-558E-4D9B-893B-DB62665A1A57}" dt="2024-03-26T09:12:47.307" v="6175" actId="108"/>
          <ac:spMkLst>
            <pc:docMk/>
            <pc:sldMk cId="3763088974" sldId="2147377941"/>
            <ac:spMk id="6" creationId="{35F92740-AA93-35EE-D990-B9F0E8804267}"/>
          </ac:spMkLst>
        </pc:spChg>
        <pc:spChg chg="mod">
          <ac:chgData name="Tsuchida, Shinpei" userId="4375a60a-0653-49e2-ae45-00a92666541c" providerId="ADAL" clId="{D1725743-558E-4D9B-893B-DB62665A1A57}" dt="2024-03-26T09:12:48.153" v="6176" actId="108"/>
          <ac:spMkLst>
            <pc:docMk/>
            <pc:sldMk cId="3763088974" sldId="2147377941"/>
            <ac:spMk id="13" creationId="{CD4E1C80-B68E-A485-89B5-1275253BEA41}"/>
          </ac:spMkLst>
        </pc:spChg>
        <pc:spChg chg="add mod">
          <ac:chgData name="Tsuchida, Shinpei" userId="4375a60a-0653-49e2-ae45-00a92666541c" providerId="ADAL" clId="{D1725743-558E-4D9B-893B-DB62665A1A57}" dt="2024-03-26T09:14:03.875" v="6228"/>
          <ac:spMkLst>
            <pc:docMk/>
            <pc:sldMk cId="3763088974" sldId="2147377941"/>
            <ac:spMk id="14" creationId="{FC36EAB9-58FA-3A80-49BE-F0D0A3259334}"/>
          </ac:spMkLst>
        </pc:spChg>
      </pc:sldChg>
      <pc:sldChg chg="addSp modSp mod">
        <pc:chgData name="Tsuchida, Shinpei" userId="4375a60a-0653-49e2-ae45-00a92666541c" providerId="ADAL" clId="{D1725743-558E-4D9B-893B-DB62665A1A57}" dt="2024-03-24T01:47:01.588" v="2053" actId="14100"/>
        <pc:sldMkLst>
          <pc:docMk/>
          <pc:sldMk cId="2852443830" sldId="2147378632"/>
        </pc:sldMkLst>
        <pc:spChg chg="add mod">
          <ac:chgData name="Tsuchida, Shinpei" userId="4375a60a-0653-49e2-ae45-00a92666541c" providerId="ADAL" clId="{D1725743-558E-4D9B-893B-DB62665A1A57}" dt="2024-03-24T01:47:01.588" v="2053" actId="14100"/>
          <ac:spMkLst>
            <pc:docMk/>
            <pc:sldMk cId="2852443830" sldId="2147378632"/>
            <ac:spMk id="3" creationId="{4B3CE172-D199-01B5-37C0-A7F49A5FC9A9}"/>
          </ac:spMkLst>
        </pc:spChg>
      </pc:sldChg>
      <pc:sldChg chg="mod modShow">
        <pc:chgData name="Tsuchida, Shinpei" userId="4375a60a-0653-49e2-ae45-00a92666541c" providerId="ADAL" clId="{D1725743-558E-4D9B-893B-DB62665A1A57}" dt="2024-03-23T13:33:51.955" v="881" actId="729"/>
        <pc:sldMkLst>
          <pc:docMk/>
          <pc:sldMk cId="1188370737" sldId="2147378642"/>
        </pc:sldMkLst>
      </pc:sldChg>
      <pc:sldChg chg="addSp delSp modSp add mod">
        <pc:chgData name="Tsuchida, Shinpei" userId="4375a60a-0653-49e2-ae45-00a92666541c" providerId="ADAL" clId="{D1725743-558E-4D9B-893B-DB62665A1A57}" dt="2024-03-24T10:11:14.622" v="5944" actId="1076"/>
        <pc:sldMkLst>
          <pc:docMk/>
          <pc:sldMk cId="1805811011" sldId="2147378643"/>
        </pc:sldMkLst>
        <pc:spChg chg="add mod">
          <ac:chgData name="Tsuchida, Shinpei" userId="4375a60a-0653-49e2-ae45-00a92666541c" providerId="ADAL" clId="{D1725743-558E-4D9B-893B-DB62665A1A57}" dt="2024-03-24T01:44:48.993" v="1748" actId="20577"/>
          <ac:spMkLst>
            <pc:docMk/>
            <pc:sldMk cId="1805811011" sldId="2147378643"/>
            <ac:spMk id="3" creationId="{2B47DAB3-CE80-8ABF-3197-237049204C09}"/>
          </ac:spMkLst>
        </pc:spChg>
        <pc:spChg chg="mod">
          <ac:chgData name="Tsuchida, Shinpei" userId="4375a60a-0653-49e2-ae45-00a92666541c" providerId="ADAL" clId="{D1725743-558E-4D9B-893B-DB62665A1A57}" dt="2024-03-24T10:11:14.622" v="5944" actId="1076"/>
          <ac:spMkLst>
            <pc:docMk/>
            <pc:sldMk cId="1805811011" sldId="2147378643"/>
            <ac:spMk id="4" creationId="{78A6158B-C9C8-BC24-B780-F2E8C3167CB7}"/>
          </ac:spMkLst>
        </pc:spChg>
        <pc:spChg chg="del mod">
          <ac:chgData name="Tsuchida, Shinpei" userId="4375a60a-0653-49e2-ae45-00a92666541c" providerId="ADAL" clId="{D1725743-558E-4D9B-893B-DB62665A1A57}" dt="2024-03-23T13:02:21.268" v="48" actId="21"/>
          <ac:spMkLst>
            <pc:docMk/>
            <pc:sldMk cId="1805811011" sldId="2147378643"/>
            <ac:spMk id="7" creationId="{222C1F65-A6E5-C874-BDE7-97EE38DA79D2}"/>
          </ac:spMkLst>
        </pc:spChg>
        <pc:spChg chg="mod">
          <ac:chgData name="Tsuchida, Shinpei" userId="4375a60a-0653-49e2-ae45-00a92666541c" providerId="ADAL" clId="{D1725743-558E-4D9B-893B-DB62665A1A57}" dt="2024-03-23T13:01:03.613" v="19" actId="948"/>
          <ac:spMkLst>
            <pc:docMk/>
            <pc:sldMk cId="1805811011" sldId="2147378643"/>
            <ac:spMk id="9" creationId="{AE399A2B-7760-B687-0FFA-C43A562B0500}"/>
          </ac:spMkLst>
        </pc:spChg>
        <pc:graphicFrameChg chg="mod">
          <ac:chgData name="Tsuchida, Shinpei" userId="4375a60a-0653-49e2-ae45-00a92666541c" providerId="ADAL" clId="{D1725743-558E-4D9B-893B-DB62665A1A57}" dt="2024-03-23T13:01:03.621" v="23"/>
          <ac:graphicFrameMkLst>
            <pc:docMk/>
            <pc:sldMk cId="1805811011" sldId="2147378643"/>
            <ac:graphicFrameMk id="5" creationId="{C2B6F089-FB91-CDC8-7303-932DF8BCCE89}"/>
          </ac:graphicFrameMkLst>
        </pc:graphicFrameChg>
        <pc:graphicFrameChg chg="modGraphic">
          <ac:chgData name="Tsuchida, Shinpei" userId="4375a60a-0653-49e2-ae45-00a92666541c" providerId="ADAL" clId="{D1725743-558E-4D9B-893B-DB62665A1A57}" dt="2024-03-24T10:11:10.969" v="5943" actId="20577"/>
          <ac:graphicFrameMkLst>
            <pc:docMk/>
            <pc:sldMk cId="1805811011" sldId="2147378643"/>
            <ac:graphicFrameMk id="13" creationId="{50E9E96A-FD26-603D-DD3F-FD8D762A7EBB}"/>
          </ac:graphicFrameMkLst>
        </pc:graphicFrameChg>
      </pc:sldChg>
      <pc:sldChg chg="addSp modSp new mod">
        <pc:chgData name="Tsuchida, Shinpei" userId="4375a60a-0653-49e2-ae45-00a92666541c" providerId="ADAL" clId="{D1725743-558E-4D9B-893B-DB62665A1A57}" dt="2024-03-24T04:59:47.019" v="3723"/>
        <pc:sldMkLst>
          <pc:docMk/>
          <pc:sldMk cId="4186158384" sldId="2147378644"/>
        </pc:sldMkLst>
        <pc:spChg chg="mod">
          <ac:chgData name="Tsuchida, Shinpei" userId="4375a60a-0653-49e2-ae45-00a92666541c" providerId="ADAL" clId="{D1725743-558E-4D9B-893B-DB62665A1A57}" dt="2024-03-24T04:57:41.150" v="3534" actId="14100"/>
          <ac:spMkLst>
            <pc:docMk/>
            <pc:sldMk cId="4186158384" sldId="2147378644"/>
            <ac:spMk id="5" creationId="{5929DA61-9492-16C6-77EC-2F6154CAB4D5}"/>
          </ac:spMkLst>
        </pc:spChg>
        <pc:spChg chg="add mod">
          <ac:chgData name="Tsuchida, Shinpei" userId="4375a60a-0653-49e2-ae45-00a92666541c" providerId="ADAL" clId="{D1725743-558E-4D9B-893B-DB62665A1A57}" dt="2024-03-24T04:58:53.602" v="3716" actId="1076"/>
          <ac:spMkLst>
            <pc:docMk/>
            <pc:sldMk cId="4186158384" sldId="2147378644"/>
            <ac:spMk id="7" creationId="{222C1F65-A6E5-C874-BDE7-97EE38DA79D2}"/>
          </ac:spMkLst>
        </pc:spChg>
        <pc:spChg chg="mod">
          <ac:chgData name="Tsuchida, Shinpei" userId="4375a60a-0653-49e2-ae45-00a92666541c" providerId="ADAL" clId="{D1725743-558E-4D9B-893B-DB62665A1A57}" dt="2024-03-24T04:57:41.150" v="3534" actId="14100"/>
          <ac:spMkLst>
            <pc:docMk/>
            <pc:sldMk cId="4186158384" sldId="2147378644"/>
            <ac:spMk id="16" creationId="{D82731B7-5750-703C-4B7E-BF51E0DCA3F7}"/>
          </ac:spMkLst>
        </pc:spChg>
        <pc:spChg chg="mod">
          <ac:chgData name="Tsuchida, Shinpei" userId="4375a60a-0653-49e2-ae45-00a92666541c" providerId="ADAL" clId="{D1725743-558E-4D9B-893B-DB62665A1A57}" dt="2024-03-24T04:59:27.239" v="3721" actId="1076"/>
          <ac:spMkLst>
            <pc:docMk/>
            <pc:sldMk cId="4186158384" sldId="2147378644"/>
            <ac:spMk id="17" creationId="{86F0F3BA-31D5-CB5F-DAA4-6F832E98B5D6}"/>
          </ac:spMkLst>
        </pc:spChg>
        <pc:spChg chg="add mod">
          <ac:chgData name="Tsuchida, Shinpei" userId="4375a60a-0653-49e2-ae45-00a92666541c" providerId="ADAL" clId="{D1725743-558E-4D9B-893B-DB62665A1A57}" dt="2024-03-24T04:58:19.229" v="3660" actId="20577"/>
          <ac:spMkLst>
            <pc:docMk/>
            <pc:sldMk cId="4186158384" sldId="2147378644"/>
            <ac:spMk id="23" creationId="{3B4E9364-AA14-FAB0-8D8D-7AB72E4B3A4A}"/>
          </ac:spMkLst>
        </pc:spChg>
        <pc:spChg chg="add mod">
          <ac:chgData name="Tsuchida, Shinpei" userId="4375a60a-0653-49e2-ae45-00a92666541c" providerId="ADAL" clId="{D1725743-558E-4D9B-893B-DB62665A1A57}" dt="2024-03-24T04:58:51.353" v="3715" actId="1076"/>
          <ac:spMkLst>
            <pc:docMk/>
            <pc:sldMk cId="4186158384" sldId="2147378644"/>
            <ac:spMk id="24" creationId="{6812ECF5-219C-F96E-DC34-885D07A885CB}"/>
          </ac:spMkLst>
        </pc:spChg>
        <pc:spChg chg="add mod">
          <ac:chgData name="Tsuchida, Shinpei" userId="4375a60a-0653-49e2-ae45-00a92666541c" providerId="ADAL" clId="{D1725743-558E-4D9B-893B-DB62665A1A57}" dt="2024-03-24T04:58:39.872" v="3714" actId="20577"/>
          <ac:spMkLst>
            <pc:docMk/>
            <pc:sldMk cId="4186158384" sldId="2147378644"/>
            <ac:spMk id="25" creationId="{2C4F13DB-EF49-E9D8-5C50-FFD25408D991}"/>
          </ac:spMkLst>
        </pc:spChg>
        <pc:graphicFrameChg chg="mod">
          <ac:chgData name="Tsuchida, Shinpei" userId="4375a60a-0653-49e2-ae45-00a92666541c" providerId="ADAL" clId="{D1725743-558E-4D9B-893B-DB62665A1A57}" dt="2024-03-24T04:59:47.019" v="3723"/>
          <ac:graphicFrameMkLst>
            <pc:docMk/>
            <pc:sldMk cId="4186158384" sldId="2147378644"/>
            <ac:graphicFrameMk id="15" creationId="{2D8B9F62-5640-DA60-72EA-D3AA0A3EC839}"/>
          </ac:graphicFrameMkLst>
        </pc:graphicFrameChg>
      </pc:sldChg>
      <pc:sldChg chg="modSp add mod">
        <pc:chgData name="Tsuchida, Shinpei" userId="4375a60a-0653-49e2-ae45-00a92666541c" providerId="ADAL" clId="{D1725743-558E-4D9B-893B-DB62665A1A57}" dt="2024-03-24T02:05:53.768" v="2785" actId="20577"/>
        <pc:sldMkLst>
          <pc:docMk/>
          <pc:sldMk cId="2061620207" sldId="2147378645"/>
        </pc:sldMkLst>
        <pc:spChg chg="mod">
          <ac:chgData name="Tsuchida, Shinpei" userId="4375a60a-0653-49e2-ae45-00a92666541c" providerId="ADAL" clId="{D1725743-558E-4D9B-893B-DB62665A1A57}" dt="2024-03-24T02:05:53.768" v="2785" actId="20577"/>
          <ac:spMkLst>
            <pc:docMk/>
            <pc:sldMk cId="2061620207" sldId="2147378645"/>
            <ac:spMk id="7" creationId="{8BB312B7-7ECB-4407-2E77-9D084C0D0C8D}"/>
          </ac:spMkLst>
        </pc:spChg>
      </pc:sldChg>
      <pc:sldChg chg="addSp delSp modSp add mod ord modShow">
        <pc:chgData name="Tsuchida, Shinpei" userId="4375a60a-0653-49e2-ae45-00a92666541c" providerId="ADAL" clId="{D1725743-558E-4D9B-893B-DB62665A1A57}" dt="2024-03-24T04:29:56.434" v="3293" actId="729"/>
        <pc:sldMkLst>
          <pc:docMk/>
          <pc:sldMk cId="3796097863" sldId="2147378646"/>
        </pc:sldMkLst>
        <pc:spChg chg="mod">
          <ac:chgData name="Tsuchida, Shinpei" userId="4375a60a-0653-49e2-ae45-00a92666541c" providerId="ADAL" clId="{D1725743-558E-4D9B-893B-DB62665A1A57}" dt="2024-03-23T13:15:20.486" v="669" actId="6549"/>
          <ac:spMkLst>
            <pc:docMk/>
            <pc:sldMk cId="3796097863" sldId="2147378646"/>
            <ac:spMk id="2" creationId="{1B788690-C2BF-F8FD-3BBE-0F6B8C149C1A}"/>
          </ac:spMkLst>
        </pc:spChg>
        <pc:spChg chg="add mod">
          <ac:chgData name="Tsuchida, Shinpei" userId="4375a60a-0653-49e2-ae45-00a92666541c" providerId="ADAL" clId="{D1725743-558E-4D9B-893B-DB62665A1A57}" dt="2024-03-24T01:49:03.004" v="2491" actId="20577"/>
          <ac:spMkLst>
            <pc:docMk/>
            <pc:sldMk cId="3796097863" sldId="2147378646"/>
            <ac:spMk id="3" creationId="{ECBB1B18-6E48-A741-52DD-AE2FF2CF5F79}"/>
          </ac:spMkLst>
        </pc:spChg>
        <pc:spChg chg="del mod">
          <ac:chgData name="Tsuchida, Shinpei" userId="4375a60a-0653-49e2-ae45-00a92666541c" providerId="ADAL" clId="{D1725743-558E-4D9B-893B-DB62665A1A57}" dt="2024-03-23T13:15:27.225" v="672" actId="478"/>
          <ac:spMkLst>
            <pc:docMk/>
            <pc:sldMk cId="3796097863" sldId="2147378646"/>
            <ac:spMk id="8" creationId="{F73BFDA0-44F9-477D-EE50-13BBEB0FD3C3}"/>
          </ac:spMkLst>
        </pc:spChg>
        <pc:spChg chg="mod">
          <ac:chgData name="Tsuchida, Shinpei" userId="4375a60a-0653-49e2-ae45-00a92666541c" providerId="ADAL" clId="{D1725743-558E-4D9B-893B-DB62665A1A57}" dt="2024-03-23T13:15:17.579" v="664" actId="948"/>
          <ac:spMkLst>
            <pc:docMk/>
            <pc:sldMk cId="3796097863" sldId="2147378646"/>
            <ac:spMk id="9" creationId="{1207C47B-0ADD-C172-B831-B0397BB0922C}"/>
          </ac:spMkLst>
        </pc:spChg>
        <pc:graphicFrameChg chg="mod">
          <ac:chgData name="Tsuchida, Shinpei" userId="4375a60a-0653-49e2-ae45-00a92666541c" providerId="ADAL" clId="{D1725743-558E-4D9B-893B-DB62665A1A57}" dt="2024-03-23T13:15:17.590" v="668"/>
          <ac:graphicFrameMkLst>
            <pc:docMk/>
            <pc:sldMk cId="3796097863" sldId="2147378646"/>
            <ac:graphicFrameMk id="5" creationId="{ECB48993-7F99-46F0-531C-022782C08D20}"/>
          </ac:graphicFrameMkLst>
        </pc:graphicFrameChg>
      </pc:sldChg>
      <pc:sldChg chg="new del">
        <pc:chgData name="Tsuchida, Shinpei" userId="4375a60a-0653-49e2-ae45-00a92666541c" providerId="ADAL" clId="{D1725743-558E-4D9B-893B-DB62665A1A57}" dt="2024-03-23T13:15:08.368" v="626" actId="47"/>
        <pc:sldMkLst>
          <pc:docMk/>
          <pc:sldMk cId="3855407929" sldId="2147378646"/>
        </pc:sldMkLst>
      </pc:sldChg>
      <pc:sldChg chg="addSp modSp add mod">
        <pc:chgData name="Tsuchida, Shinpei" userId="4375a60a-0653-49e2-ae45-00a92666541c" providerId="ADAL" clId="{D1725743-558E-4D9B-893B-DB62665A1A57}" dt="2024-03-24T01:43:21.563" v="1563" actId="20577"/>
        <pc:sldMkLst>
          <pc:docMk/>
          <pc:sldMk cId="873808501" sldId="2147378647"/>
        </pc:sldMkLst>
        <pc:spChg chg="add mod">
          <ac:chgData name="Tsuchida, Shinpei" userId="4375a60a-0653-49e2-ae45-00a92666541c" providerId="ADAL" clId="{D1725743-558E-4D9B-893B-DB62665A1A57}" dt="2024-03-24T01:43:21.563" v="1563" actId="20577"/>
          <ac:spMkLst>
            <pc:docMk/>
            <pc:sldMk cId="873808501" sldId="2147378647"/>
            <ac:spMk id="2" creationId="{3D216995-FBE2-CDF8-2529-C6EB21D71159}"/>
          </ac:spMkLst>
        </pc:spChg>
      </pc:sldChg>
      <pc:sldChg chg="addSp delSp modSp new mod">
        <pc:chgData name="Tsuchida, Shinpei" userId="4375a60a-0653-49e2-ae45-00a92666541c" providerId="ADAL" clId="{D1725743-558E-4D9B-893B-DB62665A1A57}" dt="2024-03-24T15:49:05.872" v="6172" actId="1076"/>
        <pc:sldMkLst>
          <pc:docMk/>
          <pc:sldMk cId="2998465411" sldId="2147378648"/>
        </pc:sldMkLst>
        <pc:spChg chg="add mod">
          <ac:chgData name="Tsuchida, Shinpei" userId="4375a60a-0653-49e2-ae45-00a92666541c" providerId="ADAL" clId="{D1725743-558E-4D9B-893B-DB62665A1A57}" dt="2024-03-24T15:49:05.872" v="6172" actId="1076"/>
          <ac:spMkLst>
            <pc:docMk/>
            <pc:sldMk cId="2998465411" sldId="2147378648"/>
            <ac:spMk id="5" creationId="{2D5EA78A-6461-7E3B-1B64-172FF89181D2}"/>
          </ac:spMkLst>
        </pc:spChg>
        <pc:spChg chg="add del mod">
          <ac:chgData name="Tsuchida, Shinpei" userId="4375a60a-0653-49e2-ae45-00a92666541c" providerId="ADAL" clId="{D1725743-558E-4D9B-893B-DB62665A1A57}" dt="2024-03-24T15:48:57.481" v="6168" actId="478"/>
          <ac:spMkLst>
            <pc:docMk/>
            <pc:sldMk cId="2998465411" sldId="2147378648"/>
            <ac:spMk id="7" creationId="{F3D32066-A6D2-6921-AA7E-455488126595}"/>
          </ac:spMkLst>
        </pc:spChg>
        <pc:graphicFrameChg chg="mod modGraphic">
          <ac:chgData name="Tsuchida, Shinpei" userId="4375a60a-0653-49e2-ae45-00a92666541c" providerId="ADAL" clId="{D1725743-558E-4D9B-893B-DB62665A1A57}" dt="2024-03-24T15:47:43.119" v="6008" actId="20577"/>
          <ac:graphicFrameMkLst>
            <pc:docMk/>
            <pc:sldMk cId="2998465411" sldId="2147378648"/>
            <ac:graphicFrameMk id="8" creationId="{6BB7A498-4C84-2FEA-ED42-9455CEFC31A6}"/>
          </ac:graphicFrameMkLst>
        </pc:graphicFrameChg>
      </pc:sldChg>
      <pc:sldChg chg="addSp modSp new mod">
        <pc:chgData name="Tsuchida, Shinpei" userId="4375a60a-0653-49e2-ae45-00a92666541c" providerId="ADAL" clId="{D1725743-558E-4D9B-893B-DB62665A1A57}" dt="2024-03-24T04:05:27.894" v="2927" actId="14100"/>
        <pc:sldMkLst>
          <pc:docMk/>
          <pc:sldMk cId="128044781" sldId="2147378649"/>
        </pc:sldMkLst>
        <pc:spChg chg="add mod">
          <ac:chgData name="Tsuchida, Shinpei" userId="4375a60a-0653-49e2-ae45-00a92666541c" providerId="ADAL" clId="{D1725743-558E-4D9B-893B-DB62665A1A57}" dt="2024-03-24T04:05:27.894" v="2927" actId="14100"/>
          <ac:spMkLst>
            <pc:docMk/>
            <pc:sldMk cId="128044781" sldId="2147378649"/>
            <ac:spMk id="5" creationId="{64D9EFCF-5556-C67C-43C3-1B21791BAA3B}"/>
          </ac:spMkLst>
        </pc:spChg>
      </pc:sldChg>
      <pc:sldChg chg="del">
        <pc:chgData name="Tsuchida, Shinpei" userId="4375a60a-0653-49e2-ae45-00a92666541c" providerId="ADAL" clId="{D1725743-558E-4D9B-893B-DB62665A1A57}" dt="2024-03-24T04:05:36.329" v="2928" actId="47"/>
        <pc:sldMkLst>
          <pc:docMk/>
          <pc:sldMk cId="1802116569" sldId="2147378649"/>
        </pc:sldMkLst>
      </pc:sldChg>
      <pc:sldChg chg="addSp modSp mod">
        <pc:chgData name="Tsuchida, Shinpei" userId="4375a60a-0653-49e2-ae45-00a92666541c" providerId="ADAL" clId="{D1725743-558E-4D9B-893B-DB62665A1A57}" dt="2024-03-24T04:31:08.697" v="3530" actId="14100"/>
        <pc:sldMkLst>
          <pc:docMk/>
          <pc:sldMk cId="128044781" sldId="2147378650"/>
        </pc:sldMkLst>
        <pc:spChg chg="mod">
          <ac:chgData name="Tsuchida, Shinpei" userId="4375a60a-0653-49e2-ae45-00a92666541c" providerId="ADAL" clId="{D1725743-558E-4D9B-893B-DB62665A1A57}" dt="2024-03-24T04:05:48.287" v="2991" actId="948"/>
          <ac:spMkLst>
            <pc:docMk/>
            <pc:sldMk cId="128044781" sldId="2147378650"/>
            <ac:spMk id="4" creationId="{EE939D36-9C1A-E1D5-9C69-61295C1D2A20}"/>
          </ac:spMkLst>
        </pc:spChg>
        <pc:spChg chg="mod">
          <ac:chgData name="Tsuchida, Shinpei" userId="4375a60a-0653-49e2-ae45-00a92666541c" providerId="ADAL" clId="{D1725743-558E-4D9B-893B-DB62665A1A57}" dt="2024-03-24T04:28:12.192" v="3289" actId="14100"/>
          <ac:spMkLst>
            <pc:docMk/>
            <pc:sldMk cId="128044781" sldId="2147378650"/>
            <ac:spMk id="5" creationId="{64D9EFCF-5556-C67C-43C3-1B21791BAA3B}"/>
          </ac:spMkLst>
        </pc:spChg>
        <pc:spChg chg="add mod">
          <ac:chgData name="Tsuchida, Shinpei" userId="4375a60a-0653-49e2-ae45-00a92666541c" providerId="ADAL" clId="{D1725743-558E-4D9B-893B-DB62665A1A57}" dt="2024-03-24T04:09:43.641" v="3038" actId="1076"/>
          <ac:spMkLst>
            <pc:docMk/>
            <pc:sldMk cId="128044781" sldId="2147378650"/>
            <ac:spMk id="7" creationId="{5F2F6995-ED34-BC12-C7D1-423BB0605684}"/>
          </ac:spMkLst>
        </pc:spChg>
        <pc:spChg chg="add mod">
          <ac:chgData name="Tsuchida, Shinpei" userId="4375a60a-0653-49e2-ae45-00a92666541c" providerId="ADAL" clId="{D1725743-558E-4D9B-893B-DB62665A1A57}" dt="2024-03-24T04:09:43.641" v="3038" actId="1076"/>
          <ac:spMkLst>
            <pc:docMk/>
            <pc:sldMk cId="128044781" sldId="2147378650"/>
            <ac:spMk id="8" creationId="{68F72CB9-8E09-254A-6143-095430315A93}"/>
          </ac:spMkLst>
        </pc:spChg>
        <pc:spChg chg="add mod">
          <ac:chgData name="Tsuchida, Shinpei" userId="4375a60a-0653-49e2-ae45-00a92666541c" providerId="ADAL" clId="{D1725743-558E-4D9B-893B-DB62665A1A57}" dt="2024-03-24T04:09:43.641" v="3038" actId="1076"/>
          <ac:spMkLst>
            <pc:docMk/>
            <pc:sldMk cId="128044781" sldId="2147378650"/>
            <ac:spMk id="9" creationId="{DCF1BF44-1C79-A7D2-D4EC-DF06E66AEB8B}"/>
          </ac:spMkLst>
        </pc:spChg>
        <pc:spChg chg="add mod">
          <ac:chgData name="Tsuchida, Shinpei" userId="4375a60a-0653-49e2-ae45-00a92666541c" providerId="ADAL" clId="{D1725743-558E-4D9B-893B-DB62665A1A57}" dt="2024-03-24T04:09:43.641" v="3038" actId="1076"/>
          <ac:spMkLst>
            <pc:docMk/>
            <pc:sldMk cId="128044781" sldId="2147378650"/>
            <ac:spMk id="10" creationId="{371A09B2-09AE-FD92-D602-1123981A28C2}"/>
          </ac:spMkLst>
        </pc:spChg>
        <pc:spChg chg="add mod">
          <ac:chgData name="Tsuchida, Shinpei" userId="4375a60a-0653-49e2-ae45-00a92666541c" providerId="ADAL" clId="{D1725743-558E-4D9B-893B-DB62665A1A57}" dt="2024-03-24T04:09:43.641" v="3038" actId="1076"/>
          <ac:spMkLst>
            <pc:docMk/>
            <pc:sldMk cId="128044781" sldId="2147378650"/>
            <ac:spMk id="11" creationId="{139F3379-CD7B-574E-98ED-EE839BC6FA6F}"/>
          </ac:spMkLst>
        </pc:spChg>
        <pc:spChg chg="add mod">
          <ac:chgData name="Tsuchida, Shinpei" userId="4375a60a-0653-49e2-ae45-00a92666541c" providerId="ADAL" clId="{D1725743-558E-4D9B-893B-DB62665A1A57}" dt="2024-03-24T04:09:40.727" v="3037" actId="571"/>
          <ac:spMkLst>
            <pc:docMk/>
            <pc:sldMk cId="128044781" sldId="2147378650"/>
            <ac:spMk id="12" creationId="{2D43A44B-D0ED-1E3F-BA14-CA59A22CC6E2}"/>
          </ac:spMkLst>
        </pc:spChg>
        <pc:spChg chg="add mod">
          <ac:chgData name="Tsuchida, Shinpei" userId="4375a60a-0653-49e2-ae45-00a92666541c" providerId="ADAL" clId="{D1725743-558E-4D9B-893B-DB62665A1A57}" dt="2024-03-24T04:09:40.727" v="3037" actId="571"/>
          <ac:spMkLst>
            <pc:docMk/>
            <pc:sldMk cId="128044781" sldId="2147378650"/>
            <ac:spMk id="13" creationId="{4713BDEA-09AC-995E-E32C-7418CDE84F2A}"/>
          </ac:spMkLst>
        </pc:spChg>
        <pc:spChg chg="add mod">
          <ac:chgData name="Tsuchida, Shinpei" userId="4375a60a-0653-49e2-ae45-00a92666541c" providerId="ADAL" clId="{D1725743-558E-4D9B-893B-DB62665A1A57}" dt="2024-03-24T04:09:40.727" v="3037" actId="571"/>
          <ac:spMkLst>
            <pc:docMk/>
            <pc:sldMk cId="128044781" sldId="2147378650"/>
            <ac:spMk id="14" creationId="{E5D5FED5-B2CD-6AAE-26BF-0966571480FE}"/>
          </ac:spMkLst>
        </pc:spChg>
        <pc:spChg chg="add mod">
          <ac:chgData name="Tsuchida, Shinpei" userId="4375a60a-0653-49e2-ae45-00a92666541c" providerId="ADAL" clId="{D1725743-558E-4D9B-893B-DB62665A1A57}" dt="2024-03-24T04:09:40.727" v="3037" actId="571"/>
          <ac:spMkLst>
            <pc:docMk/>
            <pc:sldMk cId="128044781" sldId="2147378650"/>
            <ac:spMk id="15" creationId="{EDB2F35A-B918-073E-0C6E-A77194E8C6F2}"/>
          </ac:spMkLst>
        </pc:spChg>
        <pc:spChg chg="add mod">
          <ac:chgData name="Tsuchida, Shinpei" userId="4375a60a-0653-49e2-ae45-00a92666541c" providerId="ADAL" clId="{D1725743-558E-4D9B-893B-DB62665A1A57}" dt="2024-03-24T04:09:40.727" v="3037" actId="571"/>
          <ac:spMkLst>
            <pc:docMk/>
            <pc:sldMk cId="128044781" sldId="2147378650"/>
            <ac:spMk id="16" creationId="{31EC28A6-1435-A013-8EA4-6D7164494F11}"/>
          </ac:spMkLst>
        </pc:spChg>
        <pc:spChg chg="add mod">
          <ac:chgData name="Tsuchida, Shinpei" userId="4375a60a-0653-49e2-ae45-00a92666541c" providerId="ADAL" clId="{D1725743-558E-4D9B-893B-DB62665A1A57}" dt="2024-03-24T04:20:18.478" v="3276" actId="14100"/>
          <ac:spMkLst>
            <pc:docMk/>
            <pc:sldMk cId="128044781" sldId="2147378650"/>
            <ac:spMk id="17" creationId="{0C3DF9A1-8E2F-3C85-0802-186D8B052020}"/>
          </ac:spMkLst>
        </pc:spChg>
        <pc:spChg chg="add mod">
          <ac:chgData name="Tsuchida, Shinpei" userId="4375a60a-0653-49e2-ae45-00a92666541c" providerId="ADAL" clId="{D1725743-558E-4D9B-893B-DB62665A1A57}" dt="2024-03-24T04:20:18.478" v="3276" actId="14100"/>
          <ac:spMkLst>
            <pc:docMk/>
            <pc:sldMk cId="128044781" sldId="2147378650"/>
            <ac:spMk id="18" creationId="{DB143C2D-15F5-1A5C-50BC-2891DE912276}"/>
          </ac:spMkLst>
        </pc:spChg>
        <pc:spChg chg="add mod">
          <ac:chgData name="Tsuchida, Shinpei" userId="4375a60a-0653-49e2-ae45-00a92666541c" providerId="ADAL" clId="{D1725743-558E-4D9B-893B-DB62665A1A57}" dt="2024-03-24T04:20:18.478" v="3276" actId="14100"/>
          <ac:spMkLst>
            <pc:docMk/>
            <pc:sldMk cId="128044781" sldId="2147378650"/>
            <ac:spMk id="19" creationId="{D00447BF-13FE-CEB3-D3F0-DB50E0D922A3}"/>
          </ac:spMkLst>
        </pc:spChg>
        <pc:spChg chg="add mod">
          <ac:chgData name="Tsuchida, Shinpei" userId="4375a60a-0653-49e2-ae45-00a92666541c" providerId="ADAL" clId="{D1725743-558E-4D9B-893B-DB62665A1A57}" dt="2024-03-24T04:20:18.478" v="3276" actId="14100"/>
          <ac:spMkLst>
            <pc:docMk/>
            <pc:sldMk cId="128044781" sldId="2147378650"/>
            <ac:spMk id="20" creationId="{066D0BB7-1B6F-5F3F-506D-F8A459454E34}"/>
          </ac:spMkLst>
        </pc:spChg>
        <pc:spChg chg="add mod">
          <ac:chgData name="Tsuchida, Shinpei" userId="4375a60a-0653-49e2-ae45-00a92666541c" providerId="ADAL" clId="{D1725743-558E-4D9B-893B-DB62665A1A57}" dt="2024-03-24T04:20:18.478" v="3276" actId="14100"/>
          <ac:spMkLst>
            <pc:docMk/>
            <pc:sldMk cId="128044781" sldId="2147378650"/>
            <ac:spMk id="21" creationId="{7663E85C-3D68-7CBD-BB6B-9C9C62DFA17A}"/>
          </ac:spMkLst>
        </pc:spChg>
        <pc:spChg chg="add mod">
          <ac:chgData name="Tsuchida, Shinpei" userId="4375a60a-0653-49e2-ae45-00a92666541c" providerId="ADAL" clId="{D1725743-558E-4D9B-893B-DB62665A1A57}" dt="2024-03-24T04:28:21.347" v="3292" actId="20577"/>
          <ac:spMkLst>
            <pc:docMk/>
            <pc:sldMk cId="128044781" sldId="2147378650"/>
            <ac:spMk id="22" creationId="{263B637B-7094-4C9D-CB8F-5CE7473F80BF}"/>
          </ac:spMkLst>
        </pc:spChg>
        <pc:spChg chg="add mod">
          <ac:chgData name="Tsuchida, Shinpei" userId="4375a60a-0653-49e2-ae45-00a92666541c" providerId="ADAL" clId="{D1725743-558E-4D9B-893B-DB62665A1A57}" dt="2024-03-24T04:20:26.231" v="3278" actId="14100"/>
          <ac:spMkLst>
            <pc:docMk/>
            <pc:sldMk cId="128044781" sldId="2147378650"/>
            <ac:spMk id="23" creationId="{5F75D7CE-5F5C-5360-407E-8F1C92A39668}"/>
          </ac:spMkLst>
        </pc:spChg>
        <pc:spChg chg="add mod">
          <ac:chgData name="Tsuchida, Shinpei" userId="4375a60a-0653-49e2-ae45-00a92666541c" providerId="ADAL" clId="{D1725743-558E-4D9B-893B-DB62665A1A57}" dt="2024-03-24T04:20:26.231" v="3278" actId="14100"/>
          <ac:spMkLst>
            <pc:docMk/>
            <pc:sldMk cId="128044781" sldId="2147378650"/>
            <ac:spMk id="24" creationId="{1BD360EA-7E67-0F0F-FEF5-1105A4FC4957}"/>
          </ac:spMkLst>
        </pc:spChg>
        <pc:spChg chg="add mod">
          <ac:chgData name="Tsuchida, Shinpei" userId="4375a60a-0653-49e2-ae45-00a92666541c" providerId="ADAL" clId="{D1725743-558E-4D9B-893B-DB62665A1A57}" dt="2024-03-24T04:20:26.231" v="3278" actId="14100"/>
          <ac:spMkLst>
            <pc:docMk/>
            <pc:sldMk cId="128044781" sldId="2147378650"/>
            <ac:spMk id="25" creationId="{C025AC64-B653-8DF7-5567-2CCD7F5A4842}"/>
          </ac:spMkLst>
        </pc:spChg>
        <pc:spChg chg="add mod">
          <ac:chgData name="Tsuchida, Shinpei" userId="4375a60a-0653-49e2-ae45-00a92666541c" providerId="ADAL" clId="{D1725743-558E-4D9B-893B-DB62665A1A57}" dt="2024-03-24T04:20:26.231" v="3278" actId="14100"/>
          <ac:spMkLst>
            <pc:docMk/>
            <pc:sldMk cId="128044781" sldId="2147378650"/>
            <ac:spMk id="26" creationId="{F3DE1FF1-EAA5-1BF3-604D-270ED24F1227}"/>
          </ac:spMkLst>
        </pc:spChg>
        <pc:spChg chg="add mod">
          <ac:chgData name="Tsuchida, Shinpei" userId="4375a60a-0653-49e2-ae45-00a92666541c" providerId="ADAL" clId="{D1725743-558E-4D9B-893B-DB62665A1A57}" dt="2024-03-24T04:20:36.408" v="3288" actId="14100"/>
          <ac:spMkLst>
            <pc:docMk/>
            <pc:sldMk cId="128044781" sldId="2147378650"/>
            <ac:spMk id="27" creationId="{DEF20B9B-DCAB-9BD9-9E37-8531337B3E1D}"/>
          </ac:spMkLst>
        </pc:spChg>
        <pc:spChg chg="add mod">
          <ac:chgData name="Tsuchida, Shinpei" userId="4375a60a-0653-49e2-ae45-00a92666541c" providerId="ADAL" clId="{D1725743-558E-4D9B-893B-DB62665A1A57}" dt="2024-03-24T04:20:36.408" v="3288" actId="14100"/>
          <ac:spMkLst>
            <pc:docMk/>
            <pc:sldMk cId="128044781" sldId="2147378650"/>
            <ac:spMk id="28" creationId="{C5AB2DEF-58E9-FFDA-B948-85B871F01584}"/>
          </ac:spMkLst>
        </pc:spChg>
        <pc:spChg chg="add mod">
          <ac:chgData name="Tsuchida, Shinpei" userId="4375a60a-0653-49e2-ae45-00a92666541c" providerId="ADAL" clId="{D1725743-558E-4D9B-893B-DB62665A1A57}" dt="2024-03-24T04:20:36.408" v="3288" actId="14100"/>
          <ac:spMkLst>
            <pc:docMk/>
            <pc:sldMk cId="128044781" sldId="2147378650"/>
            <ac:spMk id="29" creationId="{93695E8A-6507-1A61-5830-059FFE28E338}"/>
          </ac:spMkLst>
        </pc:spChg>
        <pc:spChg chg="add mod">
          <ac:chgData name="Tsuchida, Shinpei" userId="4375a60a-0653-49e2-ae45-00a92666541c" providerId="ADAL" clId="{D1725743-558E-4D9B-893B-DB62665A1A57}" dt="2024-03-24T04:20:36.408" v="3288" actId="14100"/>
          <ac:spMkLst>
            <pc:docMk/>
            <pc:sldMk cId="128044781" sldId="2147378650"/>
            <ac:spMk id="30" creationId="{5CA9EF39-A382-637E-E690-F6E6C3E38550}"/>
          </ac:spMkLst>
        </pc:spChg>
        <pc:spChg chg="add mod">
          <ac:chgData name="Tsuchida, Shinpei" userId="4375a60a-0653-49e2-ae45-00a92666541c" providerId="ADAL" clId="{D1725743-558E-4D9B-893B-DB62665A1A57}" dt="2024-03-24T04:20:36.408" v="3288" actId="14100"/>
          <ac:spMkLst>
            <pc:docMk/>
            <pc:sldMk cId="128044781" sldId="2147378650"/>
            <ac:spMk id="31" creationId="{EC318247-48E6-6824-ECE3-A467E2DCC7A6}"/>
          </ac:spMkLst>
        </pc:spChg>
        <pc:spChg chg="add mod">
          <ac:chgData name="Tsuchida, Shinpei" userId="4375a60a-0653-49e2-ae45-00a92666541c" providerId="ADAL" clId="{D1725743-558E-4D9B-893B-DB62665A1A57}" dt="2024-03-24T04:11:48.933" v="3200" actId="20577"/>
          <ac:spMkLst>
            <pc:docMk/>
            <pc:sldMk cId="128044781" sldId="2147378650"/>
            <ac:spMk id="32" creationId="{FF0B8435-D959-54D8-1DF9-23C00B906D30}"/>
          </ac:spMkLst>
        </pc:spChg>
        <pc:spChg chg="add mod">
          <ac:chgData name="Tsuchida, Shinpei" userId="4375a60a-0653-49e2-ae45-00a92666541c" providerId="ADAL" clId="{D1725743-558E-4D9B-893B-DB62665A1A57}" dt="2024-03-24T04:31:08.697" v="3530" actId="14100"/>
          <ac:spMkLst>
            <pc:docMk/>
            <pc:sldMk cId="128044781" sldId="2147378650"/>
            <ac:spMk id="35" creationId="{C49DEDD9-3A61-A50F-999D-0B06234EBD4E}"/>
          </ac:spMkLst>
        </pc:spChg>
        <pc:grpChg chg="add mod">
          <ac:chgData name="Tsuchida, Shinpei" userId="4375a60a-0653-49e2-ae45-00a92666541c" providerId="ADAL" clId="{D1725743-558E-4D9B-893B-DB62665A1A57}" dt="2024-03-24T04:11:41.918" v="3194" actId="14100"/>
          <ac:grpSpMkLst>
            <pc:docMk/>
            <pc:sldMk cId="128044781" sldId="2147378650"/>
            <ac:grpSpMk id="34" creationId="{0FA49C46-EA98-8D09-B5F8-C36CD9242961}"/>
          </ac:grpSpMkLst>
        </pc:grpChg>
        <pc:graphicFrameChg chg="add mod ord modVis replST">
          <ac:chgData name="Tsuchida, Shinpei" userId="4375a60a-0653-49e2-ae45-00a92666541c" providerId="ADAL" clId="{D1725743-558E-4D9B-893B-DB62665A1A57}" dt="2024-03-24T04:05:48.525" v="3008"/>
          <ac:graphicFrameMkLst>
            <pc:docMk/>
            <pc:sldMk cId="128044781" sldId="2147378650"/>
            <ac:graphicFrameMk id="6" creationId="{5D252BC9-62AE-D737-64B4-909F97A853A3}"/>
          </ac:graphicFrameMkLst>
        </pc:graphicFrameChg>
        <pc:cxnChg chg="add mod">
          <ac:chgData name="Tsuchida, Shinpei" userId="4375a60a-0653-49e2-ae45-00a92666541c" providerId="ADAL" clId="{D1725743-558E-4D9B-893B-DB62665A1A57}" dt="2024-03-24T04:11:41.918" v="3194" actId="14100"/>
          <ac:cxnSpMkLst>
            <pc:docMk/>
            <pc:sldMk cId="128044781" sldId="2147378650"/>
            <ac:cxnSpMk id="33" creationId="{D4D1B8DD-3F53-BB74-D7A7-EABC342A9291}"/>
          </ac:cxnSpMkLst>
        </pc:cxnChg>
      </pc:sldChg>
      <pc:sldChg chg="del mod ord modShow">
        <pc:chgData name="Tsuchida, Shinpei" userId="4375a60a-0653-49e2-ae45-00a92666541c" providerId="ADAL" clId="{D1725743-558E-4D9B-893B-DB62665A1A57}" dt="2024-03-24T11:18:32.159" v="5969" actId="47"/>
        <pc:sldMkLst>
          <pc:docMk/>
          <pc:sldMk cId="3657893772" sldId="2147378650"/>
        </pc:sldMkLst>
      </pc:sldChg>
      <pc:sldChg chg="addSp delSp modSp add mod">
        <pc:chgData name="Tsuchida, Shinpei" userId="4375a60a-0653-49e2-ae45-00a92666541c" providerId="ADAL" clId="{D1725743-558E-4D9B-893B-DB62665A1A57}" dt="2024-03-24T09:27:08.890" v="5257" actId="20577"/>
        <pc:sldMkLst>
          <pc:docMk/>
          <pc:sldMk cId="1132711422" sldId="2147378657"/>
        </pc:sldMkLst>
        <pc:spChg chg="mod">
          <ac:chgData name="Tsuchida, Shinpei" userId="4375a60a-0653-49e2-ae45-00a92666541c" providerId="ADAL" clId="{D1725743-558E-4D9B-893B-DB62665A1A57}" dt="2024-03-24T09:12:43.053" v="5096" actId="20577"/>
          <ac:spMkLst>
            <pc:docMk/>
            <pc:sldMk cId="1132711422" sldId="2147378657"/>
            <ac:spMk id="2" creationId="{A89627E6-1381-E3A4-FE8B-A4EB0C783D38}"/>
          </ac:spMkLst>
        </pc:spChg>
        <pc:spChg chg="mod">
          <ac:chgData name="Tsuchida, Shinpei" userId="4375a60a-0653-49e2-ae45-00a92666541c" providerId="ADAL" clId="{D1725743-558E-4D9B-893B-DB62665A1A57}" dt="2024-03-24T09:19:04.096" v="5204" actId="948"/>
          <ac:spMkLst>
            <pc:docMk/>
            <pc:sldMk cId="1132711422" sldId="2147378657"/>
            <ac:spMk id="4" creationId="{DD1CA6AB-0B11-22AF-99A0-D4CD074A0CDA}"/>
          </ac:spMkLst>
        </pc:spChg>
        <pc:spChg chg="add mod">
          <ac:chgData name="Tsuchida, Shinpei" userId="4375a60a-0653-49e2-ae45-00a92666541c" providerId="ADAL" clId="{D1725743-558E-4D9B-893B-DB62665A1A57}" dt="2024-03-24T09:17:54.555" v="5181" actId="1076"/>
          <ac:spMkLst>
            <pc:docMk/>
            <pc:sldMk cId="1132711422" sldId="2147378657"/>
            <ac:spMk id="7" creationId="{A3DE1F2F-7DEA-175E-70F3-5E51A2EA182C}"/>
          </ac:spMkLst>
        </pc:spChg>
        <pc:spChg chg="add mod">
          <ac:chgData name="Tsuchida, Shinpei" userId="4375a60a-0653-49e2-ae45-00a92666541c" providerId="ADAL" clId="{D1725743-558E-4D9B-893B-DB62665A1A57}" dt="2024-03-24T09:27:08.890" v="5257" actId="20577"/>
          <ac:spMkLst>
            <pc:docMk/>
            <pc:sldMk cId="1132711422" sldId="2147378657"/>
            <ac:spMk id="8" creationId="{E7704DA5-DF2F-7F4D-34A1-F765535560C4}"/>
          </ac:spMkLst>
        </pc:spChg>
        <pc:spChg chg="add mod">
          <ac:chgData name="Tsuchida, Shinpei" userId="4375a60a-0653-49e2-ae45-00a92666541c" providerId="ADAL" clId="{D1725743-558E-4D9B-893B-DB62665A1A57}" dt="2024-03-24T09:17:28.908" v="5174" actId="208"/>
          <ac:spMkLst>
            <pc:docMk/>
            <pc:sldMk cId="1132711422" sldId="2147378657"/>
            <ac:spMk id="9" creationId="{53D2D85B-0EE7-5015-B34D-3FBFB6DD64C3}"/>
          </ac:spMkLst>
        </pc:spChg>
        <pc:spChg chg="add mod">
          <ac:chgData name="Tsuchida, Shinpei" userId="4375a60a-0653-49e2-ae45-00a92666541c" providerId="ADAL" clId="{D1725743-558E-4D9B-893B-DB62665A1A57}" dt="2024-03-24T09:18:24.699" v="5198" actId="1076"/>
          <ac:spMkLst>
            <pc:docMk/>
            <pc:sldMk cId="1132711422" sldId="2147378657"/>
            <ac:spMk id="10" creationId="{D5D8E8B6-FE6E-86B7-D441-2EA1FA53EF98}"/>
          </ac:spMkLst>
        </pc:spChg>
        <pc:grpChg chg="del">
          <ac:chgData name="Tsuchida, Shinpei" userId="4375a60a-0653-49e2-ae45-00a92666541c" providerId="ADAL" clId="{D1725743-558E-4D9B-893B-DB62665A1A57}" dt="2024-03-24T07:51:31.020" v="3725" actId="478"/>
          <ac:grpSpMkLst>
            <pc:docMk/>
            <pc:sldMk cId="1132711422" sldId="2147378657"/>
            <ac:grpSpMk id="15" creationId="{C7B0CAE0-5827-4A53-B2D3-56DF70E7239C}"/>
          </ac:grpSpMkLst>
        </pc:grpChg>
        <pc:graphicFrameChg chg="mod">
          <ac:chgData name="Tsuchida, Shinpei" userId="4375a60a-0653-49e2-ae45-00a92666541c" providerId="ADAL" clId="{D1725743-558E-4D9B-893B-DB62665A1A57}" dt="2024-03-24T09:19:04.111" v="5208"/>
          <ac:graphicFrameMkLst>
            <pc:docMk/>
            <pc:sldMk cId="1132711422" sldId="2147378657"/>
            <ac:graphicFrameMk id="6" creationId="{1E8C9B9F-8072-E0E4-77B7-420C6D2F965B}"/>
          </ac:graphicFrameMkLst>
        </pc:graphicFrameChg>
        <pc:graphicFrameChg chg="mod modGraphic">
          <ac:chgData name="Tsuchida, Shinpei" userId="4375a60a-0653-49e2-ae45-00a92666541c" providerId="ADAL" clId="{D1725743-558E-4D9B-893B-DB62665A1A57}" dt="2024-03-24T09:06:42.846" v="4771" actId="14734"/>
          <ac:graphicFrameMkLst>
            <pc:docMk/>
            <pc:sldMk cId="1132711422" sldId="2147378657"/>
            <ac:graphicFrameMk id="13" creationId="{6B84DF48-8B2E-7483-E19E-A4C36C91AA03}"/>
          </ac:graphicFrameMkLst>
        </pc:graphicFrameChg>
      </pc:sldChg>
      <pc:sldChg chg="addSp delSp modSp new del mod">
        <pc:chgData name="Tsuchida, Shinpei" userId="4375a60a-0653-49e2-ae45-00a92666541c" providerId="ADAL" clId="{D1725743-558E-4D9B-893B-DB62665A1A57}" dt="2024-03-24T08:21:24.544" v="4176" actId="47"/>
        <pc:sldMkLst>
          <pc:docMk/>
          <pc:sldMk cId="1895751458" sldId="2147378658"/>
        </pc:sldMkLst>
        <pc:spChg chg="add mod">
          <ac:chgData name="Tsuchida, Shinpei" userId="4375a60a-0653-49e2-ae45-00a92666541c" providerId="ADAL" clId="{D1725743-558E-4D9B-893B-DB62665A1A57}" dt="2024-03-24T08:11:57.544" v="4076" actId="20577"/>
          <ac:spMkLst>
            <pc:docMk/>
            <pc:sldMk cId="1895751458" sldId="2147378658"/>
            <ac:spMk id="5" creationId="{3908F8AB-69E4-CF8B-2080-537BC6118D68}"/>
          </ac:spMkLst>
        </pc:spChg>
        <pc:spChg chg="add mod">
          <ac:chgData name="Tsuchida, Shinpei" userId="4375a60a-0653-49e2-ae45-00a92666541c" providerId="ADAL" clId="{D1725743-558E-4D9B-893B-DB62665A1A57}" dt="2024-03-24T08:12:21.378" v="4118" actId="14100"/>
          <ac:spMkLst>
            <pc:docMk/>
            <pc:sldMk cId="1895751458" sldId="2147378658"/>
            <ac:spMk id="8" creationId="{55AD452A-21CA-11EB-5C37-01C17E4F32B7}"/>
          </ac:spMkLst>
        </pc:spChg>
        <pc:spChg chg="add mod">
          <ac:chgData name="Tsuchida, Shinpei" userId="4375a60a-0653-49e2-ae45-00a92666541c" providerId="ADAL" clId="{D1725743-558E-4D9B-893B-DB62665A1A57}" dt="2024-03-24T08:11:47.151" v="4068" actId="165"/>
          <ac:spMkLst>
            <pc:docMk/>
            <pc:sldMk cId="1895751458" sldId="2147378658"/>
            <ac:spMk id="11" creationId="{BD265D69-DEA9-8E9E-38B4-0D2D891C0DD1}"/>
          </ac:spMkLst>
        </pc:spChg>
        <pc:spChg chg="add mod">
          <ac:chgData name="Tsuchida, Shinpei" userId="4375a60a-0653-49e2-ae45-00a92666541c" providerId="ADAL" clId="{D1725743-558E-4D9B-893B-DB62665A1A57}" dt="2024-03-24T08:13:10.265" v="4150" actId="20577"/>
          <ac:spMkLst>
            <pc:docMk/>
            <pc:sldMk cId="1895751458" sldId="2147378658"/>
            <ac:spMk id="14" creationId="{F748B8B1-BD49-2CE4-BE7A-0657C5B4C05D}"/>
          </ac:spMkLst>
        </pc:spChg>
        <pc:spChg chg="add mod">
          <ac:chgData name="Tsuchida, Shinpei" userId="4375a60a-0653-49e2-ae45-00a92666541c" providerId="ADAL" clId="{D1725743-558E-4D9B-893B-DB62665A1A57}" dt="2024-03-24T08:12:40.510" v="4134" actId="20577"/>
          <ac:spMkLst>
            <pc:docMk/>
            <pc:sldMk cId="1895751458" sldId="2147378658"/>
            <ac:spMk id="17" creationId="{F93B0465-A2EF-B28D-E54E-FEF4EA858359}"/>
          </ac:spMkLst>
        </pc:spChg>
        <pc:spChg chg="add">
          <ac:chgData name="Tsuchida, Shinpei" userId="4375a60a-0653-49e2-ae45-00a92666541c" providerId="ADAL" clId="{D1725743-558E-4D9B-893B-DB62665A1A57}" dt="2024-03-24T08:13:20.683" v="4151" actId="11529"/>
          <ac:spMkLst>
            <pc:docMk/>
            <pc:sldMk cId="1895751458" sldId="2147378658"/>
            <ac:spMk id="21" creationId="{65EA1F59-E7A2-9BD1-1D43-15349A94E742}"/>
          </ac:spMkLst>
        </pc:spChg>
        <pc:grpChg chg="add mod topLvl">
          <ac:chgData name="Tsuchida, Shinpei" userId="4375a60a-0653-49e2-ae45-00a92666541c" providerId="ADAL" clId="{D1725743-558E-4D9B-893B-DB62665A1A57}" dt="2024-03-24T08:11:54.991" v="4069" actId="14100"/>
          <ac:grpSpMkLst>
            <pc:docMk/>
            <pc:sldMk cId="1895751458" sldId="2147378658"/>
            <ac:grpSpMk id="7" creationId="{ECDC8BBE-9928-073A-C4FA-9C7DFEC8445D}"/>
          </ac:grpSpMkLst>
        </pc:grpChg>
        <pc:grpChg chg="add mod topLvl">
          <ac:chgData name="Tsuchida, Shinpei" userId="4375a60a-0653-49e2-ae45-00a92666541c" providerId="ADAL" clId="{D1725743-558E-4D9B-893B-DB62665A1A57}" dt="2024-03-24T08:12:21.378" v="4118" actId="14100"/>
          <ac:grpSpMkLst>
            <pc:docMk/>
            <pc:sldMk cId="1895751458" sldId="2147378658"/>
            <ac:grpSpMk id="10" creationId="{95BB6E37-3742-0D84-25C4-2BCC7BCB0D30}"/>
          </ac:grpSpMkLst>
        </pc:grpChg>
        <pc:grpChg chg="add del mod topLvl">
          <ac:chgData name="Tsuchida, Shinpei" userId="4375a60a-0653-49e2-ae45-00a92666541c" providerId="ADAL" clId="{D1725743-558E-4D9B-893B-DB62665A1A57}" dt="2024-03-24T08:12:17.656" v="4117" actId="478"/>
          <ac:grpSpMkLst>
            <pc:docMk/>
            <pc:sldMk cId="1895751458" sldId="2147378658"/>
            <ac:grpSpMk id="13" creationId="{B6C50320-23C0-6E59-6BF7-CBB5DA42263E}"/>
          </ac:grpSpMkLst>
        </pc:grpChg>
        <pc:grpChg chg="add mod topLvl">
          <ac:chgData name="Tsuchida, Shinpei" userId="4375a60a-0653-49e2-ae45-00a92666541c" providerId="ADAL" clId="{D1725743-558E-4D9B-893B-DB62665A1A57}" dt="2024-03-24T08:12:27.762" v="4120"/>
          <ac:grpSpMkLst>
            <pc:docMk/>
            <pc:sldMk cId="1895751458" sldId="2147378658"/>
            <ac:grpSpMk id="16" creationId="{CA488960-0D5C-308F-E8C2-DE57C53A6C64}"/>
          </ac:grpSpMkLst>
        </pc:grpChg>
        <pc:grpChg chg="add mod topLvl">
          <ac:chgData name="Tsuchida, Shinpei" userId="4375a60a-0653-49e2-ae45-00a92666541c" providerId="ADAL" clId="{D1725743-558E-4D9B-893B-DB62665A1A57}" dt="2024-03-24T08:12:37.088" v="4121" actId="14100"/>
          <ac:grpSpMkLst>
            <pc:docMk/>
            <pc:sldMk cId="1895751458" sldId="2147378658"/>
            <ac:grpSpMk id="19" creationId="{2882A3D1-780E-725C-964C-EE131E096E90}"/>
          </ac:grpSpMkLst>
        </pc:grpChg>
        <pc:grpChg chg="add del mod">
          <ac:chgData name="Tsuchida, Shinpei" userId="4375a60a-0653-49e2-ae45-00a92666541c" providerId="ADAL" clId="{D1725743-558E-4D9B-893B-DB62665A1A57}" dt="2024-03-24T08:11:47.151" v="4068" actId="165"/>
          <ac:grpSpMkLst>
            <pc:docMk/>
            <pc:sldMk cId="1895751458" sldId="2147378658"/>
            <ac:grpSpMk id="20" creationId="{895CBD9F-A406-01D4-9968-8D0A64EB7FCE}"/>
          </ac:grpSpMkLst>
        </pc:grpChg>
        <pc:cxnChg chg="add mod">
          <ac:chgData name="Tsuchida, Shinpei" userId="4375a60a-0653-49e2-ae45-00a92666541c" providerId="ADAL" clId="{D1725743-558E-4D9B-893B-DB62665A1A57}" dt="2024-03-24T08:11:54.991" v="4069" actId="14100"/>
          <ac:cxnSpMkLst>
            <pc:docMk/>
            <pc:sldMk cId="1895751458" sldId="2147378658"/>
            <ac:cxnSpMk id="6" creationId="{2CCAD249-0F7E-3E0B-AB21-5CABA989E5DC}"/>
          </ac:cxnSpMkLst>
        </pc:cxnChg>
        <pc:cxnChg chg="add mod">
          <ac:chgData name="Tsuchida, Shinpei" userId="4375a60a-0653-49e2-ae45-00a92666541c" providerId="ADAL" clId="{D1725743-558E-4D9B-893B-DB62665A1A57}" dt="2024-03-24T08:12:21.378" v="4118" actId="14100"/>
          <ac:cxnSpMkLst>
            <pc:docMk/>
            <pc:sldMk cId="1895751458" sldId="2147378658"/>
            <ac:cxnSpMk id="9" creationId="{7DBE6269-61FE-80D4-C82B-704DBB1325B8}"/>
          </ac:cxnSpMkLst>
        </pc:cxnChg>
        <pc:cxnChg chg="add mod">
          <ac:chgData name="Tsuchida, Shinpei" userId="4375a60a-0653-49e2-ae45-00a92666541c" providerId="ADAL" clId="{D1725743-558E-4D9B-893B-DB62665A1A57}" dt="2024-03-24T08:11:47.151" v="4068" actId="165"/>
          <ac:cxnSpMkLst>
            <pc:docMk/>
            <pc:sldMk cId="1895751458" sldId="2147378658"/>
            <ac:cxnSpMk id="12" creationId="{02984DAA-7C03-6D6F-29BC-3C9B8461431E}"/>
          </ac:cxnSpMkLst>
        </pc:cxnChg>
        <pc:cxnChg chg="add mod">
          <ac:chgData name="Tsuchida, Shinpei" userId="4375a60a-0653-49e2-ae45-00a92666541c" providerId="ADAL" clId="{D1725743-558E-4D9B-893B-DB62665A1A57}" dt="2024-03-24T08:12:27.762" v="4120"/>
          <ac:cxnSpMkLst>
            <pc:docMk/>
            <pc:sldMk cId="1895751458" sldId="2147378658"/>
            <ac:cxnSpMk id="15" creationId="{0907D243-2B50-E04D-8BF9-7026BCAFD2F3}"/>
          </ac:cxnSpMkLst>
        </pc:cxnChg>
        <pc:cxnChg chg="add mod">
          <ac:chgData name="Tsuchida, Shinpei" userId="4375a60a-0653-49e2-ae45-00a92666541c" providerId="ADAL" clId="{D1725743-558E-4D9B-893B-DB62665A1A57}" dt="2024-03-24T08:12:37.088" v="4121" actId="14100"/>
          <ac:cxnSpMkLst>
            <pc:docMk/>
            <pc:sldMk cId="1895751458" sldId="2147378658"/>
            <ac:cxnSpMk id="18" creationId="{5A789B80-1A13-E949-62CA-C2FD151574AE}"/>
          </ac:cxnSpMkLst>
        </pc:cxnChg>
      </pc:sldChg>
      <pc:sldMasterChg chg="delSldLayout">
        <pc:chgData name="Tsuchida, Shinpei" userId="4375a60a-0653-49e2-ae45-00a92666541c" providerId="ADAL" clId="{D1725743-558E-4D9B-893B-DB62665A1A57}" dt="2024-03-26T09:15:14.297" v="6230" actId="2696"/>
        <pc:sldMasterMkLst>
          <pc:docMk/>
          <pc:sldMasterMk cId="2162003807" sldId="2147483755"/>
        </pc:sldMasterMkLst>
        <pc:sldLayoutChg chg="del">
          <pc:chgData name="Tsuchida, Shinpei" userId="4375a60a-0653-49e2-ae45-00a92666541c" providerId="ADAL" clId="{D1725743-558E-4D9B-893B-DB62665A1A57}" dt="2024-03-26T09:15:14.297" v="6230" actId="2696"/>
          <pc:sldLayoutMkLst>
            <pc:docMk/>
            <pc:sldMasterMk cId="2162003807" sldId="2147483755"/>
            <pc:sldLayoutMk cId="4133569810" sldId="2147483808"/>
          </pc:sldLayoutMkLst>
        </pc:sldLayoutChg>
      </pc:sldMasterChg>
    </pc:docChg>
  </pc:docChgLst>
  <pc:docChgLst>
    <pc:chgData name="内山 裕弥" userId="8d34b9d0-ec49-418d-b1de-019cf6b56da5" providerId="ADAL" clId="{7B790B98-B604-4FBA-AA36-FB769611BBDF}"/>
    <pc:docChg chg="undo custSel addSld modSld">
      <pc:chgData name="内山 裕弥" userId="8d34b9d0-ec49-418d-b1de-019cf6b56da5" providerId="ADAL" clId="{7B790B98-B604-4FBA-AA36-FB769611BBDF}" dt="2025-02-10T03:00:28.597" v="81"/>
      <pc:docMkLst>
        <pc:docMk/>
      </pc:docMkLst>
      <pc:sldChg chg="modSp add mod addCm delCm">
        <pc:chgData name="内山 裕弥" userId="8d34b9d0-ec49-418d-b1de-019cf6b56da5" providerId="ADAL" clId="{7B790B98-B604-4FBA-AA36-FB769611BBDF}" dt="2025-02-10T02:59:30.935" v="58"/>
        <pc:sldMkLst>
          <pc:docMk/>
          <pc:sldMk cId="1575785639" sldId="2147378716"/>
        </pc:sldMkLst>
        <pc:spChg chg="mod">
          <ac:chgData name="内山 裕弥" userId="8d34b9d0-ec49-418d-b1de-019cf6b56da5" providerId="ADAL" clId="{7B790B98-B604-4FBA-AA36-FB769611BBDF}" dt="2025-02-10T02:58:34.253" v="23"/>
          <ac:spMkLst>
            <pc:docMk/>
            <pc:sldMk cId="1575785639" sldId="2147378716"/>
            <ac:spMk id="2" creationId="{CBF10691-58CC-75D5-EA23-B36D933D90D3}"/>
          </ac:spMkLst>
        </pc:spChg>
        <pc:spChg chg="mod">
          <ac:chgData name="内山 裕弥" userId="8d34b9d0-ec49-418d-b1de-019cf6b56da5" providerId="ADAL" clId="{7B790B98-B604-4FBA-AA36-FB769611BBDF}" dt="2025-02-10T02:59:01.170" v="56" actId="20577"/>
          <ac:spMkLst>
            <pc:docMk/>
            <pc:sldMk cId="1575785639" sldId="2147378716"/>
            <ac:spMk id="9" creationId="{F7DA7227-3724-60C8-1F06-5A8A2F4AF1F8}"/>
          </ac:spMkLst>
        </pc:spChg>
        <pc:extLst>
          <p:ext xmlns:p="http://schemas.openxmlformats.org/presentationml/2006/main" uri="{D6D511B9-2390-475A-947B-AFAB55BFBCF1}">
            <pc226:cmChg xmlns:pc226="http://schemas.microsoft.com/office/powerpoint/2022/06/main/command" chg="del">
              <pc226:chgData name="内山 裕弥" userId="8d34b9d0-ec49-418d-b1de-019cf6b56da5" providerId="ADAL" clId="{7B790B98-B604-4FBA-AA36-FB769611BBDF}" dt="2025-02-10T02:59:26.105" v="57"/>
              <pc2:cmMkLst xmlns:pc2="http://schemas.microsoft.com/office/powerpoint/2019/9/main/command">
                <pc:docMk/>
                <pc:sldMk cId="1575785639" sldId="2147378716"/>
                <pc2:cmMk id="{18AF660C-E2CB-42B4-9158-55D9ED8208B7}"/>
              </pc2:cmMkLst>
            </pc226:cmChg>
            <pc226:cmChg xmlns:pc226="http://schemas.microsoft.com/office/powerpoint/2022/06/main/command" chg="add">
              <pc226:chgData name="内山 裕弥" userId="8d34b9d0-ec49-418d-b1de-019cf6b56da5" providerId="ADAL" clId="{7B790B98-B604-4FBA-AA36-FB769611BBDF}" dt="2025-02-10T02:59:30.935" v="58"/>
              <pc2:cmMkLst xmlns:pc2="http://schemas.microsoft.com/office/powerpoint/2019/9/main/command">
                <pc:docMk/>
                <pc:sldMk cId="1575785639" sldId="2147378716"/>
                <pc2:cmMk id="{AE290A45-5629-4926-8A9B-FC4444F0FB6E}"/>
              </pc2:cmMkLst>
            </pc226:cmChg>
          </p:ext>
        </pc:extLst>
      </pc:sldChg>
      <pc:sldChg chg="addSp delSp modSp mod">
        <pc:chgData name="内山 裕弥" userId="8d34b9d0-ec49-418d-b1de-019cf6b56da5" providerId="ADAL" clId="{7B790B98-B604-4FBA-AA36-FB769611BBDF}" dt="2025-02-10T02:50:32.871" v="1"/>
        <pc:sldMkLst>
          <pc:docMk/>
          <pc:sldMk cId="2433251148" sldId="2147378730"/>
        </pc:sldMkLst>
        <pc:spChg chg="add mod">
          <ac:chgData name="内山 裕弥" userId="8d34b9d0-ec49-418d-b1de-019cf6b56da5" providerId="ADAL" clId="{7B790B98-B604-4FBA-AA36-FB769611BBDF}" dt="2025-02-10T02:50:32.871" v="1"/>
          <ac:spMkLst>
            <pc:docMk/>
            <pc:sldMk cId="2433251148" sldId="2147378730"/>
            <ac:spMk id="3" creationId="{F6033436-1A1C-DBF8-0910-95FF2B952759}"/>
          </ac:spMkLst>
        </pc:spChg>
        <pc:spChg chg="add mod">
          <ac:chgData name="内山 裕弥" userId="8d34b9d0-ec49-418d-b1de-019cf6b56da5" providerId="ADAL" clId="{7B790B98-B604-4FBA-AA36-FB769611BBDF}" dt="2025-02-10T02:50:32.871" v="1"/>
          <ac:spMkLst>
            <pc:docMk/>
            <pc:sldMk cId="2433251148" sldId="2147378730"/>
            <ac:spMk id="4" creationId="{2691A2D0-EAF8-CAF1-C79E-56B5117658DB}"/>
          </ac:spMkLst>
        </pc:spChg>
        <pc:spChg chg="del">
          <ac:chgData name="内山 裕弥" userId="8d34b9d0-ec49-418d-b1de-019cf6b56da5" providerId="ADAL" clId="{7B790B98-B604-4FBA-AA36-FB769611BBDF}" dt="2025-02-10T02:50:32.616" v="0" actId="478"/>
          <ac:spMkLst>
            <pc:docMk/>
            <pc:sldMk cId="2433251148" sldId="2147378730"/>
            <ac:spMk id="35" creationId="{031691BD-8701-682B-2568-3E02BCFA60E2}"/>
          </ac:spMkLst>
        </pc:spChg>
        <pc:spChg chg="del">
          <ac:chgData name="内山 裕弥" userId="8d34b9d0-ec49-418d-b1de-019cf6b56da5" providerId="ADAL" clId="{7B790B98-B604-4FBA-AA36-FB769611BBDF}" dt="2025-02-10T02:50:32.616" v="0" actId="478"/>
          <ac:spMkLst>
            <pc:docMk/>
            <pc:sldMk cId="2433251148" sldId="2147378730"/>
            <ac:spMk id="36" creationId="{7EE4361D-BD43-605B-F877-5947AB823C05}"/>
          </ac:spMkLst>
        </pc:spChg>
      </pc:sldChg>
      <pc:sldChg chg="addCm">
        <pc:chgData name="内山 裕弥" userId="8d34b9d0-ec49-418d-b1de-019cf6b56da5" providerId="ADAL" clId="{7B790B98-B604-4FBA-AA36-FB769611BBDF}" dt="2025-02-10T02:54:45.537" v="11"/>
        <pc:sldMkLst>
          <pc:docMk/>
          <pc:sldMk cId="165971776" sldId="2147378740"/>
        </pc:sldMkLst>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7B790B98-B604-4FBA-AA36-FB769611BBDF}" dt="2025-02-10T02:54:45.537" v="11"/>
              <pc2:cmMkLst xmlns:pc2="http://schemas.microsoft.com/office/powerpoint/2019/9/main/command">
                <pc:docMk/>
                <pc:sldMk cId="165971776" sldId="2147378740"/>
                <pc2:cmMk id="{49158834-FEED-43E0-AD38-97CB3590B0E9}"/>
              </pc2:cmMkLst>
            </pc226:cmChg>
          </p:ext>
        </pc:extLst>
      </pc:sldChg>
      <pc:sldChg chg="addSp delSp modSp mod">
        <pc:chgData name="内山 裕弥" userId="8d34b9d0-ec49-418d-b1de-019cf6b56da5" providerId="ADAL" clId="{7B790B98-B604-4FBA-AA36-FB769611BBDF}" dt="2025-02-10T02:57:26.383" v="20" actId="166"/>
        <pc:sldMkLst>
          <pc:docMk/>
          <pc:sldMk cId="2929259541" sldId="2147378749"/>
        </pc:sldMkLst>
        <pc:spChg chg="add del">
          <ac:chgData name="内山 裕弥" userId="8d34b9d0-ec49-418d-b1de-019cf6b56da5" providerId="ADAL" clId="{7B790B98-B604-4FBA-AA36-FB769611BBDF}" dt="2025-02-10T02:56:25.386" v="13" actId="22"/>
          <ac:spMkLst>
            <pc:docMk/>
            <pc:sldMk cId="2929259541" sldId="2147378749"/>
            <ac:spMk id="6" creationId="{A3434E16-7DB0-8276-CAFC-5401558DAC91}"/>
          </ac:spMkLst>
        </pc:spChg>
        <pc:spChg chg="ord">
          <ac:chgData name="内山 裕弥" userId="8d34b9d0-ec49-418d-b1de-019cf6b56da5" providerId="ADAL" clId="{7B790B98-B604-4FBA-AA36-FB769611BBDF}" dt="2025-02-10T02:57:26.383" v="20" actId="166"/>
          <ac:spMkLst>
            <pc:docMk/>
            <pc:sldMk cId="2929259541" sldId="2147378749"/>
            <ac:spMk id="7" creationId="{4CC34C06-2770-D52E-887C-60A7718811AC}"/>
          </ac:spMkLst>
        </pc:spChg>
        <pc:spChg chg="add mod">
          <ac:chgData name="内山 裕弥" userId="8d34b9d0-ec49-418d-b1de-019cf6b56da5" providerId="ADAL" clId="{7B790B98-B604-4FBA-AA36-FB769611BBDF}" dt="2025-02-10T02:57:16.734" v="19" actId="1076"/>
          <ac:spMkLst>
            <pc:docMk/>
            <pc:sldMk cId="2929259541" sldId="2147378749"/>
            <ac:spMk id="11" creationId="{9EC54F8B-8A9F-D951-DF42-C29AA646BAF3}"/>
          </ac:spMkLst>
        </pc:spChg>
        <pc:spChg chg="ord">
          <ac:chgData name="内山 裕弥" userId="8d34b9d0-ec49-418d-b1de-019cf6b56da5" providerId="ADAL" clId="{7B790B98-B604-4FBA-AA36-FB769611BBDF}" dt="2025-02-10T02:57:26.383" v="20" actId="166"/>
          <ac:spMkLst>
            <pc:docMk/>
            <pc:sldMk cId="2929259541" sldId="2147378749"/>
            <ac:spMk id="13" creationId="{B43B6931-1CB3-5574-1F6D-B4058353AD33}"/>
          </ac:spMkLst>
        </pc:spChg>
        <pc:spChg chg="add mod">
          <ac:chgData name="内山 裕弥" userId="8d34b9d0-ec49-418d-b1de-019cf6b56da5" providerId="ADAL" clId="{7B790B98-B604-4FBA-AA36-FB769611BBDF}" dt="2025-02-10T02:57:16.734" v="19" actId="1076"/>
          <ac:spMkLst>
            <pc:docMk/>
            <pc:sldMk cId="2929259541" sldId="2147378749"/>
            <ac:spMk id="16" creationId="{8774A74C-23F7-F58E-1931-5CBF84622989}"/>
          </ac:spMkLst>
        </pc:spChg>
        <pc:spChg chg="ord">
          <ac:chgData name="内山 裕弥" userId="8d34b9d0-ec49-418d-b1de-019cf6b56da5" providerId="ADAL" clId="{7B790B98-B604-4FBA-AA36-FB769611BBDF}" dt="2025-02-10T02:57:05.275" v="16" actId="166"/>
          <ac:spMkLst>
            <pc:docMk/>
            <pc:sldMk cId="2929259541" sldId="2147378749"/>
            <ac:spMk id="17" creationId="{159BE264-9942-E766-987F-6CA378A61798}"/>
          </ac:spMkLst>
        </pc:spChg>
        <pc:spChg chg="add del mod">
          <ac:chgData name="内山 裕弥" userId="8d34b9d0-ec49-418d-b1de-019cf6b56da5" providerId="ADAL" clId="{7B790B98-B604-4FBA-AA36-FB769611BBDF}" dt="2025-02-10T02:57:00.652" v="15" actId="21"/>
          <ac:spMkLst>
            <pc:docMk/>
            <pc:sldMk cId="2929259541" sldId="2147378749"/>
            <ac:spMk id="20" creationId="{03E5B4C9-8D2E-8108-CEA5-8226ABF68C70}"/>
          </ac:spMkLst>
        </pc:spChg>
        <pc:spChg chg="add del mod">
          <ac:chgData name="内山 裕弥" userId="8d34b9d0-ec49-418d-b1de-019cf6b56da5" providerId="ADAL" clId="{7B790B98-B604-4FBA-AA36-FB769611BBDF}" dt="2025-02-10T02:57:00.652" v="15" actId="21"/>
          <ac:spMkLst>
            <pc:docMk/>
            <pc:sldMk cId="2929259541" sldId="2147378749"/>
            <ac:spMk id="21" creationId="{25B1E100-0AC4-5DAF-40C5-F6AA05CF6EFD}"/>
          </ac:spMkLst>
        </pc:spChg>
        <pc:cxnChg chg="add del mod">
          <ac:chgData name="内山 裕弥" userId="8d34b9d0-ec49-418d-b1de-019cf6b56da5" providerId="ADAL" clId="{7B790B98-B604-4FBA-AA36-FB769611BBDF}" dt="2025-02-10T02:57:10.447" v="17" actId="21"/>
          <ac:cxnSpMkLst>
            <pc:docMk/>
            <pc:sldMk cId="2929259541" sldId="2147378749"/>
            <ac:cxnSpMk id="8" creationId="{759F85AC-C045-FDD5-FC0A-15520BB641FE}"/>
          </ac:cxnSpMkLst>
        </pc:cxnChg>
        <pc:cxnChg chg="del">
          <ac:chgData name="内山 裕弥" userId="8d34b9d0-ec49-418d-b1de-019cf6b56da5" providerId="ADAL" clId="{7B790B98-B604-4FBA-AA36-FB769611BBDF}" dt="2025-02-10T02:57:11.821" v="18" actId="21"/>
          <ac:cxnSpMkLst>
            <pc:docMk/>
            <pc:sldMk cId="2929259541" sldId="2147378749"/>
            <ac:cxnSpMk id="12" creationId="{36894EAB-405F-0998-1890-37C962DD7CF6}"/>
          </ac:cxnSpMkLst>
        </pc:cxnChg>
        <pc:cxnChg chg="ord">
          <ac:chgData name="内山 裕弥" userId="8d34b9d0-ec49-418d-b1de-019cf6b56da5" providerId="ADAL" clId="{7B790B98-B604-4FBA-AA36-FB769611BBDF}" dt="2025-02-10T02:57:26.383" v="20" actId="166"/>
          <ac:cxnSpMkLst>
            <pc:docMk/>
            <pc:sldMk cId="2929259541" sldId="2147378749"/>
            <ac:cxnSpMk id="14" creationId="{3AA73118-94F8-70C1-35F7-26CD5AF7F242}"/>
          </ac:cxnSpMkLst>
        </pc:cxnChg>
        <pc:cxnChg chg="add mod">
          <ac:chgData name="内山 裕弥" userId="8d34b9d0-ec49-418d-b1de-019cf6b56da5" providerId="ADAL" clId="{7B790B98-B604-4FBA-AA36-FB769611BBDF}" dt="2025-02-10T02:57:16.734" v="19" actId="1076"/>
          <ac:cxnSpMkLst>
            <pc:docMk/>
            <pc:sldMk cId="2929259541" sldId="2147378749"/>
            <ac:cxnSpMk id="18" creationId="{FCE67E6F-35AF-BA3A-78B3-4E82620C7DE1}"/>
          </ac:cxnSpMkLst>
        </pc:cxnChg>
        <pc:cxnChg chg="add mod ord">
          <ac:chgData name="内山 裕弥" userId="8d34b9d0-ec49-418d-b1de-019cf6b56da5" providerId="ADAL" clId="{7B790B98-B604-4FBA-AA36-FB769611BBDF}" dt="2025-02-10T02:57:26.383" v="20" actId="166"/>
          <ac:cxnSpMkLst>
            <pc:docMk/>
            <pc:sldMk cId="2929259541" sldId="2147378749"/>
            <ac:cxnSpMk id="22" creationId="{60A8A2C6-4E41-CBE6-4C89-599A8EF8C265}"/>
          </ac:cxnSpMkLst>
        </pc:cxnChg>
      </pc:sldChg>
      <pc:sldChg chg="addSp delSp modSp mod">
        <pc:chgData name="内山 裕弥" userId="8d34b9d0-ec49-418d-b1de-019cf6b56da5" providerId="ADAL" clId="{7B790B98-B604-4FBA-AA36-FB769611BBDF}" dt="2025-02-10T02:51:04.475" v="3"/>
        <pc:sldMkLst>
          <pc:docMk/>
          <pc:sldMk cId="1436977306" sldId="2147378771"/>
        </pc:sldMkLst>
        <pc:spChg chg="add mod">
          <ac:chgData name="内山 裕弥" userId="8d34b9d0-ec49-418d-b1de-019cf6b56da5" providerId="ADAL" clId="{7B790B98-B604-4FBA-AA36-FB769611BBDF}" dt="2025-02-10T02:51:04.475" v="3"/>
          <ac:spMkLst>
            <pc:docMk/>
            <pc:sldMk cId="1436977306" sldId="2147378771"/>
            <ac:spMk id="3" creationId="{9D14AEDA-AD98-3C0D-2CFE-0ED85791A5AA}"/>
          </ac:spMkLst>
        </pc:spChg>
        <pc:spChg chg="add mod">
          <ac:chgData name="内山 裕弥" userId="8d34b9d0-ec49-418d-b1de-019cf6b56da5" providerId="ADAL" clId="{7B790B98-B604-4FBA-AA36-FB769611BBDF}" dt="2025-02-10T02:51:04.475" v="3"/>
          <ac:spMkLst>
            <pc:docMk/>
            <pc:sldMk cId="1436977306" sldId="2147378771"/>
            <ac:spMk id="4" creationId="{A7087E86-D5E0-8D3D-0F18-BAB3249C6B71}"/>
          </ac:spMkLst>
        </pc:spChg>
        <pc:spChg chg="del">
          <ac:chgData name="内山 裕弥" userId="8d34b9d0-ec49-418d-b1de-019cf6b56da5" providerId="ADAL" clId="{7B790B98-B604-4FBA-AA36-FB769611BBDF}" dt="2025-02-10T02:51:04.227" v="2" actId="478"/>
          <ac:spMkLst>
            <pc:docMk/>
            <pc:sldMk cId="1436977306" sldId="2147378771"/>
            <ac:spMk id="35" creationId="{031691BD-8701-682B-2568-3E02BCFA60E2}"/>
          </ac:spMkLst>
        </pc:spChg>
        <pc:spChg chg="del">
          <ac:chgData name="内山 裕弥" userId="8d34b9d0-ec49-418d-b1de-019cf6b56da5" providerId="ADAL" clId="{7B790B98-B604-4FBA-AA36-FB769611BBDF}" dt="2025-02-10T02:51:04.227" v="2" actId="478"/>
          <ac:spMkLst>
            <pc:docMk/>
            <pc:sldMk cId="1436977306" sldId="2147378771"/>
            <ac:spMk id="36" creationId="{7EE4361D-BD43-605B-F877-5947AB823C05}"/>
          </ac:spMkLst>
        </pc:spChg>
      </pc:sldChg>
      <pc:sldChg chg="addSp delSp modSp mod">
        <pc:chgData name="内山 裕弥" userId="8d34b9d0-ec49-418d-b1de-019cf6b56da5" providerId="ADAL" clId="{7B790B98-B604-4FBA-AA36-FB769611BBDF}" dt="2025-02-10T02:54:30.412" v="10" actId="1035"/>
        <pc:sldMkLst>
          <pc:docMk/>
          <pc:sldMk cId="3808814701" sldId="2147378772"/>
        </pc:sldMkLst>
        <pc:spChg chg="add mod">
          <ac:chgData name="内山 裕弥" userId="8d34b9d0-ec49-418d-b1de-019cf6b56da5" providerId="ADAL" clId="{7B790B98-B604-4FBA-AA36-FB769611BBDF}" dt="2025-02-10T02:54:30.412" v="10" actId="1035"/>
          <ac:spMkLst>
            <pc:docMk/>
            <pc:sldMk cId="3808814701" sldId="2147378772"/>
            <ac:spMk id="6" creationId="{DE785576-7F7B-C0B7-D8B8-9D392544BFD6}"/>
          </ac:spMkLst>
        </pc:spChg>
        <pc:spChg chg="add mod">
          <ac:chgData name="内山 裕弥" userId="8d34b9d0-ec49-418d-b1de-019cf6b56da5" providerId="ADAL" clId="{7B790B98-B604-4FBA-AA36-FB769611BBDF}" dt="2025-02-10T02:54:30.412" v="10" actId="1035"/>
          <ac:spMkLst>
            <pc:docMk/>
            <pc:sldMk cId="3808814701" sldId="2147378772"/>
            <ac:spMk id="7" creationId="{1B658AD7-85EF-8AF7-6F13-49C07F7732DB}"/>
          </ac:spMkLst>
        </pc:spChg>
        <pc:spChg chg="del">
          <ac:chgData name="内山 裕弥" userId="8d34b9d0-ec49-418d-b1de-019cf6b56da5" providerId="ADAL" clId="{7B790B98-B604-4FBA-AA36-FB769611BBDF}" dt="2025-02-10T02:51:16.768" v="5" actId="478"/>
          <ac:spMkLst>
            <pc:docMk/>
            <pc:sldMk cId="3808814701" sldId="2147378772"/>
            <ac:spMk id="35" creationId="{031691BD-8701-682B-2568-3E02BCFA60E2}"/>
          </ac:spMkLst>
        </pc:spChg>
        <pc:spChg chg="del">
          <ac:chgData name="内山 裕弥" userId="8d34b9d0-ec49-418d-b1de-019cf6b56da5" providerId="ADAL" clId="{7B790B98-B604-4FBA-AA36-FB769611BBDF}" dt="2025-02-10T02:51:16.768" v="5" actId="478"/>
          <ac:spMkLst>
            <pc:docMk/>
            <pc:sldMk cId="3808814701" sldId="2147378772"/>
            <ac:spMk id="36" creationId="{7EE4361D-BD43-605B-F877-5947AB823C05}"/>
          </ac:spMkLst>
        </pc:spChg>
        <pc:graphicFrameChg chg="ord">
          <ac:chgData name="内山 裕弥" userId="8d34b9d0-ec49-418d-b1de-019cf6b56da5" providerId="ADAL" clId="{7B790B98-B604-4FBA-AA36-FB769611BBDF}" dt="2025-02-10T02:51:14.382" v="4" actId="167"/>
          <ac:graphicFrameMkLst>
            <pc:docMk/>
            <pc:sldMk cId="3808814701" sldId="2147378772"/>
            <ac:graphicFrameMk id="4" creationId="{E6B03505-EDB8-244C-E39B-4DFF4A9A0927}"/>
          </ac:graphicFrameMkLst>
        </pc:graphicFrameChg>
      </pc:sldChg>
      <pc:sldChg chg="modSp mod">
        <pc:chgData name="内山 裕弥" userId="8d34b9d0-ec49-418d-b1de-019cf6b56da5" providerId="ADAL" clId="{7B790B98-B604-4FBA-AA36-FB769611BBDF}" dt="2025-02-10T02:58:16.492" v="21"/>
        <pc:sldMkLst>
          <pc:docMk/>
          <pc:sldMk cId="1667285715" sldId="2147483300"/>
        </pc:sldMkLst>
        <pc:spChg chg="mod">
          <ac:chgData name="内山 裕弥" userId="8d34b9d0-ec49-418d-b1de-019cf6b56da5" providerId="ADAL" clId="{7B790B98-B604-4FBA-AA36-FB769611BBDF}" dt="2025-02-10T02:58:16.492" v="21"/>
          <ac:spMkLst>
            <pc:docMk/>
            <pc:sldMk cId="1667285715" sldId="2147483300"/>
            <ac:spMk id="4" creationId="{2D0F773D-7F31-6F9D-4700-F8F75C3164F8}"/>
          </ac:spMkLst>
        </pc:spChg>
      </pc:sldChg>
      <pc:sldChg chg="modSp mod addCm">
        <pc:chgData name="内山 裕弥" userId="8d34b9d0-ec49-418d-b1de-019cf6b56da5" providerId="ADAL" clId="{7B790B98-B604-4FBA-AA36-FB769611BBDF}" dt="2025-02-10T02:59:45.552" v="63"/>
        <pc:sldMkLst>
          <pc:docMk/>
          <pc:sldMk cId="4070170115" sldId="2147483301"/>
        </pc:sldMkLst>
        <pc:spChg chg="mod">
          <ac:chgData name="内山 裕弥" userId="8d34b9d0-ec49-418d-b1de-019cf6b56da5" providerId="ADAL" clId="{7B790B98-B604-4FBA-AA36-FB769611BBDF}" dt="2025-02-10T02:59:40.595" v="62"/>
          <ac:spMkLst>
            <pc:docMk/>
            <pc:sldMk cId="4070170115" sldId="2147483301"/>
            <ac:spMk id="9" creationId="{D22A0A06-D5A8-4A1A-B66F-2A8EDBD644F1}"/>
          </ac:spMkLst>
        </pc:sp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7B790B98-B604-4FBA-AA36-FB769611BBDF}" dt="2025-02-10T02:59:45.552" v="63"/>
              <pc2:cmMkLst xmlns:pc2="http://schemas.microsoft.com/office/powerpoint/2019/9/main/command">
                <pc:docMk/>
                <pc:sldMk cId="4070170115" sldId="2147483301"/>
                <pc2:cmMk id="{976C82F0-2B9A-44E5-AB96-82E5B4320C75}"/>
              </pc2:cmMkLst>
            </pc226:cmChg>
          </p:ext>
        </pc:extLst>
      </pc:sldChg>
      <pc:sldChg chg="modSp mod">
        <pc:chgData name="内山 裕弥" userId="8d34b9d0-ec49-418d-b1de-019cf6b56da5" providerId="ADAL" clId="{7B790B98-B604-4FBA-AA36-FB769611BBDF}" dt="2025-02-10T03:00:10.489" v="67"/>
        <pc:sldMkLst>
          <pc:docMk/>
          <pc:sldMk cId="941489346" sldId="2147483302"/>
        </pc:sldMkLst>
        <pc:spChg chg="mod">
          <ac:chgData name="内山 裕弥" userId="8d34b9d0-ec49-418d-b1de-019cf6b56da5" providerId="ADAL" clId="{7B790B98-B604-4FBA-AA36-FB769611BBDF}" dt="2025-02-10T03:00:10.489" v="67"/>
          <ac:spMkLst>
            <pc:docMk/>
            <pc:sldMk cId="941489346" sldId="2147483302"/>
            <ac:spMk id="9" creationId="{D22A0A06-D5A8-4A1A-B66F-2A8EDBD644F1}"/>
          </ac:spMkLst>
        </pc:spChg>
      </pc:sldChg>
      <pc:sldChg chg="modSp mod">
        <pc:chgData name="内山 裕弥" userId="8d34b9d0-ec49-418d-b1de-019cf6b56da5" providerId="ADAL" clId="{7B790B98-B604-4FBA-AA36-FB769611BBDF}" dt="2025-02-10T03:00:16.054" v="71"/>
        <pc:sldMkLst>
          <pc:docMk/>
          <pc:sldMk cId="3407569653" sldId="2147483303"/>
        </pc:sldMkLst>
        <pc:spChg chg="mod">
          <ac:chgData name="内山 裕弥" userId="8d34b9d0-ec49-418d-b1de-019cf6b56da5" providerId="ADAL" clId="{7B790B98-B604-4FBA-AA36-FB769611BBDF}" dt="2025-02-10T03:00:16.054" v="71"/>
          <ac:spMkLst>
            <pc:docMk/>
            <pc:sldMk cId="3407569653" sldId="2147483303"/>
            <ac:spMk id="4" creationId="{4F1B8C31-A2AA-E8B5-6842-B8CA68666E37}"/>
          </ac:spMkLst>
        </pc:spChg>
      </pc:sldChg>
      <pc:sldChg chg="modSp mod">
        <pc:chgData name="内山 裕弥" userId="8d34b9d0-ec49-418d-b1de-019cf6b56da5" providerId="ADAL" clId="{7B790B98-B604-4FBA-AA36-FB769611BBDF}" dt="2025-02-10T03:00:20.796" v="76"/>
        <pc:sldMkLst>
          <pc:docMk/>
          <pc:sldMk cId="1376256369" sldId="2147483304"/>
        </pc:sldMkLst>
        <pc:spChg chg="mod">
          <ac:chgData name="内山 裕弥" userId="8d34b9d0-ec49-418d-b1de-019cf6b56da5" providerId="ADAL" clId="{7B790B98-B604-4FBA-AA36-FB769611BBDF}" dt="2025-02-10T03:00:20.796" v="76"/>
          <ac:spMkLst>
            <pc:docMk/>
            <pc:sldMk cId="1376256369" sldId="2147483304"/>
            <ac:spMk id="4" creationId="{4F1B8C31-A2AA-E8B5-6842-B8CA68666E37}"/>
          </ac:spMkLst>
        </pc:spChg>
      </pc:sldChg>
      <pc:sldChg chg="modSp mod">
        <pc:chgData name="内山 裕弥" userId="8d34b9d0-ec49-418d-b1de-019cf6b56da5" providerId="ADAL" clId="{7B790B98-B604-4FBA-AA36-FB769611BBDF}" dt="2025-02-10T03:00:28.597" v="81"/>
        <pc:sldMkLst>
          <pc:docMk/>
          <pc:sldMk cId="2188300909" sldId="2147483305"/>
        </pc:sldMkLst>
        <pc:spChg chg="mod">
          <ac:chgData name="内山 裕弥" userId="8d34b9d0-ec49-418d-b1de-019cf6b56da5" providerId="ADAL" clId="{7B790B98-B604-4FBA-AA36-FB769611BBDF}" dt="2025-02-10T03:00:28.597" v="81"/>
          <ac:spMkLst>
            <pc:docMk/>
            <pc:sldMk cId="2188300909" sldId="2147483305"/>
            <ac:spMk id="4" creationId="{2C3BBDD6-C18E-A8D5-D35C-ABB97297C5DD}"/>
          </ac:spMkLst>
        </pc:spChg>
      </pc:sldChg>
    </pc:docChg>
  </pc:docChgLst>
  <pc:docChgLst>
    <pc:chgData name="神谷 聖二" userId="S::seiji.kamiya@tk.pacific.co.jp::517b2053-71b1-4492-bbd9-c8e4b39141e4" providerId="AD" clId="Web-{A02C984D-0D1C-ED7B-E875-D996E51A1E0C}"/>
    <pc:docChg chg="modSld">
      <pc:chgData name="神谷 聖二" userId="S::seiji.kamiya@tk.pacific.co.jp::517b2053-71b1-4492-bbd9-c8e4b39141e4" providerId="AD" clId="Web-{A02C984D-0D1C-ED7B-E875-D996E51A1E0C}" dt="2024-07-12T07:41:05.158" v="1" actId="14100"/>
      <pc:docMkLst>
        <pc:docMk/>
      </pc:docMkLst>
      <pc:sldChg chg="modSp">
        <pc:chgData name="神谷 聖二" userId="S::seiji.kamiya@tk.pacific.co.jp::517b2053-71b1-4492-bbd9-c8e4b39141e4" providerId="AD" clId="Web-{A02C984D-0D1C-ED7B-E875-D996E51A1E0C}" dt="2024-07-12T07:39:58.671" v="0" actId="14100"/>
        <pc:sldMkLst>
          <pc:docMk/>
          <pc:sldMk cId="355750652" sldId="2147378708"/>
        </pc:sldMkLst>
        <pc:spChg chg="mod">
          <ac:chgData name="神谷 聖二" userId="S::seiji.kamiya@tk.pacific.co.jp::517b2053-71b1-4492-bbd9-c8e4b39141e4" providerId="AD" clId="Web-{A02C984D-0D1C-ED7B-E875-D996E51A1E0C}" dt="2024-07-12T07:39:58.671" v="0" actId="14100"/>
          <ac:spMkLst>
            <pc:docMk/>
            <pc:sldMk cId="355750652" sldId="2147378708"/>
            <ac:spMk id="6" creationId="{A8716A6B-6EAA-4A8E-9F4B-40B17BD58816}"/>
          </ac:spMkLst>
        </pc:spChg>
      </pc:sldChg>
      <pc:sldChg chg="modSp">
        <pc:chgData name="神谷 聖二" userId="S::seiji.kamiya@tk.pacific.co.jp::517b2053-71b1-4492-bbd9-c8e4b39141e4" providerId="AD" clId="Web-{A02C984D-0D1C-ED7B-E875-D996E51A1E0C}" dt="2024-07-12T07:41:05.158" v="1" actId="14100"/>
        <pc:sldMkLst>
          <pc:docMk/>
          <pc:sldMk cId="3497080636" sldId="2147378710"/>
        </pc:sldMkLst>
        <pc:picChg chg="mod">
          <ac:chgData name="神谷 聖二" userId="S::seiji.kamiya@tk.pacific.co.jp::517b2053-71b1-4492-bbd9-c8e4b39141e4" providerId="AD" clId="Web-{A02C984D-0D1C-ED7B-E875-D996E51A1E0C}" dt="2024-07-12T07:41:05.158" v="1" actId="14100"/>
          <ac:picMkLst>
            <pc:docMk/>
            <pc:sldMk cId="3497080636" sldId="2147378710"/>
            <ac:picMk id="9" creationId="{E49B5309-848C-8288-7894-63BF86CA0951}"/>
          </ac:picMkLst>
        </pc:picChg>
      </pc:sldChg>
    </pc:docChg>
  </pc:docChgLst>
  <pc:docChgLst>
    <pc:chgData name="森田 光貴" userId="314cf0e2-2175-4948-8a4a-96924aa0786a" providerId="ADAL" clId="{54D8577C-5196-4E3B-AC07-5AAB674B8325}"/>
    <pc:docChg chg="undo redo custSel addSld delSld modSld sldOrd modSection">
      <pc:chgData name="森田 光貴" userId="314cf0e2-2175-4948-8a4a-96924aa0786a" providerId="ADAL" clId="{54D8577C-5196-4E3B-AC07-5AAB674B8325}" dt="2025-02-07T12:38:27.992" v="8265"/>
      <pc:docMkLst>
        <pc:docMk/>
      </pc:docMkLst>
      <pc:sldChg chg="addSp modSp mod">
        <pc:chgData name="森田 光貴" userId="314cf0e2-2175-4948-8a4a-96924aa0786a" providerId="ADAL" clId="{54D8577C-5196-4E3B-AC07-5AAB674B8325}" dt="2025-02-07T03:36:43.199" v="5499" actId="1076"/>
        <pc:sldMkLst>
          <pc:docMk/>
          <pc:sldMk cId="2355786622" sldId="2146847413"/>
        </pc:sldMkLst>
        <pc:spChg chg="add mod">
          <ac:chgData name="森田 光貴" userId="314cf0e2-2175-4948-8a4a-96924aa0786a" providerId="ADAL" clId="{54D8577C-5196-4E3B-AC07-5AAB674B8325}" dt="2025-02-07T03:36:33.591" v="5497"/>
          <ac:spMkLst>
            <pc:docMk/>
            <pc:sldMk cId="2355786622" sldId="2146847413"/>
            <ac:spMk id="4" creationId="{D1674E72-C516-BF39-3FD1-09098ED944CC}"/>
          </ac:spMkLst>
        </pc:spChg>
        <pc:spChg chg="add mod">
          <ac:chgData name="森田 光貴" userId="314cf0e2-2175-4948-8a4a-96924aa0786a" providerId="ADAL" clId="{54D8577C-5196-4E3B-AC07-5AAB674B8325}" dt="2025-02-07T03:36:43.199" v="5499" actId="1076"/>
          <ac:spMkLst>
            <pc:docMk/>
            <pc:sldMk cId="2355786622" sldId="2146847413"/>
            <ac:spMk id="7" creationId="{C23EF085-1DE8-3334-557F-6FB6ECFBC739}"/>
          </ac:spMkLst>
        </pc:spChg>
      </pc:sldChg>
      <pc:sldChg chg="modSp mod">
        <pc:chgData name="森田 光貴" userId="314cf0e2-2175-4948-8a4a-96924aa0786a" providerId="ADAL" clId="{54D8577C-5196-4E3B-AC07-5AAB674B8325}" dt="2025-02-06T17:34:51.700" v="3085" actId="1076"/>
        <pc:sldMkLst>
          <pc:docMk/>
          <pc:sldMk cId="2852443830" sldId="2147378632"/>
        </pc:sldMkLst>
        <pc:spChg chg="mod">
          <ac:chgData name="森田 光貴" userId="314cf0e2-2175-4948-8a4a-96924aa0786a" providerId="ADAL" clId="{54D8577C-5196-4E3B-AC07-5AAB674B8325}" dt="2025-02-06T17:34:51.700" v="3085" actId="1076"/>
          <ac:spMkLst>
            <pc:docMk/>
            <pc:sldMk cId="2852443830" sldId="2147378632"/>
            <ac:spMk id="11" creationId="{F3C7DC9A-525C-F63B-8EA0-A1FD3AEF7283}"/>
          </ac:spMkLst>
        </pc:spChg>
      </pc:sldChg>
      <pc:sldChg chg="modSp mod">
        <pc:chgData name="森田 光貴" userId="314cf0e2-2175-4948-8a4a-96924aa0786a" providerId="ADAL" clId="{54D8577C-5196-4E3B-AC07-5AAB674B8325}" dt="2025-02-06T13:21:51.835" v="24" actId="14100"/>
        <pc:sldMkLst>
          <pc:docMk/>
          <pc:sldMk cId="1869527861" sldId="2147378640"/>
        </pc:sldMkLst>
        <pc:spChg chg="mod">
          <ac:chgData name="森田 光貴" userId="314cf0e2-2175-4948-8a4a-96924aa0786a" providerId="ADAL" clId="{54D8577C-5196-4E3B-AC07-5AAB674B8325}" dt="2025-02-06T13:21:51.835" v="24" actId="14100"/>
          <ac:spMkLst>
            <pc:docMk/>
            <pc:sldMk cId="1869527861" sldId="2147378640"/>
            <ac:spMk id="9" creationId="{67FD600D-F712-D335-9DCD-5DDA57077E60}"/>
          </ac:spMkLst>
        </pc:spChg>
        <pc:spChg chg="mod">
          <ac:chgData name="森田 光貴" userId="314cf0e2-2175-4948-8a4a-96924aa0786a" providerId="ADAL" clId="{54D8577C-5196-4E3B-AC07-5AAB674B8325}" dt="2025-02-06T12:58:11.882" v="21" actId="9"/>
          <ac:spMkLst>
            <pc:docMk/>
            <pc:sldMk cId="1869527861" sldId="2147378640"/>
            <ac:spMk id="10" creationId="{80E6EF29-A9F8-46B2-8DDE-5092A65E485F}"/>
          </ac:spMkLst>
        </pc:spChg>
      </pc:sldChg>
      <pc:sldChg chg="addSp delSp modSp del mod">
        <pc:chgData name="森田 光貴" userId="314cf0e2-2175-4948-8a4a-96924aa0786a" providerId="ADAL" clId="{54D8577C-5196-4E3B-AC07-5AAB674B8325}" dt="2025-02-07T12:11:45.451" v="8242" actId="47"/>
        <pc:sldMkLst>
          <pc:docMk/>
          <pc:sldMk cId="1132711422" sldId="2147378657"/>
        </pc:sldMkLst>
        <pc:graphicFrameChg chg="add del mod modGraphic">
          <ac:chgData name="森田 光貴" userId="314cf0e2-2175-4948-8a4a-96924aa0786a" providerId="ADAL" clId="{54D8577C-5196-4E3B-AC07-5AAB674B8325}" dt="2025-02-07T11:35:07.767" v="7886" actId="478"/>
          <ac:graphicFrameMkLst>
            <pc:docMk/>
            <pc:sldMk cId="1132711422" sldId="2147378657"/>
            <ac:graphicFrameMk id="5" creationId="{6F20B3C2-7932-BA1D-3A4E-18BD6D75E285}"/>
          </ac:graphicFrameMkLst>
        </pc:graphicFrameChg>
        <pc:graphicFrameChg chg="add mod">
          <ac:chgData name="森田 光貴" userId="314cf0e2-2175-4948-8a4a-96924aa0786a" providerId="ADAL" clId="{54D8577C-5196-4E3B-AC07-5AAB674B8325}" dt="2025-02-07T04:13:56.027" v="6542"/>
          <ac:graphicFrameMkLst>
            <pc:docMk/>
            <pc:sldMk cId="1132711422" sldId="2147378657"/>
            <ac:graphicFrameMk id="5" creationId="{E9ACF459-428B-4901-A341-038D2659B038}"/>
          </ac:graphicFrameMkLst>
        </pc:graphicFrameChg>
        <pc:graphicFrameChg chg="mod modGraphic">
          <ac:chgData name="森田 光貴" userId="314cf0e2-2175-4948-8a4a-96924aa0786a" providerId="ADAL" clId="{54D8577C-5196-4E3B-AC07-5AAB674B8325}" dt="2025-02-07T04:14:06.696" v="6544"/>
          <ac:graphicFrameMkLst>
            <pc:docMk/>
            <pc:sldMk cId="1132711422" sldId="2147378657"/>
            <ac:graphicFrameMk id="13" creationId="{6B84DF48-8B2E-7483-E19E-A4C36C91AA03}"/>
          </ac:graphicFrameMkLst>
        </pc:graphicFrameChg>
      </pc:sldChg>
      <pc:sldChg chg="modSp mod">
        <pc:chgData name="森田 光貴" userId="314cf0e2-2175-4948-8a4a-96924aa0786a" providerId="ADAL" clId="{54D8577C-5196-4E3B-AC07-5AAB674B8325}" dt="2025-02-06T17:10:37.949" v="3082" actId="1076"/>
        <pc:sldMkLst>
          <pc:docMk/>
          <pc:sldMk cId="2708077593" sldId="2147378681"/>
        </pc:sldMkLst>
        <pc:spChg chg="mod">
          <ac:chgData name="森田 光貴" userId="314cf0e2-2175-4948-8a4a-96924aa0786a" providerId="ADAL" clId="{54D8577C-5196-4E3B-AC07-5AAB674B8325}" dt="2025-02-06T17:10:37.949" v="3082" actId="1076"/>
          <ac:spMkLst>
            <pc:docMk/>
            <pc:sldMk cId="2708077593" sldId="2147378681"/>
            <ac:spMk id="53" creationId="{600AE28E-2F7C-E1F6-5796-97DD1A8A0830}"/>
          </ac:spMkLst>
        </pc:spChg>
      </pc:sldChg>
      <pc:sldChg chg="addSp delSp modSp mod">
        <pc:chgData name="森田 光貴" userId="314cf0e2-2175-4948-8a4a-96924aa0786a" providerId="ADAL" clId="{54D8577C-5196-4E3B-AC07-5AAB674B8325}" dt="2025-02-07T00:55:02.835" v="3625" actId="1076"/>
        <pc:sldMkLst>
          <pc:docMk/>
          <pc:sldMk cId="2629355078" sldId="2147378682"/>
        </pc:sldMkLst>
        <pc:spChg chg="add mod">
          <ac:chgData name="森田 光貴" userId="314cf0e2-2175-4948-8a4a-96924aa0786a" providerId="ADAL" clId="{54D8577C-5196-4E3B-AC07-5AAB674B8325}" dt="2025-02-07T00:47:29.289" v="3434" actId="14100"/>
          <ac:spMkLst>
            <pc:docMk/>
            <pc:sldMk cId="2629355078" sldId="2147378682"/>
            <ac:spMk id="7" creationId="{92059B74-994D-07CA-F86B-836ED37BAD3F}"/>
          </ac:spMkLst>
        </pc:spChg>
        <pc:spChg chg="mod">
          <ac:chgData name="森田 光貴" userId="314cf0e2-2175-4948-8a4a-96924aa0786a" providerId="ADAL" clId="{54D8577C-5196-4E3B-AC07-5AAB674B8325}" dt="2025-02-07T00:54:54.704" v="3624"/>
          <ac:spMkLst>
            <pc:docMk/>
            <pc:sldMk cId="2629355078" sldId="2147378682"/>
            <ac:spMk id="14" creationId="{B9F3B646-3966-B82B-45E7-9F03CD875178}"/>
          </ac:spMkLst>
        </pc:spChg>
        <pc:spChg chg="del">
          <ac:chgData name="森田 光貴" userId="314cf0e2-2175-4948-8a4a-96924aa0786a" providerId="ADAL" clId="{54D8577C-5196-4E3B-AC07-5AAB674B8325}" dt="2025-02-07T00:46:01.857" v="3418" actId="478"/>
          <ac:spMkLst>
            <pc:docMk/>
            <pc:sldMk cId="2629355078" sldId="2147378682"/>
            <ac:spMk id="15" creationId="{B4B33CBB-85A1-D661-8244-BA4AC3199F2D}"/>
          </ac:spMkLst>
        </pc:spChg>
        <pc:spChg chg="add mod">
          <ac:chgData name="森田 光貴" userId="314cf0e2-2175-4948-8a4a-96924aa0786a" providerId="ADAL" clId="{54D8577C-5196-4E3B-AC07-5AAB674B8325}" dt="2025-02-07T00:55:02.835" v="3625" actId="1076"/>
          <ac:spMkLst>
            <pc:docMk/>
            <pc:sldMk cId="2629355078" sldId="2147378682"/>
            <ac:spMk id="17" creationId="{06A9795E-0AF7-9AE1-FEDA-F367EEF9D749}"/>
          </ac:spMkLst>
        </pc:spChg>
      </pc:sldChg>
      <pc:sldChg chg="addSp modSp mod">
        <pc:chgData name="森田 光貴" userId="314cf0e2-2175-4948-8a4a-96924aa0786a" providerId="ADAL" clId="{54D8577C-5196-4E3B-AC07-5AAB674B8325}" dt="2025-02-07T01:42:20.486" v="4144" actId="14100"/>
        <pc:sldMkLst>
          <pc:docMk/>
          <pc:sldMk cId="239223960" sldId="2147378686"/>
        </pc:sldMkLst>
        <pc:spChg chg="add mod">
          <ac:chgData name="森田 光貴" userId="314cf0e2-2175-4948-8a4a-96924aa0786a" providerId="ADAL" clId="{54D8577C-5196-4E3B-AC07-5AAB674B8325}" dt="2025-02-07T01:42:20.486" v="4144" actId="14100"/>
          <ac:spMkLst>
            <pc:docMk/>
            <pc:sldMk cId="239223960" sldId="2147378686"/>
            <ac:spMk id="10" creationId="{543B1571-BEDE-37BA-F555-DB23CA2FA0C5}"/>
          </ac:spMkLst>
        </pc:spChg>
      </pc:sldChg>
      <pc:sldChg chg="addSp delSp modSp mod">
        <pc:chgData name="森田 光貴" userId="314cf0e2-2175-4948-8a4a-96924aa0786a" providerId="ADAL" clId="{54D8577C-5196-4E3B-AC07-5AAB674B8325}" dt="2025-02-06T12:03:14.921" v="20" actId="1076"/>
        <pc:sldMkLst>
          <pc:docMk/>
          <pc:sldMk cId="2452595465" sldId="2147378688"/>
        </pc:sldMkLst>
        <pc:spChg chg="del">
          <ac:chgData name="森田 光貴" userId="314cf0e2-2175-4948-8a4a-96924aa0786a" providerId="ADAL" clId="{54D8577C-5196-4E3B-AC07-5AAB674B8325}" dt="2025-02-06T11:36:59.887" v="0" actId="478"/>
          <ac:spMkLst>
            <pc:docMk/>
            <pc:sldMk cId="2452595465" sldId="2147378688"/>
            <ac:spMk id="6" creationId="{ACC8D349-1EFF-0794-6A68-D89EF8F84DCB}"/>
          </ac:spMkLst>
        </pc:spChg>
        <pc:spChg chg="add mod">
          <ac:chgData name="森田 光貴" userId="314cf0e2-2175-4948-8a4a-96924aa0786a" providerId="ADAL" clId="{54D8577C-5196-4E3B-AC07-5AAB674B8325}" dt="2025-02-06T11:40:53.727" v="8" actId="1076"/>
          <ac:spMkLst>
            <pc:docMk/>
            <pc:sldMk cId="2452595465" sldId="2147378688"/>
            <ac:spMk id="7" creationId="{4CC34C06-2770-D52E-887C-60A7718811AC}"/>
          </ac:spMkLst>
        </pc:spChg>
        <pc:spChg chg="add mod">
          <ac:chgData name="森田 光貴" userId="314cf0e2-2175-4948-8a4a-96924aa0786a" providerId="ADAL" clId="{54D8577C-5196-4E3B-AC07-5AAB674B8325}" dt="2025-02-06T11:40:53.727" v="8" actId="1076"/>
          <ac:spMkLst>
            <pc:docMk/>
            <pc:sldMk cId="2452595465" sldId="2147378688"/>
            <ac:spMk id="8" creationId="{1E2378D2-462D-DC21-377B-1F2BE4C99A33}"/>
          </ac:spMkLst>
        </pc:spChg>
        <pc:spChg chg="mod">
          <ac:chgData name="森田 光貴" userId="314cf0e2-2175-4948-8a4a-96924aa0786a" providerId="ADAL" clId="{54D8577C-5196-4E3B-AC07-5AAB674B8325}" dt="2025-02-06T11:40:29.733" v="7" actId="1076"/>
          <ac:spMkLst>
            <pc:docMk/>
            <pc:sldMk cId="2452595465" sldId="2147378688"/>
            <ac:spMk id="9" creationId="{D22A0A06-D5A8-4A1A-B66F-2A8EDBD644F1}"/>
          </ac:spMkLst>
        </pc:spChg>
        <pc:spChg chg="add mod">
          <ac:chgData name="森田 光貴" userId="314cf0e2-2175-4948-8a4a-96924aa0786a" providerId="ADAL" clId="{54D8577C-5196-4E3B-AC07-5AAB674B8325}" dt="2025-02-06T11:40:53.727" v="8" actId="1076"/>
          <ac:spMkLst>
            <pc:docMk/>
            <pc:sldMk cId="2452595465" sldId="2147378688"/>
            <ac:spMk id="11" creationId="{D9546854-B4CE-1F65-2F6D-8A404DD40BB1}"/>
          </ac:spMkLst>
        </pc:spChg>
        <pc:spChg chg="add mod">
          <ac:chgData name="森田 光貴" userId="314cf0e2-2175-4948-8a4a-96924aa0786a" providerId="ADAL" clId="{54D8577C-5196-4E3B-AC07-5AAB674B8325}" dt="2025-02-06T11:40:53.727" v="8" actId="1076"/>
          <ac:spMkLst>
            <pc:docMk/>
            <pc:sldMk cId="2452595465" sldId="2147378688"/>
            <ac:spMk id="13" creationId="{B43B6931-1CB3-5574-1F6D-B4058353AD33}"/>
          </ac:spMkLst>
        </pc:spChg>
        <pc:spChg chg="add del mod">
          <ac:chgData name="森田 光貴" userId="314cf0e2-2175-4948-8a4a-96924aa0786a" providerId="ADAL" clId="{54D8577C-5196-4E3B-AC07-5AAB674B8325}" dt="2025-02-06T12:01:47.159" v="12" actId="478"/>
          <ac:spMkLst>
            <pc:docMk/>
            <pc:sldMk cId="2452595465" sldId="2147378688"/>
            <ac:spMk id="16" creationId="{0C987423-F58D-2A59-68C2-54B191C334AE}"/>
          </ac:spMkLst>
        </pc:spChg>
        <pc:spChg chg="add mod">
          <ac:chgData name="森田 光貴" userId="314cf0e2-2175-4948-8a4a-96924aa0786a" providerId="ADAL" clId="{54D8577C-5196-4E3B-AC07-5AAB674B8325}" dt="2025-02-06T12:01:56.189" v="13"/>
          <ac:spMkLst>
            <pc:docMk/>
            <pc:sldMk cId="2452595465" sldId="2147378688"/>
            <ac:spMk id="17" creationId="{159BE264-9942-E766-987F-6CA378A61798}"/>
          </ac:spMkLst>
        </pc:spChg>
        <pc:spChg chg="add mod">
          <ac:chgData name="森田 光貴" userId="314cf0e2-2175-4948-8a4a-96924aa0786a" providerId="ADAL" clId="{54D8577C-5196-4E3B-AC07-5AAB674B8325}" dt="2025-02-06T12:02:41.584" v="15"/>
          <ac:spMkLst>
            <pc:docMk/>
            <pc:sldMk cId="2452595465" sldId="2147378688"/>
            <ac:spMk id="18" creationId="{9F0F2AAC-782C-F229-FFC8-701F3C40EE9E}"/>
          </ac:spMkLst>
        </pc:spChg>
        <pc:spChg chg="add mod">
          <ac:chgData name="森田 光貴" userId="314cf0e2-2175-4948-8a4a-96924aa0786a" providerId="ADAL" clId="{54D8577C-5196-4E3B-AC07-5AAB674B8325}" dt="2025-02-06T12:02:48.977" v="17" actId="1076"/>
          <ac:spMkLst>
            <pc:docMk/>
            <pc:sldMk cId="2452595465" sldId="2147378688"/>
            <ac:spMk id="19" creationId="{F4F6AADC-220D-BFC7-4F32-89892ED6B785}"/>
          </ac:spMkLst>
        </pc:spChg>
        <pc:spChg chg="mod">
          <ac:chgData name="森田 光貴" userId="314cf0e2-2175-4948-8a4a-96924aa0786a" providerId="ADAL" clId="{54D8577C-5196-4E3B-AC07-5AAB674B8325}" dt="2025-02-06T12:03:05.605" v="18"/>
          <ac:spMkLst>
            <pc:docMk/>
            <pc:sldMk cId="2452595465" sldId="2147378688"/>
            <ac:spMk id="21" creationId="{101C9E5D-E4BD-B248-C6DE-89A38666474E}"/>
          </ac:spMkLst>
        </pc:spChg>
        <pc:spChg chg="mod">
          <ac:chgData name="森田 光貴" userId="314cf0e2-2175-4948-8a4a-96924aa0786a" providerId="ADAL" clId="{54D8577C-5196-4E3B-AC07-5AAB674B8325}" dt="2025-02-06T12:03:09.137" v="19"/>
          <ac:spMkLst>
            <pc:docMk/>
            <pc:sldMk cId="2452595465" sldId="2147378688"/>
            <ac:spMk id="24" creationId="{C05D70C8-A0E4-1745-E63B-587FB5CC9386}"/>
          </ac:spMkLst>
        </pc:spChg>
        <pc:grpChg chg="add mod">
          <ac:chgData name="森田 光貴" userId="314cf0e2-2175-4948-8a4a-96924aa0786a" providerId="ADAL" clId="{54D8577C-5196-4E3B-AC07-5AAB674B8325}" dt="2025-02-06T12:03:05.605" v="18"/>
          <ac:grpSpMkLst>
            <pc:docMk/>
            <pc:sldMk cId="2452595465" sldId="2147378688"/>
            <ac:grpSpMk id="20" creationId="{19466086-9C64-43DB-BE72-C6257123AF9B}"/>
          </ac:grpSpMkLst>
        </pc:grpChg>
        <pc:grpChg chg="add mod">
          <ac:chgData name="森田 光貴" userId="314cf0e2-2175-4948-8a4a-96924aa0786a" providerId="ADAL" clId="{54D8577C-5196-4E3B-AC07-5AAB674B8325}" dt="2025-02-06T12:03:14.921" v="20" actId="1076"/>
          <ac:grpSpMkLst>
            <pc:docMk/>
            <pc:sldMk cId="2452595465" sldId="2147378688"/>
            <ac:grpSpMk id="23" creationId="{A07996F8-B910-E0AB-D4FD-7620B6D4FD6E}"/>
          </ac:grpSpMkLst>
        </pc:grpChg>
        <pc:graphicFrameChg chg="del">
          <ac:chgData name="森田 光貴" userId="314cf0e2-2175-4948-8a4a-96924aa0786a" providerId="ADAL" clId="{54D8577C-5196-4E3B-AC07-5AAB674B8325}" dt="2025-02-06T11:40:10.976" v="5" actId="478"/>
          <ac:graphicFrameMkLst>
            <pc:docMk/>
            <pc:sldMk cId="2452595465" sldId="2147378688"/>
            <ac:graphicFrameMk id="3" creationId="{5CD75058-DF54-3019-BEEC-A9CC2112B9F4}"/>
          </ac:graphicFrameMkLst>
        </pc:graphicFrameChg>
        <pc:graphicFrameChg chg="add mod">
          <ac:chgData name="森田 光貴" userId="314cf0e2-2175-4948-8a4a-96924aa0786a" providerId="ADAL" clId="{54D8577C-5196-4E3B-AC07-5AAB674B8325}" dt="2025-02-06T12:02:37.765" v="14" actId="1076"/>
          <ac:graphicFrameMkLst>
            <pc:docMk/>
            <pc:sldMk cId="2452595465" sldId="2147378688"/>
            <ac:graphicFrameMk id="15" creationId="{6BA7322B-8E83-4959-AED5-CDCB2DC09E66}"/>
          </ac:graphicFrameMkLst>
        </pc:graphicFrameChg>
        <pc:picChg chg="add mod">
          <ac:chgData name="森田 光貴" userId="314cf0e2-2175-4948-8a4a-96924aa0786a" providerId="ADAL" clId="{54D8577C-5196-4E3B-AC07-5AAB674B8325}" dt="2025-02-06T11:40:53.727" v="8" actId="1076"/>
          <ac:picMkLst>
            <pc:docMk/>
            <pc:sldMk cId="2452595465" sldId="2147378688"/>
            <ac:picMk id="4" creationId="{45F9E099-4110-7BC2-05FA-9F23A7A33434}"/>
          </ac:picMkLst>
        </pc:picChg>
        <pc:cxnChg chg="add mod">
          <ac:chgData name="森田 光貴" userId="314cf0e2-2175-4948-8a4a-96924aa0786a" providerId="ADAL" clId="{54D8577C-5196-4E3B-AC07-5AAB674B8325}" dt="2025-02-06T11:40:53.727" v="8" actId="1076"/>
          <ac:cxnSpMkLst>
            <pc:docMk/>
            <pc:sldMk cId="2452595465" sldId="2147378688"/>
            <ac:cxnSpMk id="12" creationId="{36894EAB-405F-0998-1890-37C962DD7CF6}"/>
          </ac:cxnSpMkLst>
        </pc:cxnChg>
        <pc:cxnChg chg="add mod">
          <ac:chgData name="森田 光貴" userId="314cf0e2-2175-4948-8a4a-96924aa0786a" providerId="ADAL" clId="{54D8577C-5196-4E3B-AC07-5AAB674B8325}" dt="2025-02-06T11:40:53.727" v="8" actId="1076"/>
          <ac:cxnSpMkLst>
            <pc:docMk/>
            <pc:sldMk cId="2452595465" sldId="2147378688"/>
            <ac:cxnSpMk id="14" creationId="{3AA73118-94F8-70C1-35F7-26CD5AF7F242}"/>
          </ac:cxnSpMkLst>
        </pc:cxnChg>
        <pc:cxnChg chg="mod">
          <ac:chgData name="森田 光貴" userId="314cf0e2-2175-4948-8a4a-96924aa0786a" providerId="ADAL" clId="{54D8577C-5196-4E3B-AC07-5AAB674B8325}" dt="2025-02-06T12:03:05.605" v="18"/>
          <ac:cxnSpMkLst>
            <pc:docMk/>
            <pc:sldMk cId="2452595465" sldId="2147378688"/>
            <ac:cxnSpMk id="22" creationId="{13E14347-8BFA-CC36-4648-8400EF89E301}"/>
          </ac:cxnSpMkLst>
        </pc:cxnChg>
        <pc:cxnChg chg="mod">
          <ac:chgData name="森田 光貴" userId="314cf0e2-2175-4948-8a4a-96924aa0786a" providerId="ADAL" clId="{54D8577C-5196-4E3B-AC07-5AAB674B8325}" dt="2025-02-06T12:03:09.137" v="19"/>
          <ac:cxnSpMkLst>
            <pc:docMk/>
            <pc:sldMk cId="2452595465" sldId="2147378688"/>
            <ac:cxnSpMk id="25" creationId="{9B8C3470-E35E-E2A6-58B9-6E0188FCF49E}"/>
          </ac:cxnSpMkLst>
        </pc:cxnChg>
      </pc:sldChg>
      <pc:sldChg chg="addSp modSp mod">
        <pc:chgData name="森田 光貴" userId="314cf0e2-2175-4948-8a4a-96924aa0786a" providerId="ADAL" clId="{54D8577C-5196-4E3B-AC07-5AAB674B8325}" dt="2025-02-07T11:03:55.124" v="7560" actId="14734"/>
        <pc:sldMkLst>
          <pc:docMk/>
          <pc:sldMk cId="64176771" sldId="2147378692"/>
        </pc:sldMkLst>
        <pc:spChg chg="add mod">
          <ac:chgData name="森田 光貴" userId="314cf0e2-2175-4948-8a4a-96924aa0786a" providerId="ADAL" clId="{54D8577C-5196-4E3B-AC07-5AAB674B8325}" dt="2025-02-07T11:03:03.943" v="7557" actId="1076"/>
          <ac:spMkLst>
            <pc:docMk/>
            <pc:sldMk cId="64176771" sldId="2147378692"/>
            <ac:spMk id="6" creationId="{DF1069CE-7F5A-0645-E891-CDDA1E49F184}"/>
          </ac:spMkLst>
        </pc:spChg>
        <pc:graphicFrameChg chg="mod modGraphic">
          <ac:chgData name="森田 光貴" userId="314cf0e2-2175-4948-8a4a-96924aa0786a" providerId="ADAL" clId="{54D8577C-5196-4E3B-AC07-5AAB674B8325}" dt="2025-02-07T11:03:55.124" v="7560" actId="14734"/>
          <ac:graphicFrameMkLst>
            <pc:docMk/>
            <pc:sldMk cId="64176771" sldId="2147378692"/>
            <ac:graphicFrameMk id="2" creationId="{12ACD507-CDCD-7967-B093-33A8EA8B50AD}"/>
          </ac:graphicFrameMkLst>
        </pc:graphicFrameChg>
      </pc:sldChg>
      <pc:sldChg chg="modSp mod">
        <pc:chgData name="森田 光貴" userId="314cf0e2-2175-4948-8a4a-96924aa0786a" providerId="ADAL" clId="{54D8577C-5196-4E3B-AC07-5AAB674B8325}" dt="2025-02-06T15:10:12.141" v="532"/>
        <pc:sldMkLst>
          <pc:docMk/>
          <pc:sldMk cId="2807815468" sldId="2147378693"/>
        </pc:sldMkLst>
        <pc:spChg chg="mod">
          <ac:chgData name="森田 光貴" userId="314cf0e2-2175-4948-8a4a-96924aa0786a" providerId="ADAL" clId="{54D8577C-5196-4E3B-AC07-5AAB674B8325}" dt="2025-02-06T15:10:12.141" v="532"/>
          <ac:spMkLst>
            <pc:docMk/>
            <pc:sldMk cId="2807815468" sldId="2147378693"/>
            <ac:spMk id="9" creationId="{D22A0A06-D5A8-4A1A-B66F-2A8EDBD644F1}"/>
          </ac:spMkLst>
        </pc:spChg>
      </pc:sldChg>
      <pc:sldChg chg="delSp modSp mod">
        <pc:chgData name="森田 光貴" userId="314cf0e2-2175-4948-8a4a-96924aa0786a" providerId="ADAL" clId="{54D8577C-5196-4E3B-AC07-5AAB674B8325}" dt="2025-02-06T15:12:28.771" v="540" actId="1076"/>
        <pc:sldMkLst>
          <pc:docMk/>
          <pc:sldMk cId="1631142101" sldId="2147378694"/>
        </pc:sldMkLst>
        <pc:spChg chg="del">
          <ac:chgData name="森田 光貴" userId="314cf0e2-2175-4948-8a4a-96924aa0786a" providerId="ADAL" clId="{54D8577C-5196-4E3B-AC07-5AAB674B8325}" dt="2025-02-06T15:12:14.067" v="537" actId="478"/>
          <ac:spMkLst>
            <pc:docMk/>
            <pc:sldMk cId="1631142101" sldId="2147378694"/>
            <ac:spMk id="7" creationId="{6A1171CD-F747-91BE-E5EA-3E2C7283A629}"/>
          </ac:spMkLst>
        </pc:spChg>
        <pc:spChg chg="mod">
          <ac:chgData name="森田 光貴" userId="314cf0e2-2175-4948-8a4a-96924aa0786a" providerId="ADAL" clId="{54D8577C-5196-4E3B-AC07-5AAB674B8325}" dt="2025-02-06T15:12:03.443" v="536" actId="20577"/>
          <ac:spMkLst>
            <pc:docMk/>
            <pc:sldMk cId="1631142101" sldId="2147378694"/>
            <ac:spMk id="9" creationId="{D22A0A06-D5A8-4A1A-B66F-2A8EDBD644F1}"/>
          </ac:spMkLst>
        </pc:spChg>
        <pc:picChg chg="mod">
          <ac:chgData name="森田 光貴" userId="314cf0e2-2175-4948-8a4a-96924aa0786a" providerId="ADAL" clId="{54D8577C-5196-4E3B-AC07-5AAB674B8325}" dt="2025-02-06T15:12:28.771" v="540" actId="1076"/>
          <ac:picMkLst>
            <pc:docMk/>
            <pc:sldMk cId="1631142101" sldId="2147378694"/>
            <ac:picMk id="2" creationId="{C73CE7FB-87DE-3BC3-10E0-D337B38D128B}"/>
          </ac:picMkLst>
        </pc:picChg>
      </pc:sldChg>
      <pc:sldChg chg="addSp delSp modSp mod">
        <pc:chgData name="森田 光貴" userId="314cf0e2-2175-4948-8a4a-96924aa0786a" providerId="ADAL" clId="{54D8577C-5196-4E3B-AC07-5AAB674B8325}" dt="2025-02-06T14:17:33.254" v="437" actId="1076"/>
        <pc:sldMkLst>
          <pc:docMk/>
          <pc:sldMk cId="3347821416" sldId="2147378698"/>
        </pc:sldMkLst>
        <pc:spChg chg="del">
          <ac:chgData name="森田 光貴" userId="314cf0e2-2175-4948-8a4a-96924aa0786a" providerId="ADAL" clId="{54D8577C-5196-4E3B-AC07-5AAB674B8325}" dt="2025-02-06T14:16:38.153" v="433" actId="478"/>
          <ac:spMkLst>
            <pc:docMk/>
            <pc:sldMk cId="3347821416" sldId="2147378698"/>
            <ac:spMk id="3" creationId="{23107F22-3699-2626-6271-5D1E8D182DFD}"/>
          </ac:spMkLst>
        </pc:spChg>
        <pc:spChg chg="add mod">
          <ac:chgData name="森田 光貴" userId="314cf0e2-2175-4948-8a4a-96924aa0786a" providerId="ADAL" clId="{54D8577C-5196-4E3B-AC07-5AAB674B8325}" dt="2025-02-06T14:17:33.254" v="437" actId="1076"/>
          <ac:spMkLst>
            <pc:docMk/>
            <pc:sldMk cId="3347821416" sldId="2147378698"/>
            <ac:spMk id="4" creationId="{2D0F773D-7F31-6F9D-4700-F8F75C3164F8}"/>
          </ac:spMkLst>
        </pc:spChg>
        <pc:spChg chg="mod">
          <ac:chgData name="森田 光貴" userId="314cf0e2-2175-4948-8a4a-96924aa0786a" providerId="ADAL" clId="{54D8577C-5196-4E3B-AC07-5AAB674B8325}" dt="2025-02-06T14:16:54.529" v="435"/>
          <ac:spMkLst>
            <pc:docMk/>
            <pc:sldMk cId="3347821416" sldId="2147378698"/>
            <ac:spMk id="8" creationId="{FC1AB3A4-9382-A032-5903-9A510E8475E3}"/>
          </ac:spMkLst>
        </pc:spChg>
        <pc:spChg chg="mod">
          <ac:chgData name="森田 光貴" userId="314cf0e2-2175-4948-8a4a-96924aa0786a" providerId="ADAL" clId="{54D8577C-5196-4E3B-AC07-5AAB674B8325}" dt="2025-02-06T14:16:54.529" v="435"/>
          <ac:spMkLst>
            <pc:docMk/>
            <pc:sldMk cId="3347821416" sldId="2147378698"/>
            <ac:spMk id="14" creationId="{5C0D0E8C-3811-F6B0-69BB-69EE7E33FC74}"/>
          </ac:spMkLst>
        </pc:spChg>
        <pc:spChg chg="mod">
          <ac:chgData name="森田 光貴" userId="314cf0e2-2175-4948-8a4a-96924aa0786a" providerId="ADAL" clId="{54D8577C-5196-4E3B-AC07-5AAB674B8325}" dt="2025-02-06T14:16:54.529" v="435"/>
          <ac:spMkLst>
            <pc:docMk/>
            <pc:sldMk cId="3347821416" sldId="2147378698"/>
            <ac:spMk id="15" creationId="{96FB319F-2503-4EE3-8CBC-47A4CDE48CA8}"/>
          </ac:spMkLst>
        </pc:spChg>
        <pc:spChg chg="mod">
          <ac:chgData name="森田 光貴" userId="314cf0e2-2175-4948-8a4a-96924aa0786a" providerId="ADAL" clId="{54D8577C-5196-4E3B-AC07-5AAB674B8325}" dt="2025-02-06T14:16:54.529" v="435"/>
          <ac:spMkLst>
            <pc:docMk/>
            <pc:sldMk cId="3347821416" sldId="2147378698"/>
            <ac:spMk id="16" creationId="{47DA8D64-CEC9-1F56-B9E9-35C546FFCD9E}"/>
          </ac:spMkLst>
        </pc:spChg>
        <pc:spChg chg="mod">
          <ac:chgData name="森田 光貴" userId="314cf0e2-2175-4948-8a4a-96924aa0786a" providerId="ADAL" clId="{54D8577C-5196-4E3B-AC07-5AAB674B8325}" dt="2025-02-06T14:16:54.529" v="435"/>
          <ac:spMkLst>
            <pc:docMk/>
            <pc:sldMk cId="3347821416" sldId="2147378698"/>
            <ac:spMk id="17" creationId="{2C56FA59-6C77-7FC1-AD1B-BBB66647627D}"/>
          </ac:spMkLst>
        </pc:spChg>
        <pc:spChg chg="mod">
          <ac:chgData name="森田 光貴" userId="314cf0e2-2175-4948-8a4a-96924aa0786a" providerId="ADAL" clId="{54D8577C-5196-4E3B-AC07-5AAB674B8325}" dt="2025-02-06T14:16:54.529" v="435"/>
          <ac:spMkLst>
            <pc:docMk/>
            <pc:sldMk cId="3347821416" sldId="2147378698"/>
            <ac:spMk id="19" creationId="{46CA9831-E830-18A4-36D3-B1CB18F4532A}"/>
          </ac:spMkLst>
        </pc:spChg>
        <pc:spChg chg="mod">
          <ac:chgData name="森田 光貴" userId="314cf0e2-2175-4948-8a4a-96924aa0786a" providerId="ADAL" clId="{54D8577C-5196-4E3B-AC07-5AAB674B8325}" dt="2025-02-06T14:16:54.529" v="435"/>
          <ac:spMkLst>
            <pc:docMk/>
            <pc:sldMk cId="3347821416" sldId="2147378698"/>
            <ac:spMk id="21" creationId="{2795B796-42AA-2A86-F5EC-F78EB5494350}"/>
          </ac:spMkLst>
        </pc:spChg>
        <pc:grpChg chg="add mod">
          <ac:chgData name="森田 光貴" userId="314cf0e2-2175-4948-8a4a-96924aa0786a" providerId="ADAL" clId="{54D8577C-5196-4E3B-AC07-5AAB674B8325}" dt="2025-02-06T14:16:54.529" v="435"/>
          <ac:grpSpMkLst>
            <pc:docMk/>
            <pc:sldMk cId="3347821416" sldId="2147378698"/>
            <ac:grpSpMk id="7" creationId="{52002093-DF50-FA02-BA5F-6BBF146BCA66}"/>
          </ac:grpSpMkLst>
        </pc:grpChg>
        <pc:grpChg chg="mod">
          <ac:chgData name="森田 光貴" userId="314cf0e2-2175-4948-8a4a-96924aa0786a" providerId="ADAL" clId="{54D8577C-5196-4E3B-AC07-5AAB674B8325}" dt="2025-02-06T14:16:54.529" v="435"/>
          <ac:grpSpMkLst>
            <pc:docMk/>
            <pc:sldMk cId="3347821416" sldId="2147378698"/>
            <ac:grpSpMk id="10" creationId="{B738998B-D1C7-4DA0-CFF5-9A123E597911}"/>
          </ac:grpSpMkLst>
        </pc:grpChg>
        <pc:grpChg chg="mod">
          <ac:chgData name="森田 光貴" userId="314cf0e2-2175-4948-8a4a-96924aa0786a" providerId="ADAL" clId="{54D8577C-5196-4E3B-AC07-5AAB674B8325}" dt="2025-02-06T14:16:54.529" v="435"/>
          <ac:grpSpMkLst>
            <pc:docMk/>
            <pc:sldMk cId="3347821416" sldId="2147378698"/>
            <ac:grpSpMk id="11" creationId="{F9A3E8B6-D4F7-9975-8B59-D2F396C06F28}"/>
          </ac:grpSpMkLst>
        </pc:grpChg>
        <pc:grpChg chg="mod">
          <ac:chgData name="森田 光貴" userId="314cf0e2-2175-4948-8a4a-96924aa0786a" providerId="ADAL" clId="{54D8577C-5196-4E3B-AC07-5AAB674B8325}" dt="2025-02-06T14:16:54.529" v="435"/>
          <ac:grpSpMkLst>
            <pc:docMk/>
            <pc:sldMk cId="3347821416" sldId="2147378698"/>
            <ac:grpSpMk id="12" creationId="{F1638528-25FC-34FB-615D-AC43812FAD07}"/>
          </ac:grpSpMkLst>
        </pc:grpChg>
        <pc:grpChg chg="mod">
          <ac:chgData name="森田 光貴" userId="314cf0e2-2175-4948-8a4a-96924aa0786a" providerId="ADAL" clId="{54D8577C-5196-4E3B-AC07-5AAB674B8325}" dt="2025-02-06T14:16:54.529" v="435"/>
          <ac:grpSpMkLst>
            <pc:docMk/>
            <pc:sldMk cId="3347821416" sldId="2147378698"/>
            <ac:grpSpMk id="13" creationId="{0C48BC36-F017-A7FD-EFE5-3DD062E75EDB}"/>
          </ac:grpSpMkLst>
        </pc:grpChg>
        <pc:picChg chg="mod">
          <ac:chgData name="森田 光貴" userId="314cf0e2-2175-4948-8a4a-96924aa0786a" providerId="ADAL" clId="{54D8577C-5196-4E3B-AC07-5AAB674B8325}" dt="2025-02-06T14:16:54.529" v="435"/>
          <ac:picMkLst>
            <pc:docMk/>
            <pc:sldMk cId="3347821416" sldId="2147378698"/>
            <ac:picMk id="18" creationId="{2507B095-8B76-5E1D-3144-5AC3E998E4FB}"/>
          </ac:picMkLst>
        </pc:picChg>
        <pc:picChg chg="mod">
          <ac:chgData name="森田 光貴" userId="314cf0e2-2175-4948-8a4a-96924aa0786a" providerId="ADAL" clId="{54D8577C-5196-4E3B-AC07-5AAB674B8325}" dt="2025-02-06T14:16:54.529" v="435"/>
          <ac:picMkLst>
            <pc:docMk/>
            <pc:sldMk cId="3347821416" sldId="2147378698"/>
            <ac:picMk id="20" creationId="{5F251E6C-56B2-4EEE-259F-0A6F4F938D4F}"/>
          </ac:picMkLst>
        </pc:picChg>
        <pc:picChg chg="mod">
          <ac:chgData name="森田 光貴" userId="314cf0e2-2175-4948-8a4a-96924aa0786a" providerId="ADAL" clId="{54D8577C-5196-4E3B-AC07-5AAB674B8325}" dt="2025-02-06T14:17:15.169" v="436" actId="14100"/>
          <ac:picMkLst>
            <pc:docMk/>
            <pc:sldMk cId="3347821416" sldId="2147378698"/>
            <ac:picMk id="31" creationId="{16020430-00B1-287F-A924-BAA06D233495}"/>
          </ac:picMkLst>
        </pc:picChg>
      </pc:sldChg>
      <pc:sldChg chg="addSp modSp mod">
        <pc:chgData name="森田 光貴" userId="314cf0e2-2175-4948-8a4a-96924aa0786a" providerId="ADAL" clId="{54D8577C-5196-4E3B-AC07-5AAB674B8325}" dt="2025-02-06T15:16:40.779" v="547"/>
        <pc:sldMkLst>
          <pc:docMk/>
          <pc:sldMk cId="190838501" sldId="2147378699"/>
        </pc:sldMkLst>
        <pc:spChg chg="add mod">
          <ac:chgData name="森田 光貴" userId="314cf0e2-2175-4948-8a4a-96924aa0786a" providerId="ADAL" clId="{54D8577C-5196-4E3B-AC07-5AAB674B8325}" dt="2025-02-06T15:16:40.779" v="547"/>
          <ac:spMkLst>
            <pc:docMk/>
            <pc:sldMk cId="190838501" sldId="2147378699"/>
            <ac:spMk id="3" creationId="{D69F45AB-97DA-86D6-7B3F-F21CC23CCBBD}"/>
          </ac:spMkLst>
        </pc:spChg>
        <pc:graphicFrameChg chg="modGraphic">
          <ac:chgData name="森田 光貴" userId="314cf0e2-2175-4948-8a4a-96924aa0786a" providerId="ADAL" clId="{54D8577C-5196-4E3B-AC07-5AAB674B8325}" dt="2025-02-06T14:19:25.018" v="447" actId="20577"/>
          <ac:graphicFrameMkLst>
            <pc:docMk/>
            <pc:sldMk cId="190838501" sldId="2147378699"/>
            <ac:graphicFrameMk id="2" creationId="{5E62C5DD-8E38-39C6-A171-A79017DD18C4}"/>
          </ac:graphicFrameMkLst>
        </pc:graphicFrameChg>
      </pc:sldChg>
      <pc:sldChg chg="addSp delSp modSp mod">
        <pc:chgData name="森田 光貴" userId="314cf0e2-2175-4948-8a4a-96924aa0786a" providerId="ADAL" clId="{54D8577C-5196-4E3B-AC07-5AAB674B8325}" dt="2025-02-07T04:06:21.843" v="6405"/>
        <pc:sldMkLst>
          <pc:docMk/>
          <pc:sldMk cId="112285639" sldId="2147378703"/>
        </pc:sldMkLst>
        <pc:spChg chg="del">
          <ac:chgData name="森田 光貴" userId="314cf0e2-2175-4948-8a4a-96924aa0786a" providerId="ADAL" clId="{54D8577C-5196-4E3B-AC07-5AAB674B8325}" dt="2025-02-07T04:06:19.217" v="6404" actId="478"/>
          <ac:spMkLst>
            <pc:docMk/>
            <pc:sldMk cId="112285639" sldId="2147378703"/>
            <ac:spMk id="5" creationId="{07FDD3E2-893C-7C7D-69AA-ED74F7AC6940}"/>
          </ac:spMkLst>
        </pc:spChg>
        <pc:spChg chg="add mod">
          <ac:chgData name="森田 光貴" userId="314cf0e2-2175-4948-8a4a-96924aa0786a" providerId="ADAL" clId="{54D8577C-5196-4E3B-AC07-5AAB674B8325}" dt="2025-02-07T04:06:21.843" v="6405"/>
          <ac:spMkLst>
            <pc:docMk/>
            <pc:sldMk cId="112285639" sldId="2147378703"/>
            <ac:spMk id="7" creationId="{BFEF2AAF-C7FE-A74C-9228-F5BBA7BB817E}"/>
          </ac:spMkLst>
        </pc:spChg>
        <pc:picChg chg="mod">
          <ac:chgData name="森田 光貴" userId="314cf0e2-2175-4948-8a4a-96924aa0786a" providerId="ADAL" clId="{54D8577C-5196-4E3B-AC07-5AAB674B8325}" dt="2025-02-06T14:25:50.658" v="449" actId="1076"/>
          <ac:picMkLst>
            <pc:docMk/>
            <pc:sldMk cId="112285639" sldId="2147378703"/>
            <ac:picMk id="12" creationId="{920D49B5-780A-0B0E-081E-8188B35BACC6}"/>
          </ac:picMkLst>
        </pc:picChg>
      </pc:sldChg>
      <pc:sldChg chg="addSp modSp mod">
        <pc:chgData name="森田 光貴" userId="314cf0e2-2175-4948-8a4a-96924aa0786a" providerId="ADAL" clId="{54D8577C-5196-4E3B-AC07-5AAB674B8325}" dt="2025-02-07T04:07:57.717" v="6482"/>
        <pc:sldMkLst>
          <pc:docMk/>
          <pc:sldMk cId="936371591" sldId="2147378704"/>
        </pc:sldMkLst>
        <pc:spChg chg="add mod">
          <ac:chgData name="森田 光貴" userId="314cf0e2-2175-4948-8a4a-96924aa0786a" providerId="ADAL" clId="{54D8577C-5196-4E3B-AC07-5AAB674B8325}" dt="2025-02-07T04:07:57.717" v="6482"/>
          <ac:spMkLst>
            <pc:docMk/>
            <pc:sldMk cId="936371591" sldId="2147378704"/>
            <ac:spMk id="6" creationId="{3436CB90-C2D8-4C71-8598-E7CDF6DA3EE9}"/>
          </ac:spMkLst>
        </pc:spChg>
      </pc:sldChg>
      <pc:sldChg chg="addSp modSp mod">
        <pc:chgData name="森田 光貴" userId="314cf0e2-2175-4948-8a4a-96924aa0786a" providerId="ADAL" clId="{54D8577C-5196-4E3B-AC07-5AAB674B8325}" dt="2025-02-07T04:08:52.448" v="6486"/>
        <pc:sldMkLst>
          <pc:docMk/>
          <pc:sldMk cId="1075793544" sldId="2147378706"/>
        </pc:sldMkLst>
        <pc:spChg chg="add mod">
          <ac:chgData name="森田 光貴" userId="314cf0e2-2175-4948-8a4a-96924aa0786a" providerId="ADAL" clId="{54D8577C-5196-4E3B-AC07-5AAB674B8325}" dt="2025-02-07T04:08:52.448" v="6486"/>
          <ac:spMkLst>
            <pc:docMk/>
            <pc:sldMk cId="1075793544" sldId="2147378706"/>
            <ac:spMk id="63" creationId="{7C6B3982-F0AE-8DE6-BAA9-70D33CDCF18C}"/>
          </ac:spMkLst>
        </pc:spChg>
      </pc:sldChg>
      <pc:sldChg chg="addSp modSp mod">
        <pc:chgData name="森田 光貴" userId="314cf0e2-2175-4948-8a4a-96924aa0786a" providerId="ADAL" clId="{54D8577C-5196-4E3B-AC07-5AAB674B8325}" dt="2025-02-07T04:09:47.382" v="6524"/>
        <pc:sldMkLst>
          <pc:docMk/>
          <pc:sldMk cId="1215250369" sldId="2147378707"/>
        </pc:sldMkLst>
        <pc:spChg chg="add mod">
          <ac:chgData name="森田 光貴" userId="314cf0e2-2175-4948-8a4a-96924aa0786a" providerId="ADAL" clId="{54D8577C-5196-4E3B-AC07-5AAB674B8325}" dt="2025-02-07T04:09:47.382" v="6524"/>
          <ac:spMkLst>
            <pc:docMk/>
            <pc:sldMk cId="1215250369" sldId="2147378707"/>
            <ac:spMk id="6" creationId="{0EF1E65A-B109-F41E-1B7B-F0E1CB735B01}"/>
          </ac:spMkLst>
        </pc:spChg>
      </pc:sldChg>
      <pc:sldChg chg="modSp mod">
        <pc:chgData name="森田 光貴" userId="314cf0e2-2175-4948-8a4a-96924aa0786a" providerId="ADAL" clId="{54D8577C-5196-4E3B-AC07-5AAB674B8325}" dt="2025-02-06T14:08:50.458" v="432"/>
        <pc:sldMkLst>
          <pc:docMk/>
          <pc:sldMk cId="355750652" sldId="2147378708"/>
        </pc:sldMkLst>
        <pc:graphicFrameChg chg="mod modGraphic">
          <ac:chgData name="森田 光貴" userId="314cf0e2-2175-4948-8a4a-96924aa0786a" providerId="ADAL" clId="{54D8577C-5196-4E3B-AC07-5AAB674B8325}" dt="2025-02-06T14:08:50.458" v="432"/>
          <ac:graphicFrameMkLst>
            <pc:docMk/>
            <pc:sldMk cId="355750652" sldId="2147378708"/>
            <ac:graphicFrameMk id="2" creationId="{C643ECC8-A3AC-933C-3E81-E0D6449A8658}"/>
          </ac:graphicFrameMkLst>
        </pc:graphicFrameChg>
      </pc:sldChg>
      <pc:sldChg chg="addSp delSp modSp mod ord">
        <pc:chgData name="森田 光貴" userId="314cf0e2-2175-4948-8a4a-96924aa0786a" providerId="ADAL" clId="{54D8577C-5196-4E3B-AC07-5AAB674B8325}" dt="2025-02-07T03:59:29.019" v="6323"/>
        <pc:sldMkLst>
          <pc:docMk/>
          <pc:sldMk cId="3685116316" sldId="2147378709"/>
        </pc:sldMkLst>
        <pc:spChg chg="add del mod">
          <ac:chgData name="森田 光貴" userId="314cf0e2-2175-4948-8a4a-96924aa0786a" providerId="ADAL" clId="{54D8577C-5196-4E3B-AC07-5AAB674B8325}" dt="2025-02-06T16:06:19.865" v="1613" actId="478"/>
          <ac:spMkLst>
            <pc:docMk/>
            <pc:sldMk cId="3685116316" sldId="2147378709"/>
            <ac:spMk id="3" creationId="{50194887-9594-1739-7E8C-7DB10129298E}"/>
          </ac:spMkLst>
        </pc:spChg>
        <pc:spChg chg="add del mod">
          <ac:chgData name="森田 光貴" userId="314cf0e2-2175-4948-8a4a-96924aa0786a" providerId="ADAL" clId="{54D8577C-5196-4E3B-AC07-5AAB674B8325}" dt="2025-02-06T16:06:48.386" v="1615" actId="478"/>
          <ac:spMkLst>
            <pc:docMk/>
            <pc:sldMk cId="3685116316" sldId="2147378709"/>
            <ac:spMk id="4" creationId="{E87394A1-BCC3-1153-ED3A-B8E41D2628AB}"/>
          </ac:spMkLst>
        </pc:spChg>
        <pc:spChg chg="mod">
          <ac:chgData name="森田 光貴" userId="314cf0e2-2175-4948-8a4a-96924aa0786a" providerId="ADAL" clId="{54D8577C-5196-4E3B-AC07-5AAB674B8325}" dt="2025-02-06T16:14:26.072" v="1712" actId="20577"/>
          <ac:spMkLst>
            <pc:docMk/>
            <pc:sldMk cId="3685116316" sldId="2147378709"/>
            <ac:spMk id="6" creationId="{06F06DD2-9B90-695B-AD25-50F75DE8988B}"/>
          </ac:spMkLst>
        </pc:spChg>
        <pc:spChg chg="add del mod">
          <ac:chgData name="森田 光貴" userId="314cf0e2-2175-4948-8a4a-96924aa0786a" providerId="ADAL" clId="{54D8577C-5196-4E3B-AC07-5AAB674B8325}" dt="2025-02-07T03:59:27.304" v="6322" actId="478"/>
          <ac:spMkLst>
            <pc:docMk/>
            <pc:sldMk cId="3685116316" sldId="2147378709"/>
            <ac:spMk id="7" creationId="{DAEF76F3-C44B-93C1-72B8-D2D2FB9498DC}"/>
          </ac:spMkLst>
        </pc:spChg>
        <pc:spChg chg="add mod">
          <ac:chgData name="森田 光貴" userId="314cf0e2-2175-4948-8a4a-96924aa0786a" providerId="ADAL" clId="{54D8577C-5196-4E3B-AC07-5AAB674B8325}" dt="2025-02-07T03:59:29.019" v="6323"/>
          <ac:spMkLst>
            <pc:docMk/>
            <pc:sldMk cId="3685116316" sldId="2147378709"/>
            <ac:spMk id="8" creationId="{01400420-A405-9FA0-FB58-53E4DBC1233D}"/>
          </ac:spMkLst>
        </pc:spChg>
        <pc:spChg chg="mod">
          <ac:chgData name="森田 光貴" userId="314cf0e2-2175-4948-8a4a-96924aa0786a" providerId="ADAL" clId="{54D8577C-5196-4E3B-AC07-5AAB674B8325}" dt="2025-02-07T02:30:54.698" v="4474"/>
          <ac:spMkLst>
            <pc:docMk/>
            <pc:sldMk cId="3685116316" sldId="2147378709"/>
            <ac:spMk id="17" creationId="{53F10FF5-7C3A-04E7-4D0E-3EC2A9EB89FC}"/>
          </ac:spMkLst>
        </pc:spChg>
        <pc:spChg chg="mod">
          <ac:chgData name="森田 光貴" userId="314cf0e2-2175-4948-8a4a-96924aa0786a" providerId="ADAL" clId="{54D8577C-5196-4E3B-AC07-5AAB674B8325}" dt="2025-02-07T02:31:03.008" v="4489"/>
          <ac:spMkLst>
            <pc:docMk/>
            <pc:sldMk cId="3685116316" sldId="2147378709"/>
            <ac:spMk id="22" creationId="{E3A53034-9097-A2B0-BA00-9805C113B3C4}"/>
          </ac:spMkLst>
        </pc:spChg>
        <pc:spChg chg="mod">
          <ac:chgData name="森田 光貴" userId="314cf0e2-2175-4948-8a4a-96924aa0786a" providerId="ADAL" clId="{54D8577C-5196-4E3B-AC07-5AAB674B8325}" dt="2025-02-07T02:31:23.305" v="4529" actId="20577"/>
          <ac:spMkLst>
            <pc:docMk/>
            <pc:sldMk cId="3685116316" sldId="2147378709"/>
            <ac:spMk id="23" creationId="{548B53C1-9515-859C-4FF6-ED37AFEFE4B3}"/>
          </ac:spMkLst>
        </pc:spChg>
        <pc:spChg chg="mod">
          <ac:chgData name="森田 光貴" userId="314cf0e2-2175-4948-8a4a-96924aa0786a" providerId="ADAL" clId="{54D8577C-5196-4E3B-AC07-5AAB674B8325}" dt="2025-02-07T02:30:44.102" v="4444"/>
          <ac:spMkLst>
            <pc:docMk/>
            <pc:sldMk cId="3685116316" sldId="2147378709"/>
            <ac:spMk id="25" creationId="{B623064F-1224-9D0A-91B9-574A09BD6B31}"/>
          </ac:spMkLst>
        </pc:spChg>
        <pc:spChg chg="mod">
          <ac:chgData name="森田 光貴" userId="314cf0e2-2175-4948-8a4a-96924aa0786a" providerId="ADAL" clId="{54D8577C-5196-4E3B-AC07-5AAB674B8325}" dt="2025-02-07T01:00:52.483" v="3659" actId="207"/>
          <ac:spMkLst>
            <pc:docMk/>
            <pc:sldMk cId="3685116316" sldId="2147378709"/>
            <ac:spMk id="28" creationId="{90FD0E77-3888-581E-76F2-D03B3D6A162F}"/>
          </ac:spMkLst>
        </pc:spChg>
        <pc:spChg chg="mod">
          <ac:chgData name="森田 光貴" userId="314cf0e2-2175-4948-8a4a-96924aa0786a" providerId="ADAL" clId="{54D8577C-5196-4E3B-AC07-5AAB674B8325}" dt="2025-02-07T02:07:05.515" v="4213"/>
          <ac:spMkLst>
            <pc:docMk/>
            <pc:sldMk cId="3685116316" sldId="2147378709"/>
            <ac:spMk id="29" creationId="{51548927-EDC2-8320-9763-1100DEEB5C3D}"/>
          </ac:spMkLst>
        </pc:spChg>
        <pc:spChg chg="mod">
          <ac:chgData name="森田 光貴" userId="314cf0e2-2175-4948-8a4a-96924aa0786a" providerId="ADAL" clId="{54D8577C-5196-4E3B-AC07-5AAB674B8325}" dt="2025-02-07T02:07:07.183" v="4214"/>
          <ac:spMkLst>
            <pc:docMk/>
            <pc:sldMk cId="3685116316" sldId="2147378709"/>
            <ac:spMk id="30" creationId="{ABA7E6E7-22B8-6897-CAD1-5BB1F7243A11}"/>
          </ac:spMkLst>
        </pc:spChg>
        <pc:spChg chg="mod">
          <ac:chgData name="森田 光貴" userId="314cf0e2-2175-4948-8a4a-96924aa0786a" providerId="ADAL" clId="{54D8577C-5196-4E3B-AC07-5AAB674B8325}" dt="2025-02-07T02:44:37.288" v="4924"/>
          <ac:spMkLst>
            <pc:docMk/>
            <pc:sldMk cId="3685116316" sldId="2147378709"/>
            <ac:spMk id="31" creationId="{97AC2652-6A11-4525-3831-C5116BDDAFD4}"/>
          </ac:spMkLst>
        </pc:spChg>
        <pc:spChg chg="mod">
          <ac:chgData name="森田 光貴" userId="314cf0e2-2175-4948-8a4a-96924aa0786a" providerId="ADAL" clId="{54D8577C-5196-4E3B-AC07-5AAB674B8325}" dt="2025-02-07T02:07:12.507" v="4217"/>
          <ac:spMkLst>
            <pc:docMk/>
            <pc:sldMk cId="3685116316" sldId="2147378709"/>
            <ac:spMk id="32" creationId="{226A0974-299A-DA5C-F13B-FA16A7D473D9}"/>
          </ac:spMkLst>
        </pc:spChg>
        <pc:spChg chg="mod">
          <ac:chgData name="森田 光貴" userId="314cf0e2-2175-4948-8a4a-96924aa0786a" providerId="ADAL" clId="{54D8577C-5196-4E3B-AC07-5AAB674B8325}" dt="2025-02-07T02:41:20.682" v="4782"/>
          <ac:spMkLst>
            <pc:docMk/>
            <pc:sldMk cId="3685116316" sldId="2147378709"/>
            <ac:spMk id="33" creationId="{C9FC6D16-CAD4-5B3E-F8B5-81D2A2D8CDCA}"/>
          </ac:spMkLst>
        </pc:spChg>
        <pc:spChg chg="mod">
          <ac:chgData name="森田 光貴" userId="314cf0e2-2175-4948-8a4a-96924aa0786a" providerId="ADAL" clId="{54D8577C-5196-4E3B-AC07-5AAB674B8325}" dt="2025-02-07T02:35:46.952" v="4531"/>
          <ac:spMkLst>
            <pc:docMk/>
            <pc:sldMk cId="3685116316" sldId="2147378709"/>
            <ac:spMk id="34" creationId="{C89FC4AA-2731-E92F-D907-2D16595912E8}"/>
          </ac:spMkLst>
        </pc:spChg>
        <pc:spChg chg="mod">
          <ac:chgData name="森田 光貴" userId="314cf0e2-2175-4948-8a4a-96924aa0786a" providerId="ADAL" clId="{54D8577C-5196-4E3B-AC07-5AAB674B8325}" dt="2025-02-07T02:39:10.517" v="4708"/>
          <ac:spMkLst>
            <pc:docMk/>
            <pc:sldMk cId="3685116316" sldId="2147378709"/>
            <ac:spMk id="35" creationId="{708AB7D6-2CDF-65E4-DFCF-96EFAC6FF818}"/>
          </ac:spMkLst>
        </pc:spChg>
      </pc:sldChg>
      <pc:sldChg chg="addSp modSp mod">
        <pc:chgData name="森田 光貴" userId="314cf0e2-2175-4948-8a4a-96924aa0786a" providerId="ADAL" clId="{54D8577C-5196-4E3B-AC07-5AAB674B8325}" dt="2025-02-07T03:14:02.934" v="5392" actId="20577"/>
        <pc:sldMkLst>
          <pc:docMk/>
          <pc:sldMk cId="2249235288" sldId="2147378710"/>
        </pc:sldMkLst>
        <pc:spChg chg="mod">
          <ac:chgData name="森田 光貴" userId="314cf0e2-2175-4948-8a4a-96924aa0786a" providerId="ADAL" clId="{54D8577C-5196-4E3B-AC07-5AAB674B8325}" dt="2025-02-07T03:14:02.934" v="5392" actId="20577"/>
          <ac:spMkLst>
            <pc:docMk/>
            <pc:sldMk cId="2249235288" sldId="2147378710"/>
            <ac:spMk id="13" creationId="{EDAD2185-EC0D-868E-795C-E7F2FB4ACC64}"/>
          </ac:spMkLst>
        </pc:spChg>
        <pc:spChg chg="mod">
          <ac:chgData name="森田 光貴" userId="314cf0e2-2175-4948-8a4a-96924aa0786a" providerId="ADAL" clId="{54D8577C-5196-4E3B-AC07-5AAB674B8325}" dt="2025-02-07T03:13:48.885" v="5363" actId="20577"/>
          <ac:spMkLst>
            <pc:docMk/>
            <pc:sldMk cId="2249235288" sldId="2147378710"/>
            <ac:spMk id="14" creationId="{EB154E72-D468-E337-5176-249A512E7AD4}"/>
          </ac:spMkLst>
        </pc:spChg>
        <pc:spChg chg="add mod">
          <ac:chgData name="森田 光貴" userId="314cf0e2-2175-4948-8a4a-96924aa0786a" providerId="ADAL" clId="{54D8577C-5196-4E3B-AC07-5AAB674B8325}" dt="2025-02-07T03:07:15.847" v="5131" actId="1076"/>
          <ac:spMkLst>
            <pc:docMk/>
            <pc:sldMk cId="2249235288" sldId="2147378710"/>
            <ac:spMk id="15" creationId="{A9796D27-DDEF-1B7A-97DA-28272B9383AC}"/>
          </ac:spMkLst>
        </pc:spChg>
      </pc:sldChg>
      <pc:sldChg chg="addSp delSp modSp mod">
        <pc:chgData name="森田 光貴" userId="314cf0e2-2175-4948-8a4a-96924aa0786a" providerId="ADAL" clId="{54D8577C-5196-4E3B-AC07-5AAB674B8325}" dt="2025-02-07T03:41:58.021" v="5664"/>
        <pc:sldMkLst>
          <pc:docMk/>
          <pc:sldMk cId="1302942433" sldId="2147378711"/>
        </pc:sldMkLst>
        <pc:spChg chg="mod">
          <ac:chgData name="森田 光貴" userId="314cf0e2-2175-4948-8a4a-96924aa0786a" providerId="ADAL" clId="{54D8577C-5196-4E3B-AC07-5AAB674B8325}" dt="2025-02-07T03:41:58.021" v="5664"/>
          <ac:spMkLst>
            <pc:docMk/>
            <pc:sldMk cId="1302942433" sldId="2147378711"/>
            <ac:spMk id="13" creationId="{EDAD2185-EC0D-868E-795C-E7F2FB4ACC64}"/>
          </ac:spMkLst>
        </pc:spChg>
        <pc:spChg chg="del">
          <ac:chgData name="森田 光貴" userId="314cf0e2-2175-4948-8a4a-96924aa0786a" providerId="ADAL" clId="{54D8577C-5196-4E3B-AC07-5AAB674B8325}" dt="2025-02-07T01:11:45.010" v="3794" actId="478"/>
          <ac:spMkLst>
            <pc:docMk/>
            <pc:sldMk cId="1302942433" sldId="2147378711"/>
            <ac:spMk id="14" creationId="{18C1D74E-EB9E-1CE0-ED28-285496344003}"/>
          </ac:spMkLst>
        </pc:spChg>
        <pc:spChg chg="add mod">
          <ac:chgData name="森田 光貴" userId="314cf0e2-2175-4948-8a4a-96924aa0786a" providerId="ADAL" clId="{54D8577C-5196-4E3B-AC07-5AAB674B8325}" dt="2025-02-07T02:23:19.067" v="4367"/>
          <ac:spMkLst>
            <pc:docMk/>
            <pc:sldMk cId="1302942433" sldId="2147378711"/>
            <ac:spMk id="16" creationId="{CE3710F1-B30E-EA02-A69C-61327FEC95E4}"/>
          </ac:spMkLst>
        </pc:spChg>
        <pc:spChg chg="add mod">
          <ac:chgData name="森田 光貴" userId="314cf0e2-2175-4948-8a4a-96924aa0786a" providerId="ADAL" clId="{54D8577C-5196-4E3B-AC07-5AAB674B8325}" dt="2025-02-07T01:11:49.459" v="3795" actId="1076"/>
          <ac:spMkLst>
            <pc:docMk/>
            <pc:sldMk cId="1302942433" sldId="2147378711"/>
            <ac:spMk id="17" creationId="{B8742A06-7726-04DB-07A0-15A44946BF87}"/>
          </ac:spMkLst>
        </pc:spChg>
      </pc:sldChg>
      <pc:sldChg chg="modSp mod">
        <pc:chgData name="森田 光貴" userId="314cf0e2-2175-4948-8a4a-96924aa0786a" providerId="ADAL" clId="{54D8577C-5196-4E3B-AC07-5AAB674B8325}" dt="2025-02-07T02:25:52.821" v="4415"/>
        <pc:sldMkLst>
          <pc:docMk/>
          <pc:sldMk cId="958813593" sldId="2147378712"/>
        </pc:sldMkLst>
        <pc:spChg chg="mod">
          <ac:chgData name="森田 光貴" userId="314cf0e2-2175-4948-8a4a-96924aa0786a" providerId="ADAL" clId="{54D8577C-5196-4E3B-AC07-5AAB674B8325}" dt="2025-02-07T02:25:52.821" v="4415"/>
          <ac:spMkLst>
            <pc:docMk/>
            <pc:sldMk cId="958813593" sldId="2147378712"/>
            <ac:spMk id="6" creationId="{09D775EB-351B-C236-C043-A7DD108D7C85}"/>
          </ac:spMkLst>
        </pc:spChg>
      </pc:sldChg>
      <pc:sldChg chg="addSp delSp modSp mod">
        <pc:chgData name="森田 光貴" userId="314cf0e2-2175-4948-8a4a-96924aa0786a" providerId="ADAL" clId="{54D8577C-5196-4E3B-AC07-5AAB674B8325}" dt="2025-02-06T15:15:29.749" v="546" actId="478"/>
        <pc:sldMkLst>
          <pc:docMk/>
          <pc:sldMk cId="89963991" sldId="2147378715"/>
        </pc:sldMkLst>
        <pc:spChg chg="del mod">
          <ac:chgData name="森田 光貴" userId="314cf0e2-2175-4948-8a4a-96924aa0786a" providerId="ADAL" clId="{54D8577C-5196-4E3B-AC07-5AAB674B8325}" dt="2025-02-06T15:15:29.749" v="546" actId="478"/>
          <ac:spMkLst>
            <pc:docMk/>
            <pc:sldMk cId="89963991" sldId="2147378715"/>
            <ac:spMk id="3" creationId="{564B8093-4C76-84FC-9FFB-6B5460E1262B}"/>
          </ac:spMkLst>
        </pc:spChg>
        <pc:spChg chg="add mod">
          <ac:chgData name="森田 光貴" userId="314cf0e2-2175-4948-8a4a-96924aa0786a" providerId="ADAL" clId="{54D8577C-5196-4E3B-AC07-5AAB674B8325}" dt="2025-02-06T15:15:25.814" v="545"/>
          <ac:spMkLst>
            <pc:docMk/>
            <pc:sldMk cId="89963991" sldId="2147378715"/>
            <ac:spMk id="4" creationId="{834D33ED-6B34-20EF-8172-D3E49E7DF7FF}"/>
          </ac:spMkLst>
        </pc:spChg>
      </pc:sldChg>
      <pc:sldChg chg="addSp delSp modSp mod">
        <pc:chgData name="森田 光貴" userId="314cf0e2-2175-4948-8a4a-96924aa0786a" providerId="ADAL" clId="{54D8577C-5196-4E3B-AC07-5AAB674B8325}" dt="2025-02-06T14:18:52.767" v="443"/>
        <pc:sldMkLst>
          <pc:docMk/>
          <pc:sldMk cId="1575785639" sldId="2147378716"/>
        </pc:sldMkLst>
        <pc:spChg chg="del">
          <ac:chgData name="森田 光貴" userId="314cf0e2-2175-4948-8a4a-96924aa0786a" providerId="ADAL" clId="{54D8577C-5196-4E3B-AC07-5AAB674B8325}" dt="2025-02-06T14:18:33.068" v="438" actId="478"/>
          <ac:spMkLst>
            <pc:docMk/>
            <pc:sldMk cId="1575785639" sldId="2147378716"/>
            <ac:spMk id="3" creationId="{6D8BE3DE-8ABE-633A-41E7-260D52926EB8}"/>
          </ac:spMkLst>
        </pc:spChg>
        <pc:spChg chg="add mod">
          <ac:chgData name="森田 光貴" userId="314cf0e2-2175-4948-8a4a-96924aa0786a" providerId="ADAL" clId="{54D8577C-5196-4E3B-AC07-5AAB674B8325}" dt="2025-02-06T14:18:49.402" v="442"/>
          <ac:spMkLst>
            <pc:docMk/>
            <pc:sldMk cId="1575785639" sldId="2147378716"/>
            <ac:spMk id="4" creationId="{B58CBB79-28B6-0F3B-6486-A15BFAC06F57}"/>
          </ac:spMkLst>
        </pc:spChg>
        <pc:spChg chg="add mod">
          <ac:chgData name="森田 光貴" userId="314cf0e2-2175-4948-8a4a-96924aa0786a" providerId="ADAL" clId="{54D8577C-5196-4E3B-AC07-5AAB674B8325}" dt="2025-02-06T14:18:52.767" v="443"/>
          <ac:spMkLst>
            <pc:docMk/>
            <pc:sldMk cId="1575785639" sldId="2147378716"/>
            <ac:spMk id="7" creationId="{753EDDE2-9BD8-2942-AFF5-CB0966A2B583}"/>
          </ac:spMkLst>
        </pc:spChg>
        <pc:picChg chg="mod">
          <ac:chgData name="森田 光貴" userId="314cf0e2-2175-4948-8a4a-96924aa0786a" providerId="ADAL" clId="{54D8577C-5196-4E3B-AC07-5AAB674B8325}" dt="2025-02-06T14:18:45.390" v="441" actId="1076"/>
          <ac:picMkLst>
            <pc:docMk/>
            <pc:sldMk cId="1575785639" sldId="2147378716"/>
            <ac:picMk id="14" creationId="{14F881AA-A9DD-5D4C-6B41-DC64E37C5F31}"/>
          </ac:picMkLst>
        </pc:picChg>
      </pc:sldChg>
      <pc:sldChg chg="addSp modSp mod">
        <pc:chgData name="森田 光貴" userId="314cf0e2-2175-4948-8a4a-96924aa0786a" providerId="ADAL" clId="{54D8577C-5196-4E3B-AC07-5AAB674B8325}" dt="2025-02-07T04:08:13.479" v="6484"/>
        <pc:sldMkLst>
          <pc:docMk/>
          <pc:sldMk cId="2574112575" sldId="2147378718"/>
        </pc:sldMkLst>
        <pc:spChg chg="add mod">
          <ac:chgData name="森田 光貴" userId="314cf0e2-2175-4948-8a4a-96924aa0786a" providerId="ADAL" clId="{54D8577C-5196-4E3B-AC07-5AAB674B8325}" dt="2025-02-07T04:08:13.479" v="6484"/>
          <ac:spMkLst>
            <pc:docMk/>
            <pc:sldMk cId="2574112575" sldId="2147378718"/>
            <ac:spMk id="2" creationId="{C2B92959-466B-8EBF-B6C6-3BFCC839C237}"/>
          </ac:spMkLst>
        </pc:spChg>
      </pc:sldChg>
      <pc:sldChg chg="del">
        <pc:chgData name="森田 光貴" userId="314cf0e2-2175-4948-8a4a-96924aa0786a" providerId="ADAL" clId="{54D8577C-5196-4E3B-AC07-5AAB674B8325}" dt="2025-02-07T03:56:00.404" v="6311" actId="47"/>
        <pc:sldMkLst>
          <pc:docMk/>
          <pc:sldMk cId="2471951817" sldId="2147378720"/>
        </pc:sldMkLst>
      </pc:sldChg>
      <pc:sldChg chg="addSp delSp modSp add mod ord">
        <pc:chgData name="森田 光貴" userId="314cf0e2-2175-4948-8a4a-96924aa0786a" providerId="ADAL" clId="{54D8577C-5196-4E3B-AC07-5AAB674B8325}" dt="2025-02-06T15:10:26.778" v="534"/>
        <pc:sldMkLst>
          <pc:docMk/>
          <pc:sldMk cId="684831738" sldId="2147378726"/>
        </pc:sldMkLst>
        <pc:spChg chg="add del mod">
          <ac:chgData name="森田 光貴" userId="314cf0e2-2175-4948-8a4a-96924aa0786a" providerId="ADAL" clId="{54D8577C-5196-4E3B-AC07-5AAB674B8325}" dt="2025-02-06T14:37:50.114" v="458" actId="478"/>
          <ac:spMkLst>
            <pc:docMk/>
            <pc:sldMk cId="684831738" sldId="2147378726"/>
            <ac:spMk id="6" creationId="{F9349DCB-D57B-37DE-E062-17FBFD409D91}"/>
          </ac:spMkLst>
        </pc:spChg>
        <pc:spChg chg="add mod">
          <ac:chgData name="森田 光貴" userId="314cf0e2-2175-4948-8a4a-96924aa0786a" providerId="ADAL" clId="{54D8577C-5196-4E3B-AC07-5AAB674B8325}" dt="2025-02-06T15:10:03.186" v="516"/>
          <ac:spMkLst>
            <pc:docMk/>
            <pc:sldMk cId="684831738" sldId="2147378726"/>
            <ac:spMk id="7" creationId="{33997F28-3F7D-9ADB-4329-31223649892B}"/>
          </ac:spMkLst>
        </pc:spChg>
        <pc:spChg chg="del">
          <ac:chgData name="森田 光貴" userId="314cf0e2-2175-4948-8a4a-96924aa0786a" providerId="ADAL" clId="{54D8577C-5196-4E3B-AC07-5AAB674B8325}" dt="2025-02-06T14:37:44.482" v="456" actId="478"/>
          <ac:spMkLst>
            <pc:docMk/>
            <pc:sldMk cId="684831738" sldId="2147378726"/>
            <ac:spMk id="9" creationId="{D22A0A06-D5A8-4A1A-B66F-2A8EDBD644F1}"/>
          </ac:spMkLst>
        </pc:spChg>
        <pc:spChg chg="add del mod">
          <ac:chgData name="森田 光貴" userId="314cf0e2-2175-4948-8a4a-96924aa0786a" providerId="ADAL" clId="{54D8577C-5196-4E3B-AC07-5AAB674B8325}" dt="2025-02-06T15:08:01.406" v="474" actId="478"/>
          <ac:spMkLst>
            <pc:docMk/>
            <pc:sldMk cId="684831738" sldId="2147378726"/>
            <ac:spMk id="10" creationId="{053256CB-727F-419B-3F3F-768FED61C4DC}"/>
          </ac:spMkLst>
        </pc:spChg>
        <pc:spChg chg="add mod">
          <ac:chgData name="森田 光貴" userId="314cf0e2-2175-4948-8a4a-96924aa0786a" providerId="ADAL" clId="{54D8577C-5196-4E3B-AC07-5AAB674B8325}" dt="2025-02-06T15:09:37.825" v="500" actId="1076"/>
          <ac:spMkLst>
            <pc:docMk/>
            <pc:sldMk cId="684831738" sldId="2147378726"/>
            <ac:spMk id="14" creationId="{599622DA-66D8-0ABD-60C7-5972EA4F1882}"/>
          </ac:spMkLst>
        </pc:spChg>
        <pc:graphicFrameChg chg="del">
          <ac:chgData name="森田 光貴" userId="314cf0e2-2175-4948-8a4a-96924aa0786a" providerId="ADAL" clId="{54D8577C-5196-4E3B-AC07-5AAB674B8325}" dt="2025-02-06T14:37:31.634" v="455" actId="478"/>
          <ac:graphicFrameMkLst>
            <pc:docMk/>
            <pc:sldMk cId="684831738" sldId="2147378726"/>
            <ac:graphicFrameMk id="3" creationId="{C2FBD78A-42F9-DBB2-6819-EF5E9FDD5F77}"/>
          </ac:graphicFrameMkLst>
        </pc:graphicFrameChg>
        <pc:picChg chg="add del mod">
          <ac:chgData name="森田 光貴" userId="314cf0e2-2175-4948-8a4a-96924aa0786a" providerId="ADAL" clId="{54D8577C-5196-4E3B-AC07-5AAB674B8325}" dt="2025-02-06T14:38:13.982" v="462" actId="478"/>
          <ac:picMkLst>
            <pc:docMk/>
            <pc:sldMk cId="684831738" sldId="2147378726"/>
            <ac:picMk id="11" creationId="{AC7C440A-2B82-E4A5-0368-3058E1AB6B60}"/>
          </ac:picMkLst>
        </pc:picChg>
        <pc:picChg chg="add mod modCrop">
          <ac:chgData name="森田 光貴" userId="314cf0e2-2175-4948-8a4a-96924aa0786a" providerId="ADAL" clId="{54D8577C-5196-4E3B-AC07-5AAB674B8325}" dt="2025-02-06T15:08:08.347" v="476" actId="1076"/>
          <ac:picMkLst>
            <pc:docMk/>
            <pc:sldMk cId="684831738" sldId="2147378726"/>
            <ac:picMk id="13" creationId="{DE8618E3-6CA7-9D3B-3100-5E13086E18EC}"/>
          </ac:picMkLst>
        </pc:picChg>
      </pc:sldChg>
      <pc:sldChg chg="add del">
        <pc:chgData name="森田 光貴" userId="314cf0e2-2175-4948-8a4a-96924aa0786a" providerId="ADAL" clId="{54D8577C-5196-4E3B-AC07-5AAB674B8325}" dt="2025-02-06T14:37:21.405" v="453" actId="47"/>
        <pc:sldMkLst>
          <pc:docMk/>
          <pc:sldMk cId="1093784301" sldId="2147378726"/>
        </pc:sldMkLst>
      </pc:sldChg>
      <pc:sldChg chg="add del">
        <pc:chgData name="森田 光貴" userId="314cf0e2-2175-4948-8a4a-96924aa0786a" providerId="ADAL" clId="{54D8577C-5196-4E3B-AC07-5AAB674B8325}" dt="2025-02-06T14:37:03.283" v="451" actId="47"/>
        <pc:sldMkLst>
          <pc:docMk/>
          <pc:sldMk cId="2151657549" sldId="2147378726"/>
        </pc:sldMkLst>
      </pc:sldChg>
      <pc:sldChg chg="modSp mod">
        <pc:chgData name="森田 光貴" userId="314cf0e2-2175-4948-8a4a-96924aa0786a" providerId="ADAL" clId="{54D8577C-5196-4E3B-AC07-5AAB674B8325}" dt="2025-02-06T15:17:38.663" v="548" actId="1076"/>
        <pc:sldMkLst>
          <pc:docMk/>
          <pc:sldMk cId="2425091294" sldId="2147378727"/>
        </pc:sldMkLst>
        <pc:spChg chg="mod">
          <ac:chgData name="森田 光貴" userId="314cf0e2-2175-4948-8a4a-96924aa0786a" providerId="ADAL" clId="{54D8577C-5196-4E3B-AC07-5AAB674B8325}" dt="2025-02-06T15:17:38.663" v="548" actId="1076"/>
          <ac:spMkLst>
            <pc:docMk/>
            <pc:sldMk cId="2425091294" sldId="2147378727"/>
            <ac:spMk id="53" creationId="{600AE28E-2F7C-E1F6-5796-97DD1A8A0830}"/>
          </ac:spMkLst>
        </pc:spChg>
      </pc:sldChg>
      <pc:sldChg chg="addSp delSp modSp mod ord">
        <pc:chgData name="森田 光貴" userId="314cf0e2-2175-4948-8a4a-96924aa0786a" providerId="ADAL" clId="{54D8577C-5196-4E3B-AC07-5AAB674B8325}" dt="2025-02-07T03:59:22.061" v="6321" actId="20577"/>
        <pc:sldMkLst>
          <pc:docMk/>
          <pc:sldMk cId="1108136930" sldId="2147378728"/>
        </pc:sldMkLst>
        <pc:spChg chg="add mod">
          <ac:chgData name="森田 光貴" userId="314cf0e2-2175-4948-8a4a-96924aa0786a" providerId="ADAL" clId="{54D8577C-5196-4E3B-AC07-5AAB674B8325}" dt="2025-02-06T16:00:36.046" v="1492" actId="1036"/>
          <ac:spMkLst>
            <pc:docMk/>
            <pc:sldMk cId="1108136930" sldId="2147378728"/>
            <ac:spMk id="3" creationId="{59B34644-110E-1C8E-FC11-B0A08110804F}"/>
          </ac:spMkLst>
        </pc:spChg>
        <pc:spChg chg="add del mod">
          <ac:chgData name="森田 光貴" userId="314cf0e2-2175-4948-8a4a-96924aa0786a" providerId="ADAL" clId="{54D8577C-5196-4E3B-AC07-5AAB674B8325}" dt="2025-02-06T15:55:23.852" v="1125" actId="478"/>
          <ac:spMkLst>
            <pc:docMk/>
            <pc:sldMk cId="1108136930" sldId="2147378728"/>
            <ac:spMk id="4" creationId="{6B179B1C-2B30-9456-8716-4F370BD2B57C}"/>
          </ac:spMkLst>
        </pc:spChg>
        <pc:spChg chg="mod">
          <ac:chgData name="森田 光貴" userId="314cf0e2-2175-4948-8a4a-96924aa0786a" providerId="ADAL" clId="{54D8577C-5196-4E3B-AC07-5AAB674B8325}" dt="2025-02-06T16:14:28.711" v="1713" actId="20577"/>
          <ac:spMkLst>
            <pc:docMk/>
            <pc:sldMk cId="1108136930" sldId="2147378728"/>
            <ac:spMk id="6" creationId="{06F06DD2-9B90-695B-AD25-50F75DE8988B}"/>
          </ac:spMkLst>
        </pc:spChg>
        <pc:spChg chg="add mod">
          <ac:chgData name="森田 光貴" userId="314cf0e2-2175-4948-8a4a-96924aa0786a" providerId="ADAL" clId="{54D8577C-5196-4E3B-AC07-5AAB674B8325}" dt="2025-02-06T16:00:36.046" v="1492" actId="1036"/>
          <ac:spMkLst>
            <pc:docMk/>
            <pc:sldMk cId="1108136930" sldId="2147378728"/>
            <ac:spMk id="7" creationId="{9E1F97B9-D0E5-41B1-D2C7-9ACEFF3039F1}"/>
          </ac:spMkLst>
        </pc:spChg>
        <pc:spChg chg="add mod">
          <ac:chgData name="森田 光貴" userId="314cf0e2-2175-4948-8a4a-96924aa0786a" providerId="ADAL" clId="{54D8577C-5196-4E3B-AC07-5AAB674B8325}" dt="2025-02-06T16:00:43.136" v="1501" actId="1036"/>
          <ac:spMkLst>
            <pc:docMk/>
            <pc:sldMk cId="1108136930" sldId="2147378728"/>
            <ac:spMk id="8" creationId="{9806A545-7B24-7E3B-5128-CCBF51102301}"/>
          </ac:spMkLst>
        </pc:spChg>
        <pc:spChg chg="add mod">
          <ac:chgData name="森田 光貴" userId="314cf0e2-2175-4948-8a4a-96924aa0786a" providerId="ADAL" clId="{54D8577C-5196-4E3B-AC07-5AAB674B8325}" dt="2025-02-07T00:59:35.342" v="3639"/>
          <ac:spMkLst>
            <pc:docMk/>
            <pc:sldMk cId="1108136930" sldId="2147378728"/>
            <ac:spMk id="12" creationId="{97073F6A-3E4A-69EF-5342-4F0020D33B85}"/>
          </ac:spMkLst>
        </pc:spChg>
        <pc:spChg chg="add mod">
          <ac:chgData name="森田 光貴" userId="314cf0e2-2175-4948-8a4a-96924aa0786a" providerId="ADAL" clId="{54D8577C-5196-4E3B-AC07-5AAB674B8325}" dt="2025-02-06T16:00:43.136" v="1501" actId="1036"/>
          <ac:spMkLst>
            <pc:docMk/>
            <pc:sldMk cId="1108136930" sldId="2147378728"/>
            <ac:spMk id="14" creationId="{C01E8876-7CB8-4130-D9EB-1A867271B772}"/>
          </ac:spMkLst>
        </pc:spChg>
        <pc:spChg chg="add mod">
          <ac:chgData name="森田 光貴" userId="314cf0e2-2175-4948-8a4a-96924aa0786a" providerId="ADAL" clId="{54D8577C-5196-4E3B-AC07-5AAB674B8325}" dt="2025-02-07T01:00:16.088" v="3658"/>
          <ac:spMkLst>
            <pc:docMk/>
            <pc:sldMk cId="1108136930" sldId="2147378728"/>
            <ac:spMk id="15" creationId="{E5C9762A-A073-07A3-7CE0-56A1CD76D492}"/>
          </ac:spMkLst>
        </pc:spChg>
        <pc:spChg chg="add del mod">
          <ac:chgData name="森田 光貴" userId="314cf0e2-2175-4948-8a4a-96924aa0786a" providerId="ADAL" clId="{54D8577C-5196-4E3B-AC07-5AAB674B8325}" dt="2025-02-07T03:58:45.127" v="6315" actId="478"/>
          <ac:spMkLst>
            <pc:docMk/>
            <pc:sldMk cId="1108136930" sldId="2147378728"/>
            <ac:spMk id="16" creationId="{B5953DB6-F86D-D7C6-0536-1D8DF4D8F2C7}"/>
          </ac:spMkLst>
        </pc:spChg>
        <pc:spChg chg="mod">
          <ac:chgData name="森田 光貴" userId="314cf0e2-2175-4948-8a4a-96924aa0786a" providerId="ADAL" clId="{54D8577C-5196-4E3B-AC07-5AAB674B8325}" dt="2025-02-06T16:00:19.577" v="1477" actId="1036"/>
          <ac:spMkLst>
            <pc:docMk/>
            <pc:sldMk cId="1108136930" sldId="2147378728"/>
            <ac:spMk id="17" creationId="{53F10FF5-7C3A-04E7-4D0E-3EC2A9EB89FC}"/>
          </ac:spMkLst>
        </pc:spChg>
        <pc:spChg chg="mod">
          <ac:chgData name="森田 光貴" userId="314cf0e2-2175-4948-8a4a-96924aa0786a" providerId="ADAL" clId="{54D8577C-5196-4E3B-AC07-5AAB674B8325}" dt="2025-02-06T16:00:26.413" v="1485" actId="1036"/>
          <ac:spMkLst>
            <pc:docMk/>
            <pc:sldMk cId="1108136930" sldId="2147378728"/>
            <ac:spMk id="22" creationId="{E3A53034-9097-A2B0-BA00-9805C113B3C4}"/>
          </ac:spMkLst>
        </pc:spChg>
        <pc:spChg chg="del mod">
          <ac:chgData name="森田 光貴" userId="314cf0e2-2175-4948-8a4a-96924aa0786a" providerId="ADAL" clId="{54D8577C-5196-4E3B-AC07-5AAB674B8325}" dt="2025-02-06T15:55:13.537" v="1122" actId="478"/>
          <ac:spMkLst>
            <pc:docMk/>
            <pc:sldMk cId="1108136930" sldId="2147378728"/>
            <ac:spMk id="23" creationId="{548B53C1-9515-859C-4FF6-ED37AFEFE4B3}"/>
          </ac:spMkLst>
        </pc:spChg>
        <pc:spChg chg="mod">
          <ac:chgData name="森田 光貴" userId="314cf0e2-2175-4948-8a4a-96924aa0786a" providerId="ADAL" clId="{54D8577C-5196-4E3B-AC07-5AAB674B8325}" dt="2025-02-06T15:50:01.489" v="813" actId="14100"/>
          <ac:spMkLst>
            <pc:docMk/>
            <pc:sldMk cId="1108136930" sldId="2147378728"/>
            <ac:spMk id="25" creationId="{B623064F-1224-9D0A-91B9-574A09BD6B31}"/>
          </ac:spMkLst>
        </pc:spChg>
        <pc:spChg chg="mod">
          <ac:chgData name="森田 光貴" userId="314cf0e2-2175-4948-8a4a-96924aa0786a" providerId="ADAL" clId="{54D8577C-5196-4E3B-AC07-5AAB674B8325}" dt="2025-02-06T15:39:26.134" v="624"/>
          <ac:spMkLst>
            <pc:docMk/>
            <pc:sldMk cId="1108136930" sldId="2147378728"/>
            <ac:spMk id="28" creationId="{90FD0E77-3888-581E-76F2-D03B3D6A162F}"/>
          </ac:spMkLst>
        </pc:spChg>
        <pc:spChg chg="mod">
          <ac:chgData name="森田 光貴" userId="314cf0e2-2175-4948-8a4a-96924aa0786a" providerId="ADAL" clId="{54D8577C-5196-4E3B-AC07-5AAB674B8325}" dt="2025-02-06T16:00:19.577" v="1477" actId="1036"/>
          <ac:spMkLst>
            <pc:docMk/>
            <pc:sldMk cId="1108136930" sldId="2147378728"/>
            <ac:spMk id="29" creationId="{51548927-EDC2-8320-9763-1100DEEB5C3D}"/>
          </ac:spMkLst>
        </pc:spChg>
        <pc:spChg chg="mod">
          <ac:chgData name="森田 光貴" userId="314cf0e2-2175-4948-8a4a-96924aa0786a" providerId="ADAL" clId="{54D8577C-5196-4E3B-AC07-5AAB674B8325}" dt="2025-02-06T15:40:21.907" v="649" actId="207"/>
          <ac:spMkLst>
            <pc:docMk/>
            <pc:sldMk cId="1108136930" sldId="2147378728"/>
            <ac:spMk id="30" creationId="{ABA7E6E7-22B8-6897-CAD1-5BB1F7243A11}"/>
          </ac:spMkLst>
        </pc:spChg>
        <pc:spChg chg="mod">
          <ac:chgData name="森田 光貴" userId="314cf0e2-2175-4948-8a4a-96924aa0786a" providerId="ADAL" clId="{54D8577C-5196-4E3B-AC07-5AAB674B8325}" dt="2025-02-06T16:00:19.577" v="1477" actId="1036"/>
          <ac:spMkLst>
            <pc:docMk/>
            <pc:sldMk cId="1108136930" sldId="2147378728"/>
            <ac:spMk id="31" creationId="{97AC2652-6A11-4525-3831-C5116BDDAFD4}"/>
          </ac:spMkLst>
        </pc:spChg>
        <pc:spChg chg="mod">
          <ac:chgData name="森田 光貴" userId="314cf0e2-2175-4948-8a4a-96924aa0786a" providerId="ADAL" clId="{54D8577C-5196-4E3B-AC07-5AAB674B8325}" dt="2025-02-06T16:00:26.413" v="1485" actId="1036"/>
          <ac:spMkLst>
            <pc:docMk/>
            <pc:sldMk cId="1108136930" sldId="2147378728"/>
            <ac:spMk id="32" creationId="{226A0974-299A-DA5C-F13B-FA16A7D473D9}"/>
          </ac:spMkLst>
        </pc:spChg>
        <pc:spChg chg="mod">
          <ac:chgData name="森田 光貴" userId="314cf0e2-2175-4948-8a4a-96924aa0786a" providerId="ADAL" clId="{54D8577C-5196-4E3B-AC07-5AAB674B8325}" dt="2025-02-06T16:00:26.413" v="1485" actId="1036"/>
          <ac:spMkLst>
            <pc:docMk/>
            <pc:sldMk cId="1108136930" sldId="2147378728"/>
            <ac:spMk id="33" creationId="{C9FC6D16-CAD4-5B3E-F8B5-81D2A2D8CDCA}"/>
          </ac:spMkLst>
        </pc:spChg>
        <pc:spChg chg="del mod">
          <ac:chgData name="森田 光貴" userId="314cf0e2-2175-4948-8a4a-96924aa0786a" providerId="ADAL" clId="{54D8577C-5196-4E3B-AC07-5AAB674B8325}" dt="2025-02-06T15:55:16.349" v="1123" actId="478"/>
          <ac:spMkLst>
            <pc:docMk/>
            <pc:sldMk cId="1108136930" sldId="2147378728"/>
            <ac:spMk id="34" creationId="{C89FC4AA-2731-E92F-D907-2D16595912E8}"/>
          </ac:spMkLst>
        </pc:spChg>
        <pc:spChg chg="del mod">
          <ac:chgData name="森田 光貴" userId="314cf0e2-2175-4948-8a4a-96924aa0786a" providerId="ADAL" clId="{54D8577C-5196-4E3B-AC07-5AAB674B8325}" dt="2025-02-06T15:53:51.958" v="1033" actId="478"/>
          <ac:spMkLst>
            <pc:docMk/>
            <pc:sldMk cId="1108136930" sldId="2147378728"/>
            <ac:spMk id="35" creationId="{708AB7D6-2CDF-65E4-DFCF-96EFAC6FF818}"/>
          </ac:spMkLst>
        </pc:spChg>
        <pc:spChg chg="add mod">
          <ac:chgData name="森田 光貴" userId="314cf0e2-2175-4948-8a4a-96924aa0786a" providerId="ADAL" clId="{54D8577C-5196-4E3B-AC07-5AAB674B8325}" dt="2025-02-07T03:59:22.061" v="6321" actId="20577"/>
          <ac:spMkLst>
            <pc:docMk/>
            <pc:sldMk cId="1108136930" sldId="2147378728"/>
            <ac:spMk id="36" creationId="{53AE2DB5-E8E9-D05F-00E2-5156E585C9A8}"/>
          </ac:spMkLst>
        </pc:spChg>
        <pc:cxnChg chg="add mod">
          <ac:chgData name="森田 光貴" userId="314cf0e2-2175-4948-8a4a-96924aa0786a" providerId="ADAL" clId="{54D8577C-5196-4E3B-AC07-5AAB674B8325}" dt="2025-02-06T16:00:43.136" v="1501" actId="1036"/>
          <ac:cxnSpMkLst>
            <pc:docMk/>
            <pc:sldMk cId="1108136930" sldId="2147378728"/>
            <ac:cxnSpMk id="10" creationId="{7AB227D4-2B59-71E8-9257-8212D4AA605A}"/>
          </ac:cxnSpMkLst>
        </pc:cxnChg>
        <pc:cxnChg chg="add mod">
          <ac:chgData name="森田 光貴" userId="314cf0e2-2175-4948-8a4a-96924aa0786a" providerId="ADAL" clId="{54D8577C-5196-4E3B-AC07-5AAB674B8325}" dt="2025-02-06T16:00:43.136" v="1501" actId="1036"/>
          <ac:cxnSpMkLst>
            <pc:docMk/>
            <pc:sldMk cId="1108136930" sldId="2147378728"/>
            <ac:cxnSpMk id="13" creationId="{DF0A3789-2513-7F7E-6347-DBBE95C7B4F6}"/>
          </ac:cxnSpMkLst>
        </pc:cxnChg>
        <pc:cxnChg chg="mod">
          <ac:chgData name="森田 光貴" userId="314cf0e2-2175-4948-8a4a-96924aa0786a" providerId="ADAL" clId="{54D8577C-5196-4E3B-AC07-5AAB674B8325}" dt="2025-02-06T16:00:19.577" v="1477" actId="1036"/>
          <ac:cxnSpMkLst>
            <pc:docMk/>
            <pc:sldMk cId="1108136930" sldId="2147378728"/>
            <ac:cxnSpMk id="24" creationId="{67CF960F-BF89-4129-340B-68AB5FDE8755}"/>
          </ac:cxnSpMkLst>
        </pc:cxnChg>
        <pc:cxnChg chg="mod">
          <ac:chgData name="森田 光貴" userId="314cf0e2-2175-4948-8a4a-96924aa0786a" providerId="ADAL" clId="{54D8577C-5196-4E3B-AC07-5AAB674B8325}" dt="2025-02-06T16:00:26.413" v="1485" actId="1036"/>
          <ac:cxnSpMkLst>
            <pc:docMk/>
            <pc:sldMk cId="1108136930" sldId="2147378728"/>
            <ac:cxnSpMk id="26" creationId="{D275D890-34D1-720A-5568-058C5CE60E89}"/>
          </ac:cxnSpMkLst>
        </pc:cxnChg>
        <pc:cxnChg chg="mod">
          <ac:chgData name="森田 光貴" userId="314cf0e2-2175-4948-8a4a-96924aa0786a" providerId="ADAL" clId="{54D8577C-5196-4E3B-AC07-5AAB674B8325}" dt="2025-02-06T16:00:36.046" v="1492" actId="1036"/>
          <ac:cxnSpMkLst>
            <pc:docMk/>
            <pc:sldMk cId="1108136930" sldId="2147378728"/>
            <ac:cxnSpMk id="27" creationId="{E7CB3556-2936-30A4-AEC6-65D0A1738CDB}"/>
          </ac:cxnSpMkLst>
        </pc:cxnChg>
      </pc:sldChg>
      <pc:sldChg chg="addSp delSp modSp mod">
        <pc:chgData name="森田 光貴" userId="314cf0e2-2175-4948-8a4a-96924aa0786a" providerId="ADAL" clId="{54D8577C-5196-4E3B-AC07-5AAB674B8325}" dt="2025-02-07T03:59:38.525" v="6325"/>
        <pc:sldMkLst>
          <pc:docMk/>
          <pc:sldMk cId="2933890016" sldId="2147378729"/>
        </pc:sldMkLst>
        <pc:spChg chg="add del mod">
          <ac:chgData name="森田 光貴" userId="314cf0e2-2175-4948-8a4a-96924aa0786a" providerId="ADAL" clId="{54D8577C-5196-4E3B-AC07-5AAB674B8325}" dt="2025-02-07T03:59:37.117" v="6324" actId="478"/>
          <ac:spMkLst>
            <pc:docMk/>
            <pc:sldMk cId="2933890016" sldId="2147378729"/>
            <ac:spMk id="3" creationId="{61CA821C-76E3-1202-90AF-B187325E1F32}"/>
          </ac:spMkLst>
        </pc:spChg>
        <pc:spChg chg="add mod">
          <ac:chgData name="森田 光貴" userId="314cf0e2-2175-4948-8a4a-96924aa0786a" providerId="ADAL" clId="{54D8577C-5196-4E3B-AC07-5AAB674B8325}" dt="2025-02-07T03:59:38.525" v="6325"/>
          <ac:spMkLst>
            <pc:docMk/>
            <pc:sldMk cId="2933890016" sldId="2147378729"/>
            <ac:spMk id="4" creationId="{59E4C0AC-1EA3-A883-AD00-D81FA7B914F5}"/>
          </ac:spMkLst>
        </pc:spChg>
        <pc:spChg chg="mod">
          <ac:chgData name="森田 光貴" userId="314cf0e2-2175-4948-8a4a-96924aa0786a" providerId="ADAL" clId="{54D8577C-5196-4E3B-AC07-5AAB674B8325}" dt="2025-02-06T16:01:51.820" v="1581" actId="207"/>
          <ac:spMkLst>
            <pc:docMk/>
            <pc:sldMk cId="2933890016" sldId="2147378729"/>
            <ac:spMk id="17" creationId="{53F10FF5-7C3A-04E7-4D0E-3EC2A9EB89FC}"/>
          </ac:spMkLst>
        </pc:spChg>
        <pc:spChg chg="mod">
          <ac:chgData name="森田 光貴" userId="314cf0e2-2175-4948-8a4a-96924aa0786a" providerId="ADAL" clId="{54D8577C-5196-4E3B-AC07-5AAB674B8325}" dt="2025-02-06T16:02:41.443" v="1599" actId="207"/>
          <ac:spMkLst>
            <pc:docMk/>
            <pc:sldMk cId="2933890016" sldId="2147378729"/>
            <ac:spMk id="22" creationId="{E3A53034-9097-A2B0-BA00-9805C113B3C4}"/>
          </ac:spMkLst>
        </pc:spChg>
        <pc:spChg chg="mod">
          <ac:chgData name="森田 光貴" userId="314cf0e2-2175-4948-8a4a-96924aa0786a" providerId="ADAL" clId="{54D8577C-5196-4E3B-AC07-5AAB674B8325}" dt="2025-02-06T16:03:10.610" v="1611"/>
          <ac:spMkLst>
            <pc:docMk/>
            <pc:sldMk cId="2933890016" sldId="2147378729"/>
            <ac:spMk id="23" creationId="{548B53C1-9515-859C-4FF6-ED37AFEFE4B3}"/>
          </ac:spMkLst>
        </pc:spChg>
        <pc:spChg chg="mod">
          <ac:chgData name="森田 光貴" userId="314cf0e2-2175-4948-8a4a-96924aa0786a" providerId="ADAL" clId="{54D8577C-5196-4E3B-AC07-5AAB674B8325}" dt="2025-02-06T16:01:32.570" v="1550" actId="207"/>
          <ac:spMkLst>
            <pc:docMk/>
            <pc:sldMk cId="2933890016" sldId="2147378729"/>
            <ac:spMk id="25" creationId="{B623064F-1224-9D0A-91B9-574A09BD6B31}"/>
          </ac:spMkLst>
        </pc:spChg>
        <pc:spChg chg="mod">
          <ac:chgData name="森田 光貴" userId="314cf0e2-2175-4948-8a4a-96924aa0786a" providerId="ADAL" clId="{54D8577C-5196-4E3B-AC07-5AAB674B8325}" dt="2025-02-07T03:14:36.861" v="5397"/>
          <ac:spMkLst>
            <pc:docMk/>
            <pc:sldMk cId="2933890016" sldId="2147378729"/>
            <ac:spMk id="28" creationId="{90FD0E77-3888-581E-76F2-D03B3D6A162F}"/>
          </ac:spMkLst>
        </pc:spChg>
        <pc:spChg chg="mod">
          <ac:chgData name="森田 光貴" userId="314cf0e2-2175-4948-8a4a-96924aa0786a" providerId="ADAL" clId="{54D8577C-5196-4E3B-AC07-5AAB674B8325}" dt="2025-02-07T03:14:48.604" v="5400"/>
          <ac:spMkLst>
            <pc:docMk/>
            <pc:sldMk cId="2933890016" sldId="2147378729"/>
            <ac:spMk id="29" creationId="{51548927-EDC2-8320-9763-1100DEEB5C3D}"/>
          </ac:spMkLst>
        </pc:spChg>
        <pc:spChg chg="mod">
          <ac:chgData name="森田 光貴" userId="314cf0e2-2175-4948-8a4a-96924aa0786a" providerId="ADAL" clId="{54D8577C-5196-4E3B-AC07-5AAB674B8325}" dt="2025-02-07T03:14:42.734" v="5398"/>
          <ac:spMkLst>
            <pc:docMk/>
            <pc:sldMk cId="2933890016" sldId="2147378729"/>
            <ac:spMk id="30" creationId="{ABA7E6E7-22B8-6897-CAD1-5BB1F7243A11}"/>
          </ac:spMkLst>
        </pc:spChg>
        <pc:spChg chg="mod">
          <ac:chgData name="森田 光貴" userId="314cf0e2-2175-4948-8a4a-96924aa0786a" providerId="ADAL" clId="{54D8577C-5196-4E3B-AC07-5AAB674B8325}" dt="2025-02-07T03:14:55.822" v="5403"/>
          <ac:spMkLst>
            <pc:docMk/>
            <pc:sldMk cId="2933890016" sldId="2147378729"/>
            <ac:spMk id="31" creationId="{97AC2652-6A11-4525-3831-C5116BDDAFD4}"/>
          </ac:spMkLst>
        </pc:spChg>
        <pc:spChg chg="mod">
          <ac:chgData name="森田 光貴" userId="314cf0e2-2175-4948-8a4a-96924aa0786a" providerId="ADAL" clId="{54D8577C-5196-4E3B-AC07-5AAB674B8325}" dt="2025-02-07T03:15:03.400" v="5407"/>
          <ac:spMkLst>
            <pc:docMk/>
            <pc:sldMk cId="2933890016" sldId="2147378729"/>
            <ac:spMk id="32" creationId="{226A0974-299A-DA5C-F13B-FA16A7D473D9}"/>
          </ac:spMkLst>
        </pc:spChg>
        <pc:spChg chg="mod">
          <ac:chgData name="森田 光貴" userId="314cf0e2-2175-4948-8a4a-96924aa0786a" providerId="ADAL" clId="{54D8577C-5196-4E3B-AC07-5AAB674B8325}" dt="2025-02-07T03:15:06.945" v="5410"/>
          <ac:spMkLst>
            <pc:docMk/>
            <pc:sldMk cId="2933890016" sldId="2147378729"/>
            <ac:spMk id="33" creationId="{C9FC6D16-CAD4-5B3E-F8B5-81D2A2D8CDCA}"/>
          </ac:spMkLst>
        </pc:spChg>
        <pc:spChg chg="mod">
          <ac:chgData name="森田 光貴" userId="314cf0e2-2175-4948-8a4a-96924aa0786a" providerId="ADAL" clId="{54D8577C-5196-4E3B-AC07-5AAB674B8325}" dt="2025-02-07T03:15:19.268" v="5420"/>
          <ac:spMkLst>
            <pc:docMk/>
            <pc:sldMk cId="2933890016" sldId="2147378729"/>
            <ac:spMk id="34" creationId="{C89FC4AA-2731-E92F-D907-2D16595912E8}"/>
          </ac:spMkLst>
        </pc:spChg>
        <pc:spChg chg="mod">
          <ac:chgData name="森田 光貴" userId="314cf0e2-2175-4948-8a4a-96924aa0786a" providerId="ADAL" clId="{54D8577C-5196-4E3B-AC07-5AAB674B8325}" dt="2025-02-07T03:15:23.401" v="5423"/>
          <ac:spMkLst>
            <pc:docMk/>
            <pc:sldMk cId="2933890016" sldId="2147378729"/>
            <ac:spMk id="35" creationId="{708AB7D6-2CDF-65E4-DFCF-96EFAC6FF818}"/>
          </ac:spMkLst>
        </pc:spChg>
      </pc:sldChg>
      <pc:sldChg chg="modSp mod">
        <pc:chgData name="森田 光貴" userId="314cf0e2-2175-4948-8a4a-96924aa0786a" providerId="ADAL" clId="{54D8577C-5196-4E3B-AC07-5AAB674B8325}" dt="2025-02-07T12:36:41.792" v="8253"/>
        <pc:sldMkLst>
          <pc:docMk/>
          <pc:sldMk cId="2433251148" sldId="2147378730"/>
        </pc:sldMkLst>
        <pc:graphicFrameChg chg="mod modGraphic">
          <ac:chgData name="森田 光貴" userId="314cf0e2-2175-4948-8a4a-96924aa0786a" providerId="ADAL" clId="{54D8577C-5196-4E3B-AC07-5AAB674B8325}" dt="2025-02-07T12:36:41.792" v="8253"/>
          <ac:graphicFrameMkLst>
            <pc:docMk/>
            <pc:sldMk cId="2433251148" sldId="2147378730"/>
            <ac:graphicFrameMk id="32" creationId="{3B80BC24-01AA-213D-76FD-38F653AD9B7C}"/>
          </ac:graphicFrameMkLst>
        </pc:graphicFrameChg>
      </pc:sldChg>
      <pc:sldChg chg="addSp delSp modSp mod">
        <pc:chgData name="森田 光貴" userId="314cf0e2-2175-4948-8a4a-96924aa0786a" providerId="ADAL" clId="{54D8577C-5196-4E3B-AC07-5AAB674B8325}" dt="2025-02-07T02:21:14.891" v="4325"/>
        <pc:sldMkLst>
          <pc:docMk/>
          <pc:sldMk cId="866572055" sldId="2147378731"/>
        </pc:sldMkLst>
        <pc:spChg chg="mod">
          <ac:chgData name="森田 光貴" userId="314cf0e2-2175-4948-8a4a-96924aa0786a" providerId="ADAL" clId="{54D8577C-5196-4E3B-AC07-5AAB674B8325}" dt="2025-02-06T16:43:54.287" v="2237" actId="207"/>
          <ac:spMkLst>
            <pc:docMk/>
            <pc:sldMk cId="866572055" sldId="2147378731"/>
            <ac:spMk id="13" creationId="{EDAD2185-EC0D-868E-795C-E7F2FB4ACC64}"/>
          </ac:spMkLst>
        </pc:spChg>
        <pc:spChg chg="mod">
          <ac:chgData name="森田 光貴" userId="314cf0e2-2175-4948-8a4a-96924aa0786a" providerId="ADAL" clId="{54D8577C-5196-4E3B-AC07-5AAB674B8325}" dt="2025-02-06T16:44:40.722" v="2284"/>
          <ac:spMkLst>
            <pc:docMk/>
            <pc:sldMk cId="866572055" sldId="2147378731"/>
            <ac:spMk id="14" creationId="{EB154E72-D468-E337-5176-249A512E7AD4}"/>
          </ac:spMkLst>
        </pc:spChg>
        <pc:spChg chg="add del mod">
          <ac:chgData name="森田 光貴" userId="314cf0e2-2175-4948-8a4a-96924aa0786a" providerId="ADAL" clId="{54D8577C-5196-4E3B-AC07-5AAB674B8325}" dt="2025-02-07T02:21:11.660" v="4324" actId="478"/>
          <ac:spMkLst>
            <pc:docMk/>
            <pc:sldMk cId="866572055" sldId="2147378731"/>
            <ac:spMk id="15" creationId="{2AF36397-1CF7-93E8-B3F7-0CDAA7783A39}"/>
          </ac:spMkLst>
        </pc:spChg>
        <pc:spChg chg="add mod">
          <ac:chgData name="森田 光貴" userId="314cf0e2-2175-4948-8a4a-96924aa0786a" providerId="ADAL" clId="{54D8577C-5196-4E3B-AC07-5AAB674B8325}" dt="2025-02-07T02:21:14.891" v="4325"/>
          <ac:spMkLst>
            <pc:docMk/>
            <pc:sldMk cId="866572055" sldId="2147378731"/>
            <ac:spMk id="16" creationId="{7D1DF7C9-B22D-7878-CE7C-F671592FAA6D}"/>
          </ac:spMkLst>
        </pc:spChg>
      </pc:sldChg>
      <pc:sldChg chg="addSp delSp modSp mod">
        <pc:chgData name="森田 光貴" userId="314cf0e2-2175-4948-8a4a-96924aa0786a" providerId="ADAL" clId="{54D8577C-5196-4E3B-AC07-5AAB674B8325}" dt="2025-02-07T02:21:22.063" v="4327"/>
        <pc:sldMkLst>
          <pc:docMk/>
          <pc:sldMk cId="2588649303" sldId="2147378732"/>
        </pc:sldMkLst>
        <pc:spChg chg="mod">
          <ac:chgData name="森田 光貴" userId="314cf0e2-2175-4948-8a4a-96924aa0786a" providerId="ADAL" clId="{54D8577C-5196-4E3B-AC07-5AAB674B8325}" dt="2025-02-06T17:01:41.043" v="3081" actId="207"/>
          <ac:spMkLst>
            <pc:docMk/>
            <pc:sldMk cId="2588649303" sldId="2147378732"/>
            <ac:spMk id="13" creationId="{EDAD2185-EC0D-868E-795C-E7F2FB4ACC64}"/>
          </ac:spMkLst>
        </pc:spChg>
        <pc:spChg chg="mod">
          <ac:chgData name="森田 光貴" userId="314cf0e2-2175-4948-8a4a-96924aa0786a" providerId="ADAL" clId="{54D8577C-5196-4E3B-AC07-5AAB674B8325}" dt="2025-02-07T01:18:25.566" v="4017"/>
          <ac:spMkLst>
            <pc:docMk/>
            <pc:sldMk cId="2588649303" sldId="2147378732"/>
            <ac:spMk id="14" creationId="{EB154E72-D468-E337-5176-249A512E7AD4}"/>
          </ac:spMkLst>
        </pc:spChg>
        <pc:spChg chg="add del mod">
          <ac:chgData name="森田 光貴" userId="314cf0e2-2175-4948-8a4a-96924aa0786a" providerId="ADAL" clId="{54D8577C-5196-4E3B-AC07-5AAB674B8325}" dt="2025-02-07T02:21:19.341" v="4326" actId="478"/>
          <ac:spMkLst>
            <pc:docMk/>
            <pc:sldMk cId="2588649303" sldId="2147378732"/>
            <ac:spMk id="15" creationId="{CDDAFBA8-DBA5-90DC-D23E-19643EEC63F6}"/>
          </ac:spMkLst>
        </pc:spChg>
        <pc:spChg chg="add mod">
          <ac:chgData name="森田 光貴" userId="314cf0e2-2175-4948-8a4a-96924aa0786a" providerId="ADAL" clId="{54D8577C-5196-4E3B-AC07-5AAB674B8325}" dt="2025-02-07T02:21:22.063" v="4327"/>
          <ac:spMkLst>
            <pc:docMk/>
            <pc:sldMk cId="2588649303" sldId="2147378732"/>
            <ac:spMk id="16" creationId="{088ECDFF-B871-3B4F-0FC7-C986C6F1A6FC}"/>
          </ac:spMkLst>
        </pc:spChg>
      </pc:sldChg>
      <pc:sldChg chg="addSp delSp modSp mod">
        <pc:chgData name="森田 光貴" userId="314cf0e2-2175-4948-8a4a-96924aa0786a" providerId="ADAL" clId="{54D8577C-5196-4E3B-AC07-5AAB674B8325}" dt="2025-02-07T03:51:07.714" v="6305"/>
        <pc:sldMkLst>
          <pc:docMk/>
          <pc:sldMk cId="1978006436" sldId="2147378733"/>
        </pc:sldMkLst>
        <pc:spChg chg="add mod">
          <ac:chgData name="森田 光貴" userId="314cf0e2-2175-4948-8a4a-96924aa0786a" providerId="ADAL" clId="{54D8577C-5196-4E3B-AC07-5AAB674B8325}" dt="2025-02-07T02:46:43.888" v="4954"/>
          <ac:spMkLst>
            <pc:docMk/>
            <pc:sldMk cId="1978006436" sldId="2147378733"/>
            <ac:spMk id="11" creationId="{A12A54EC-FA39-9EC7-4DA0-3FF3D4DE53BD}"/>
          </ac:spMkLst>
        </pc:spChg>
        <pc:spChg chg="mod">
          <ac:chgData name="森田 光貴" userId="314cf0e2-2175-4948-8a4a-96924aa0786a" providerId="ADAL" clId="{54D8577C-5196-4E3B-AC07-5AAB674B8325}" dt="2025-02-07T03:51:07.714" v="6305"/>
          <ac:spMkLst>
            <pc:docMk/>
            <pc:sldMk cId="1978006436" sldId="2147378733"/>
            <ac:spMk id="13" creationId="{EDAD2185-EC0D-868E-795C-E7F2FB4ACC64}"/>
          </ac:spMkLst>
        </pc:spChg>
        <pc:spChg chg="del">
          <ac:chgData name="森田 光貴" userId="314cf0e2-2175-4948-8a4a-96924aa0786a" providerId="ADAL" clId="{54D8577C-5196-4E3B-AC07-5AAB674B8325}" dt="2025-02-07T01:20:53.309" v="4055" actId="478"/>
          <ac:spMkLst>
            <pc:docMk/>
            <pc:sldMk cId="1978006436" sldId="2147378733"/>
            <ac:spMk id="14" creationId="{18C1D74E-EB9E-1CE0-ED28-285496344003}"/>
          </ac:spMkLst>
        </pc:spChg>
        <pc:spChg chg="add mod">
          <ac:chgData name="森田 光貴" userId="314cf0e2-2175-4948-8a4a-96924aa0786a" providerId="ADAL" clId="{54D8577C-5196-4E3B-AC07-5AAB674B8325}" dt="2025-02-07T01:20:55.103" v="4056"/>
          <ac:spMkLst>
            <pc:docMk/>
            <pc:sldMk cId="1978006436" sldId="2147378733"/>
            <ac:spMk id="16" creationId="{6AFFC85C-4915-C68E-6642-AACE2FECBCFD}"/>
          </ac:spMkLst>
        </pc:spChg>
      </pc:sldChg>
      <pc:sldChg chg="addSp delSp modSp mod">
        <pc:chgData name="森田 光貴" userId="314cf0e2-2175-4948-8a4a-96924aa0786a" providerId="ADAL" clId="{54D8577C-5196-4E3B-AC07-5AAB674B8325}" dt="2025-02-07T03:45:41.650" v="5906" actId="20577"/>
        <pc:sldMkLst>
          <pc:docMk/>
          <pc:sldMk cId="1849280669" sldId="2147378734"/>
        </pc:sldMkLst>
        <pc:spChg chg="add mod">
          <ac:chgData name="森田 光貴" userId="314cf0e2-2175-4948-8a4a-96924aa0786a" providerId="ADAL" clId="{54D8577C-5196-4E3B-AC07-5AAB674B8325}" dt="2025-02-07T02:47:40.916" v="5021"/>
          <ac:spMkLst>
            <pc:docMk/>
            <pc:sldMk cId="1849280669" sldId="2147378734"/>
            <ac:spMk id="11" creationId="{7AD700B5-152F-F8C1-01F8-E4F93E6DE0A2}"/>
          </ac:spMkLst>
        </pc:spChg>
        <pc:spChg chg="mod">
          <ac:chgData name="森田 光貴" userId="314cf0e2-2175-4948-8a4a-96924aa0786a" providerId="ADAL" clId="{54D8577C-5196-4E3B-AC07-5AAB674B8325}" dt="2025-02-07T03:45:41.650" v="5906" actId="20577"/>
          <ac:spMkLst>
            <pc:docMk/>
            <pc:sldMk cId="1849280669" sldId="2147378734"/>
            <ac:spMk id="13" creationId="{EDAD2185-EC0D-868E-795C-E7F2FB4ACC64}"/>
          </ac:spMkLst>
        </pc:spChg>
        <pc:spChg chg="del">
          <ac:chgData name="森田 光貴" userId="314cf0e2-2175-4948-8a4a-96924aa0786a" providerId="ADAL" clId="{54D8577C-5196-4E3B-AC07-5AAB674B8325}" dt="2025-02-07T01:20:57.931" v="4057" actId="478"/>
          <ac:spMkLst>
            <pc:docMk/>
            <pc:sldMk cId="1849280669" sldId="2147378734"/>
            <ac:spMk id="14" creationId="{18C1D74E-EB9E-1CE0-ED28-285496344003}"/>
          </ac:spMkLst>
        </pc:spChg>
        <pc:spChg chg="add mod">
          <ac:chgData name="森田 光貴" userId="314cf0e2-2175-4948-8a4a-96924aa0786a" providerId="ADAL" clId="{54D8577C-5196-4E3B-AC07-5AAB674B8325}" dt="2025-02-07T01:21:00.106" v="4058"/>
          <ac:spMkLst>
            <pc:docMk/>
            <pc:sldMk cId="1849280669" sldId="2147378734"/>
            <ac:spMk id="16" creationId="{BE049EA0-0CE2-CD5F-4666-C5B7AD461329}"/>
          </ac:spMkLst>
        </pc:spChg>
      </pc:sldChg>
      <pc:sldChg chg="addSp delSp modSp mod">
        <pc:chgData name="森田 光貴" userId="314cf0e2-2175-4948-8a4a-96924aa0786a" providerId="ADAL" clId="{54D8577C-5196-4E3B-AC07-5AAB674B8325}" dt="2025-02-07T02:26:03.708" v="4417"/>
        <pc:sldMkLst>
          <pc:docMk/>
          <pc:sldMk cId="4041357983" sldId="2147378735"/>
        </pc:sldMkLst>
        <pc:spChg chg="del">
          <ac:chgData name="森田 光貴" userId="314cf0e2-2175-4948-8a4a-96924aa0786a" providerId="ADAL" clId="{54D8577C-5196-4E3B-AC07-5AAB674B8325}" dt="2025-02-07T02:26:03.345" v="4416" actId="478"/>
          <ac:spMkLst>
            <pc:docMk/>
            <pc:sldMk cId="4041357983" sldId="2147378735"/>
            <ac:spMk id="6" creationId="{37429402-B7AC-B439-B2D0-65A1A7C50A8B}"/>
          </ac:spMkLst>
        </pc:spChg>
        <pc:spChg chg="add mod">
          <ac:chgData name="森田 光貴" userId="314cf0e2-2175-4948-8a4a-96924aa0786a" providerId="ADAL" clId="{54D8577C-5196-4E3B-AC07-5AAB674B8325}" dt="2025-02-07T02:26:03.708" v="4417"/>
          <ac:spMkLst>
            <pc:docMk/>
            <pc:sldMk cId="4041357983" sldId="2147378735"/>
            <ac:spMk id="8" creationId="{7208AD2A-E764-4A33-2FD8-D050A6ABBAE9}"/>
          </ac:spMkLst>
        </pc:spChg>
      </pc:sldChg>
      <pc:sldChg chg="addSp delSp modSp mod">
        <pc:chgData name="森田 光貴" userId="314cf0e2-2175-4948-8a4a-96924aa0786a" providerId="ADAL" clId="{54D8577C-5196-4E3B-AC07-5AAB674B8325}" dt="2025-02-07T02:26:06.954" v="4419"/>
        <pc:sldMkLst>
          <pc:docMk/>
          <pc:sldMk cId="662189618" sldId="2147378736"/>
        </pc:sldMkLst>
        <pc:spChg chg="del">
          <ac:chgData name="森田 光貴" userId="314cf0e2-2175-4948-8a4a-96924aa0786a" providerId="ADAL" clId="{54D8577C-5196-4E3B-AC07-5AAB674B8325}" dt="2025-02-07T02:26:06.554" v="4418" actId="478"/>
          <ac:spMkLst>
            <pc:docMk/>
            <pc:sldMk cId="662189618" sldId="2147378736"/>
            <ac:spMk id="6" creationId="{6A50203E-2E08-24A5-1C8C-6821C3AA528E}"/>
          </ac:spMkLst>
        </pc:spChg>
        <pc:spChg chg="add mod">
          <ac:chgData name="森田 光貴" userId="314cf0e2-2175-4948-8a4a-96924aa0786a" providerId="ADAL" clId="{54D8577C-5196-4E3B-AC07-5AAB674B8325}" dt="2025-02-07T02:26:06.954" v="4419"/>
          <ac:spMkLst>
            <pc:docMk/>
            <pc:sldMk cId="662189618" sldId="2147378736"/>
            <ac:spMk id="8" creationId="{989C3AF3-C4E8-7346-1E45-BFD6A10E9230}"/>
          </ac:spMkLst>
        </pc:spChg>
      </pc:sldChg>
      <pc:sldChg chg="modSp mod">
        <pc:chgData name="森田 光貴" userId="314cf0e2-2175-4948-8a4a-96924aa0786a" providerId="ADAL" clId="{54D8577C-5196-4E3B-AC07-5AAB674B8325}" dt="2025-02-07T02:26:22.080" v="4420" actId="14100"/>
        <pc:sldMkLst>
          <pc:docMk/>
          <pc:sldMk cId="3556400781" sldId="2147378741"/>
        </pc:sldMkLst>
        <pc:spChg chg="mod">
          <ac:chgData name="森田 光貴" userId="314cf0e2-2175-4948-8a4a-96924aa0786a" providerId="ADAL" clId="{54D8577C-5196-4E3B-AC07-5AAB674B8325}" dt="2025-02-07T02:26:22.080" v="4420" actId="14100"/>
          <ac:spMkLst>
            <pc:docMk/>
            <pc:sldMk cId="3556400781" sldId="2147378741"/>
            <ac:spMk id="4" creationId="{A1277F05-26FA-BC40-8E8E-34D0007C0DF7}"/>
          </ac:spMkLst>
        </pc:spChg>
      </pc:sldChg>
      <pc:sldChg chg="modSp mod modCm">
        <pc:chgData name="森田 光貴" userId="314cf0e2-2175-4948-8a4a-96924aa0786a" providerId="ADAL" clId="{54D8577C-5196-4E3B-AC07-5AAB674B8325}" dt="2025-02-07T11:27:36.224" v="7874" actId="6549"/>
        <pc:sldMkLst>
          <pc:docMk/>
          <pc:sldMk cId="4237138605" sldId="2147378742"/>
        </pc:sldMkLst>
        <pc:spChg chg="mod">
          <ac:chgData name="森田 光貴" userId="314cf0e2-2175-4948-8a4a-96924aa0786a" providerId="ADAL" clId="{54D8577C-5196-4E3B-AC07-5AAB674B8325}" dt="2025-02-07T11:27:36.224" v="7874" actId="6549"/>
          <ac:spMkLst>
            <pc:docMk/>
            <pc:sldMk cId="4237138605" sldId="2147378742"/>
            <ac:spMk id="6" creationId="{95B7D5A6-3733-419F-5F47-1323A3D8D852}"/>
          </ac:spMkLst>
        </pc:spChg>
        <pc:spChg chg="mod">
          <ac:chgData name="森田 光貴" userId="314cf0e2-2175-4948-8a4a-96924aa0786a" providerId="ADAL" clId="{54D8577C-5196-4E3B-AC07-5AAB674B8325}" dt="2025-02-07T11:18:24.707" v="7583" actId="1035"/>
          <ac:spMkLst>
            <pc:docMk/>
            <pc:sldMk cId="4237138605" sldId="2147378742"/>
            <ac:spMk id="8" creationId="{95ACE118-4131-DE79-F02F-66722864A02D}"/>
          </ac:spMkLst>
        </pc:spChg>
        <pc:spChg chg="mod">
          <ac:chgData name="森田 光貴" userId="314cf0e2-2175-4948-8a4a-96924aa0786a" providerId="ADAL" clId="{54D8577C-5196-4E3B-AC07-5AAB674B8325}" dt="2025-02-07T11:18:24.707" v="7583" actId="1035"/>
          <ac:spMkLst>
            <pc:docMk/>
            <pc:sldMk cId="4237138605" sldId="2147378742"/>
            <ac:spMk id="12" creationId="{0885EF34-1A86-AA39-1A1A-5F99ABF6B7EF}"/>
          </ac:spMkLst>
        </pc:spChg>
        <pc:grpChg chg="mod">
          <ac:chgData name="森田 光貴" userId="314cf0e2-2175-4948-8a4a-96924aa0786a" providerId="ADAL" clId="{54D8577C-5196-4E3B-AC07-5AAB674B8325}" dt="2025-02-07T11:18:24.707" v="7583" actId="1035"/>
          <ac:grpSpMkLst>
            <pc:docMk/>
            <pc:sldMk cId="4237138605" sldId="2147378742"/>
            <ac:grpSpMk id="3" creationId="{EBC23DA4-F36B-555D-CA5C-39F94E08823F}"/>
          </ac:grpSpMkLst>
        </pc:grpChg>
        <pc:grpChg chg="mod">
          <ac:chgData name="森田 光貴" userId="314cf0e2-2175-4948-8a4a-96924aa0786a" providerId="ADAL" clId="{54D8577C-5196-4E3B-AC07-5AAB674B8325}" dt="2025-02-07T11:18:24.707" v="7583" actId="1035"/>
          <ac:grpSpMkLst>
            <pc:docMk/>
            <pc:sldMk cId="4237138605" sldId="2147378742"/>
            <ac:grpSpMk id="4" creationId="{182836E8-0A6C-6508-BE54-D9FA5966D104}"/>
          </ac:grpSpMkLst>
        </pc:grpChg>
        <pc:grpChg chg="mod">
          <ac:chgData name="森田 光貴" userId="314cf0e2-2175-4948-8a4a-96924aa0786a" providerId="ADAL" clId="{54D8577C-5196-4E3B-AC07-5AAB674B8325}" dt="2025-02-07T11:18:24.707" v="7583" actId="1035"/>
          <ac:grpSpMkLst>
            <pc:docMk/>
            <pc:sldMk cId="4237138605" sldId="2147378742"/>
            <ac:grpSpMk id="7" creationId="{2FB98B28-3911-4D54-DF63-480395E4E9E6}"/>
          </ac:grpSpMkLst>
        </pc:grpChg>
        <pc:cxnChg chg="mod">
          <ac:chgData name="森田 光貴" userId="314cf0e2-2175-4948-8a4a-96924aa0786a" providerId="ADAL" clId="{54D8577C-5196-4E3B-AC07-5AAB674B8325}" dt="2025-02-07T11:18:24.707" v="7583" actId="1035"/>
          <ac:cxnSpMkLst>
            <pc:docMk/>
            <pc:sldMk cId="4237138605" sldId="2147378742"/>
            <ac:cxnSpMk id="10" creationId="{EEF86A98-39B5-3E9C-8313-F6410191C7AD}"/>
          </ac:cxnSpMkLst>
        </pc:cxnChg>
        <pc:cxnChg chg="mod">
          <ac:chgData name="森田 光貴" userId="314cf0e2-2175-4948-8a4a-96924aa0786a" providerId="ADAL" clId="{54D8577C-5196-4E3B-AC07-5AAB674B8325}" dt="2025-02-07T11:18:24.707" v="7583" actId="1035"/>
          <ac:cxnSpMkLst>
            <pc:docMk/>
            <pc:sldMk cId="4237138605" sldId="2147378742"/>
            <ac:cxnSpMk id="13" creationId="{819B2E49-17B8-3727-8812-69FD5702E69C}"/>
          </ac:cxnSpMkLst>
        </pc:cxnChg>
        <pc:extLst>
          <p:ext xmlns:p="http://schemas.openxmlformats.org/presentationml/2006/main" uri="{D6D511B9-2390-475A-947B-AFAB55BFBCF1}">
            <pc226:cmChg xmlns:pc226="http://schemas.microsoft.com/office/powerpoint/2022/06/main/command" chg="mod">
              <pc226:chgData name="森田 光貴" userId="314cf0e2-2175-4948-8a4a-96924aa0786a" providerId="ADAL" clId="{54D8577C-5196-4E3B-AC07-5AAB674B8325}" dt="2025-02-07T11:27:36.224" v="7874" actId="6549"/>
              <pc2:cmMkLst xmlns:pc2="http://schemas.microsoft.com/office/powerpoint/2019/9/main/command">
                <pc:docMk/>
                <pc:sldMk cId="4237138605" sldId="2147378742"/>
                <pc2:cmMk id="{77004874-076B-4049-A0E0-7BA24B50A2A9}"/>
              </pc2:cmMkLst>
            </pc226:cmChg>
          </p:ext>
        </pc:extLst>
      </pc:sldChg>
      <pc:sldChg chg="addSp modSp">
        <pc:chgData name="森田 光貴" userId="314cf0e2-2175-4948-8a4a-96924aa0786a" providerId="ADAL" clId="{54D8577C-5196-4E3B-AC07-5AAB674B8325}" dt="2025-02-07T04:01:46.572" v="6327"/>
        <pc:sldMkLst>
          <pc:docMk/>
          <pc:sldMk cId="3931455884" sldId="2147378743"/>
        </pc:sldMkLst>
        <pc:spChg chg="add mod">
          <ac:chgData name="森田 光貴" userId="314cf0e2-2175-4948-8a4a-96924aa0786a" providerId="ADAL" clId="{54D8577C-5196-4E3B-AC07-5AAB674B8325}" dt="2025-02-07T04:01:46.572" v="6327"/>
          <ac:spMkLst>
            <pc:docMk/>
            <pc:sldMk cId="3931455884" sldId="2147378743"/>
            <ac:spMk id="7" creationId="{EECA8A31-435A-50C0-5983-C69458EFAFD7}"/>
          </ac:spMkLst>
        </pc:spChg>
      </pc:sldChg>
      <pc:sldChg chg="addSp modSp">
        <pc:chgData name="森田 光貴" userId="314cf0e2-2175-4948-8a4a-96924aa0786a" providerId="ADAL" clId="{54D8577C-5196-4E3B-AC07-5AAB674B8325}" dt="2025-02-07T04:01:26.214" v="6326"/>
        <pc:sldMkLst>
          <pc:docMk/>
          <pc:sldMk cId="2340429532" sldId="2147378744"/>
        </pc:sldMkLst>
        <pc:spChg chg="add mod">
          <ac:chgData name="森田 光貴" userId="314cf0e2-2175-4948-8a4a-96924aa0786a" providerId="ADAL" clId="{54D8577C-5196-4E3B-AC07-5AAB674B8325}" dt="2025-02-07T04:01:26.214" v="6326"/>
          <ac:spMkLst>
            <pc:docMk/>
            <pc:sldMk cId="2340429532" sldId="2147378744"/>
            <ac:spMk id="15" creationId="{3C5209FD-4C36-2B74-83F8-CBA1D960F307}"/>
          </ac:spMkLst>
        </pc:spChg>
      </pc:sldChg>
      <pc:sldChg chg="addSp delSp modSp mod">
        <pc:chgData name="森田 光貴" userId="314cf0e2-2175-4948-8a4a-96924aa0786a" providerId="ADAL" clId="{54D8577C-5196-4E3B-AC07-5AAB674B8325}" dt="2025-02-07T04:02:10.310" v="6338"/>
        <pc:sldMkLst>
          <pc:docMk/>
          <pc:sldMk cId="2271814075" sldId="2147378745"/>
        </pc:sldMkLst>
        <pc:spChg chg="add mod">
          <ac:chgData name="森田 光貴" userId="314cf0e2-2175-4948-8a4a-96924aa0786a" providerId="ADAL" clId="{54D8577C-5196-4E3B-AC07-5AAB674B8325}" dt="2025-02-07T04:02:02.901" v="6329"/>
          <ac:spMkLst>
            <pc:docMk/>
            <pc:sldMk cId="2271814075" sldId="2147378745"/>
            <ac:spMk id="11" creationId="{88803321-5BCD-ED24-0112-088C72CF46F4}"/>
          </ac:spMkLst>
        </pc:spChg>
        <pc:spChg chg="mod">
          <ac:chgData name="森田 光貴" userId="314cf0e2-2175-4948-8a4a-96924aa0786a" providerId="ADAL" clId="{54D8577C-5196-4E3B-AC07-5AAB674B8325}" dt="2025-02-07T04:02:10.310" v="6338"/>
          <ac:spMkLst>
            <pc:docMk/>
            <pc:sldMk cId="2271814075" sldId="2147378745"/>
            <ac:spMk id="13" creationId="{EDAD2185-EC0D-868E-795C-E7F2FB4ACC64}"/>
          </ac:spMkLst>
        </pc:spChg>
        <pc:spChg chg="del">
          <ac:chgData name="森田 光貴" userId="314cf0e2-2175-4948-8a4a-96924aa0786a" providerId="ADAL" clId="{54D8577C-5196-4E3B-AC07-5AAB674B8325}" dt="2025-02-07T04:02:00.599" v="6328" actId="478"/>
          <ac:spMkLst>
            <pc:docMk/>
            <pc:sldMk cId="2271814075" sldId="2147378745"/>
            <ac:spMk id="14" creationId="{18C1D74E-EB9E-1CE0-ED28-285496344003}"/>
          </ac:spMkLst>
        </pc:spChg>
        <pc:spChg chg="add mod">
          <ac:chgData name="森田 光貴" userId="314cf0e2-2175-4948-8a4a-96924aa0786a" providerId="ADAL" clId="{54D8577C-5196-4E3B-AC07-5AAB674B8325}" dt="2025-02-07T04:02:02.901" v="6329"/>
          <ac:spMkLst>
            <pc:docMk/>
            <pc:sldMk cId="2271814075" sldId="2147378745"/>
            <ac:spMk id="16" creationId="{97C76F22-2E31-EE16-171A-90EDA8848E04}"/>
          </ac:spMkLst>
        </pc:spChg>
      </pc:sldChg>
      <pc:sldChg chg="addSp modSp">
        <pc:chgData name="森田 光貴" userId="314cf0e2-2175-4948-8a4a-96924aa0786a" providerId="ADAL" clId="{54D8577C-5196-4E3B-AC07-5AAB674B8325}" dt="2025-02-07T04:02:28.156" v="6339"/>
        <pc:sldMkLst>
          <pc:docMk/>
          <pc:sldMk cId="478136210" sldId="2147378746"/>
        </pc:sldMkLst>
        <pc:spChg chg="add mod">
          <ac:chgData name="森田 光貴" userId="314cf0e2-2175-4948-8a4a-96924aa0786a" providerId="ADAL" clId="{54D8577C-5196-4E3B-AC07-5AAB674B8325}" dt="2025-02-07T04:02:28.156" v="6339"/>
          <ac:spMkLst>
            <pc:docMk/>
            <pc:sldMk cId="478136210" sldId="2147378746"/>
            <ac:spMk id="6" creationId="{21D13A10-9062-ED6C-1199-D4C143403E83}"/>
          </ac:spMkLst>
        </pc:spChg>
      </pc:sldChg>
      <pc:sldChg chg="addSp delSp modSp mod">
        <pc:chgData name="森田 光貴" userId="314cf0e2-2175-4948-8a4a-96924aa0786a" providerId="ADAL" clId="{54D8577C-5196-4E3B-AC07-5AAB674B8325}" dt="2025-02-07T04:03:52.633" v="6344" actId="1076"/>
        <pc:sldMkLst>
          <pc:docMk/>
          <pc:sldMk cId="3772405785" sldId="2147378747"/>
        </pc:sldMkLst>
        <pc:spChg chg="add mod">
          <ac:chgData name="森田 光貴" userId="314cf0e2-2175-4948-8a4a-96924aa0786a" providerId="ADAL" clId="{54D8577C-5196-4E3B-AC07-5AAB674B8325}" dt="2025-02-07T04:03:52.633" v="6344" actId="1076"/>
          <ac:spMkLst>
            <pc:docMk/>
            <pc:sldMk cId="3772405785" sldId="2147378747"/>
            <ac:spMk id="3" creationId="{2DF77E87-6E2C-2B71-0508-C5B23997D182}"/>
          </ac:spMkLst>
        </pc:spChg>
        <pc:spChg chg="add del mod">
          <ac:chgData name="森田 光貴" userId="314cf0e2-2175-4948-8a4a-96924aa0786a" providerId="ADAL" clId="{54D8577C-5196-4E3B-AC07-5AAB674B8325}" dt="2025-02-07T04:03:44.964" v="6343" actId="478"/>
          <ac:spMkLst>
            <pc:docMk/>
            <pc:sldMk cId="3772405785" sldId="2147378747"/>
            <ac:spMk id="4" creationId="{8C1A8A3C-1D46-F806-2276-B6AF12B717A5}"/>
          </ac:spMkLst>
        </pc:spChg>
      </pc:sldChg>
      <pc:sldChg chg="addSp modSp mod">
        <pc:chgData name="森田 光貴" userId="314cf0e2-2175-4948-8a4a-96924aa0786a" providerId="ADAL" clId="{54D8577C-5196-4E3B-AC07-5AAB674B8325}" dt="2025-02-07T04:04:32.665" v="6403" actId="20577"/>
        <pc:sldMkLst>
          <pc:docMk/>
          <pc:sldMk cId="177420526" sldId="2147378748"/>
        </pc:sldMkLst>
        <pc:spChg chg="add mod">
          <ac:chgData name="森田 光貴" userId="314cf0e2-2175-4948-8a4a-96924aa0786a" providerId="ADAL" clId="{54D8577C-5196-4E3B-AC07-5AAB674B8325}" dt="2025-02-07T04:04:32.665" v="6403" actId="20577"/>
          <ac:spMkLst>
            <pc:docMk/>
            <pc:sldMk cId="177420526" sldId="2147378748"/>
            <ac:spMk id="7" creationId="{CD57A09D-0FAB-DCC5-4D8A-39E21554BE47}"/>
          </ac:spMkLst>
        </pc:spChg>
      </pc:sldChg>
      <pc:sldChg chg="addSp delSp modSp mod">
        <pc:chgData name="森田 光貴" userId="314cf0e2-2175-4948-8a4a-96924aa0786a" providerId="ADAL" clId="{54D8577C-5196-4E3B-AC07-5AAB674B8325}" dt="2025-02-07T11:30:00.922" v="7880" actId="21"/>
        <pc:sldMkLst>
          <pc:docMk/>
          <pc:sldMk cId="2929259541" sldId="2147378749"/>
        </pc:sldMkLst>
        <pc:spChg chg="add del">
          <ac:chgData name="森田 光貴" userId="314cf0e2-2175-4948-8a4a-96924aa0786a" providerId="ADAL" clId="{54D8577C-5196-4E3B-AC07-5AAB674B8325}" dt="2025-02-07T11:29:20.646" v="7876" actId="22"/>
          <ac:spMkLst>
            <pc:docMk/>
            <pc:sldMk cId="2929259541" sldId="2147378749"/>
            <ac:spMk id="6" creationId="{FA9B199A-3FB2-464F-70C6-6E1DA7DFE6AE}"/>
          </ac:spMkLst>
        </pc:spChg>
        <pc:spChg chg="add del mod">
          <ac:chgData name="森田 光貴" userId="314cf0e2-2175-4948-8a4a-96924aa0786a" providerId="ADAL" clId="{54D8577C-5196-4E3B-AC07-5AAB674B8325}" dt="2025-02-07T11:30:00.922" v="7880" actId="21"/>
          <ac:spMkLst>
            <pc:docMk/>
            <pc:sldMk cId="2929259541" sldId="2147378749"/>
            <ac:spMk id="20" creationId="{D542480A-6814-F279-8942-AEB85B21B311}"/>
          </ac:spMkLst>
        </pc:spChg>
        <pc:spChg chg="add del mod">
          <ac:chgData name="森田 光貴" userId="314cf0e2-2175-4948-8a4a-96924aa0786a" providerId="ADAL" clId="{54D8577C-5196-4E3B-AC07-5AAB674B8325}" dt="2025-02-07T11:30:00.922" v="7880" actId="21"/>
          <ac:spMkLst>
            <pc:docMk/>
            <pc:sldMk cId="2929259541" sldId="2147378749"/>
            <ac:spMk id="21" creationId="{3503A29F-02B4-B115-09FD-CCE4DAB630F5}"/>
          </ac:spMkLst>
        </pc:spChg>
        <pc:picChg chg="add del">
          <ac:chgData name="森田 光貴" userId="314cf0e2-2175-4948-8a4a-96924aa0786a" providerId="ADAL" clId="{54D8577C-5196-4E3B-AC07-5AAB674B8325}" dt="2025-02-07T11:29:24.192" v="7878" actId="22"/>
          <ac:picMkLst>
            <pc:docMk/>
            <pc:sldMk cId="2929259541" sldId="2147378749"/>
            <ac:picMk id="18" creationId="{4A807AE9-4543-9D38-3B5F-55DCC2F01479}"/>
          </ac:picMkLst>
        </pc:picChg>
      </pc:sldChg>
      <pc:sldChg chg="addSp modSp mod">
        <pc:chgData name="森田 光貴" userId="314cf0e2-2175-4948-8a4a-96924aa0786a" providerId="ADAL" clId="{54D8577C-5196-4E3B-AC07-5AAB674B8325}" dt="2025-02-07T04:07:10.332" v="6471"/>
        <pc:sldMkLst>
          <pc:docMk/>
          <pc:sldMk cId="4044403005" sldId="2147378750"/>
        </pc:sldMkLst>
        <pc:spChg chg="add mod">
          <ac:chgData name="森田 光貴" userId="314cf0e2-2175-4948-8a4a-96924aa0786a" providerId="ADAL" clId="{54D8577C-5196-4E3B-AC07-5AAB674B8325}" dt="2025-02-07T04:07:10.332" v="6471"/>
          <ac:spMkLst>
            <pc:docMk/>
            <pc:sldMk cId="4044403005" sldId="2147378750"/>
            <ac:spMk id="7" creationId="{79070467-F16A-2561-6732-C9883A64F9FC}"/>
          </ac:spMkLst>
        </pc:spChg>
      </pc:sldChg>
      <pc:sldChg chg="addSp delSp modSp mod">
        <pc:chgData name="森田 光貴" userId="314cf0e2-2175-4948-8a4a-96924aa0786a" providerId="ADAL" clId="{54D8577C-5196-4E3B-AC07-5AAB674B8325}" dt="2025-02-07T01:51:15.360" v="4158" actId="1076"/>
        <pc:sldMkLst>
          <pc:docMk/>
          <pc:sldMk cId="1359778448" sldId="2147378756"/>
        </pc:sldMkLst>
        <pc:spChg chg="del">
          <ac:chgData name="森田 光貴" userId="314cf0e2-2175-4948-8a4a-96924aa0786a" providerId="ADAL" clId="{54D8577C-5196-4E3B-AC07-5AAB674B8325}" dt="2025-02-07T01:42:47.318" v="4145" actId="478"/>
          <ac:spMkLst>
            <pc:docMk/>
            <pc:sldMk cId="1359778448" sldId="2147378756"/>
            <ac:spMk id="5" creationId="{07FDD3E2-893C-7C7D-69AA-ED74F7AC6940}"/>
          </ac:spMkLst>
        </pc:spChg>
        <pc:spChg chg="add mod">
          <ac:chgData name="森田 光貴" userId="314cf0e2-2175-4948-8a4a-96924aa0786a" providerId="ADAL" clId="{54D8577C-5196-4E3B-AC07-5AAB674B8325}" dt="2025-02-07T01:51:15.360" v="4158" actId="1076"/>
          <ac:spMkLst>
            <pc:docMk/>
            <pc:sldMk cId="1359778448" sldId="2147378756"/>
            <ac:spMk id="7" creationId="{4AF50D1B-B984-2378-E84F-10D1B7500960}"/>
          </ac:spMkLst>
        </pc:spChg>
      </pc:sldChg>
      <pc:sldChg chg="addSp modSp mod">
        <pc:chgData name="森田 光貴" userId="314cf0e2-2175-4948-8a4a-96924aa0786a" providerId="ADAL" clId="{54D8577C-5196-4E3B-AC07-5AAB674B8325}" dt="2025-02-07T04:06:52.276" v="6427"/>
        <pc:sldMkLst>
          <pc:docMk/>
          <pc:sldMk cId="3009745310" sldId="2147378767"/>
        </pc:sldMkLst>
        <pc:spChg chg="add mod">
          <ac:chgData name="森田 光貴" userId="314cf0e2-2175-4948-8a4a-96924aa0786a" providerId="ADAL" clId="{54D8577C-5196-4E3B-AC07-5AAB674B8325}" dt="2025-02-07T04:06:52.276" v="6427"/>
          <ac:spMkLst>
            <pc:docMk/>
            <pc:sldMk cId="3009745310" sldId="2147378767"/>
            <ac:spMk id="7" creationId="{22EDA371-0AEA-5966-0D9B-D47542A057F7}"/>
          </ac:spMkLst>
        </pc:spChg>
      </pc:sldChg>
      <pc:sldChg chg="addSp delSp modSp mod">
        <pc:chgData name="森田 光貴" userId="314cf0e2-2175-4948-8a4a-96924aa0786a" providerId="ADAL" clId="{54D8577C-5196-4E3B-AC07-5AAB674B8325}" dt="2025-02-07T04:02:53.174" v="6341"/>
        <pc:sldMkLst>
          <pc:docMk/>
          <pc:sldMk cId="2779406652" sldId="2147378770"/>
        </pc:sldMkLst>
        <pc:spChg chg="del mod">
          <ac:chgData name="森田 光貴" userId="314cf0e2-2175-4948-8a4a-96924aa0786a" providerId="ADAL" clId="{54D8577C-5196-4E3B-AC07-5AAB674B8325}" dt="2025-02-07T04:02:46.152" v="6340" actId="478"/>
          <ac:spMkLst>
            <pc:docMk/>
            <pc:sldMk cId="2779406652" sldId="2147378770"/>
            <ac:spMk id="3" creationId="{64E6FBA6-9471-354D-9859-2CBBDFCF1828}"/>
          </ac:spMkLst>
        </pc:spChg>
        <pc:spChg chg="add mod">
          <ac:chgData name="森田 光貴" userId="314cf0e2-2175-4948-8a4a-96924aa0786a" providerId="ADAL" clId="{54D8577C-5196-4E3B-AC07-5AAB674B8325}" dt="2025-02-07T04:02:53.174" v="6341"/>
          <ac:spMkLst>
            <pc:docMk/>
            <pc:sldMk cId="2779406652" sldId="2147378770"/>
            <ac:spMk id="4" creationId="{50019115-7B4A-AC62-27DD-796BB40B5F35}"/>
          </ac:spMkLst>
        </pc:spChg>
        <pc:graphicFrameChg chg="modGraphic">
          <ac:chgData name="森田 光貴" userId="314cf0e2-2175-4948-8a4a-96924aa0786a" providerId="ADAL" clId="{54D8577C-5196-4E3B-AC07-5AAB674B8325}" dt="2025-02-06T17:27:24.216" v="3083" actId="20577"/>
          <ac:graphicFrameMkLst>
            <pc:docMk/>
            <pc:sldMk cId="2779406652" sldId="2147378770"/>
            <ac:graphicFrameMk id="8" creationId="{628A4627-CAA7-6C39-A2F3-3AFB41DE8AAE}"/>
          </ac:graphicFrameMkLst>
        </pc:graphicFrameChg>
      </pc:sldChg>
      <pc:sldChg chg="modSp mod">
        <pc:chgData name="森田 光貴" userId="314cf0e2-2175-4948-8a4a-96924aa0786a" providerId="ADAL" clId="{54D8577C-5196-4E3B-AC07-5AAB674B8325}" dt="2025-02-07T12:38:27.992" v="8265"/>
        <pc:sldMkLst>
          <pc:docMk/>
          <pc:sldMk cId="1436977306" sldId="2147378771"/>
        </pc:sldMkLst>
        <pc:graphicFrameChg chg="mod modGraphic">
          <ac:chgData name="森田 光貴" userId="314cf0e2-2175-4948-8a4a-96924aa0786a" providerId="ADAL" clId="{54D8577C-5196-4E3B-AC07-5AAB674B8325}" dt="2025-02-07T12:38:27.992" v="8265"/>
          <ac:graphicFrameMkLst>
            <pc:docMk/>
            <pc:sldMk cId="1436977306" sldId="2147378771"/>
            <ac:graphicFrameMk id="32" creationId="{3B80BC24-01AA-213D-76FD-38F653AD9B7C}"/>
          </ac:graphicFrameMkLst>
        </pc:graphicFrameChg>
      </pc:sldChg>
      <pc:sldChg chg="new">
        <pc:chgData name="森田 光貴" userId="314cf0e2-2175-4948-8a4a-96924aa0786a" providerId="ADAL" clId="{54D8577C-5196-4E3B-AC07-5AAB674B8325}" dt="2025-02-06T17:38:19.951" v="3086" actId="680"/>
        <pc:sldMkLst>
          <pc:docMk/>
          <pc:sldMk cId="2499204696" sldId="2147378773"/>
        </pc:sldMkLst>
      </pc:sldChg>
      <pc:sldChg chg="add del">
        <pc:chgData name="森田 光貴" userId="314cf0e2-2175-4948-8a4a-96924aa0786a" providerId="ADAL" clId="{54D8577C-5196-4E3B-AC07-5AAB674B8325}" dt="2025-02-07T03:55:52.804" v="6310"/>
        <pc:sldMkLst>
          <pc:docMk/>
          <pc:sldMk cId="1257564122" sldId="2147483275"/>
        </pc:sldMkLst>
      </pc:sldChg>
      <pc:sldChg chg="addSp delSp modSp del mod">
        <pc:chgData name="森田 光貴" userId="314cf0e2-2175-4948-8a4a-96924aa0786a" providerId="ADAL" clId="{54D8577C-5196-4E3B-AC07-5AAB674B8325}" dt="2025-02-07T12:02:14.221" v="8132" actId="47"/>
        <pc:sldMkLst>
          <pc:docMk/>
          <pc:sldMk cId="215412893" sldId="2147483283"/>
        </pc:sldMkLst>
        <pc:graphicFrameChg chg="del">
          <ac:chgData name="森田 光貴" userId="314cf0e2-2175-4948-8a4a-96924aa0786a" providerId="ADAL" clId="{54D8577C-5196-4E3B-AC07-5AAB674B8325}" dt="2025-02-07T11:35:13.297" v="7887" actId="478"/>
          <ac:graphicFrameMkLst>
            <pc:docMk/>
            <pc:sldMk cId="215412893" sldId="2147483283"/>
            <ac:graphicFrameMk id="5" creationId="{6F20B3C2-7932-BA1D-3A4E-18BD6D75E285}"/>
          </ac:graphicFrameMkLst>
        </pc:graphicFrameChg>
        <pc:graphicFrameChg chg="add del mod">
          <ac:chgData name="森田 光貴" userId="314cf0e2-2175-4948-8a4a-96924aa0786a" providerId="ADAL" clId="{54D8577C-5196-4E3B-AC07-5AAB674B8325}" dt="2025-02-07T11:37:57.163" v="7999" actId="478"/>
          <ac:graphicFrameMkLst>
            <pc:docMk/>
            <pc:sldMk cId="215412893" sldId="2147483283"/>
            <ac:graphicFrameMk id="7" creationId="{609A23BF-AD62-DF1C-D2EF-870376DB9D48}"/>
          </ac:graphicFrameMkLst>
        </pc:graphicFrameChg>
        <pc:graphicFrameChg chg="add del mod">
          <ac:chgData name="森田 光貴" userId="314cf0e2-2175-4948-8a4a-96924aa0786a" providerId="ADAL" clId="{54D8577C-5196-4E3B-AC07-5AAB674B8325}" dt="2025-02-07T11:51:29.199" v="8089" actId="478"/>
          <ac:graphicFrameMkLst>
            <pc:docMk/>
            <pc:sldMk cId="215412893" sldId="2147483283"/>
            <ac:graphicFrameMk id="8" creationId="{7FEE3059-6475-3D76-CD39-80F354D85FB9}"/>
          </ac:graphicFrameMkLst>
        </pc:graphicFrameChg>
        <pc:graphicFrameChg chg="add del mod modGraphic">
          <ac:chgData name="森田 光貴" userId="314cf0e2-2175-4948-8a4a-96924aa0786a" providerId="ADAL" clId="{54D8577C-5196-4E3B-AC07-5AAB674B8325}" dt="2025-02-07T11:53:43.842" v="8096" actId="478"/>
          <ac:graphicFrameMkLst>
            <pc:docMk/>
            <pc:sldMk cId="215412893" sldId="2147483283"/>
            <ac:graphicFrameMk id="9" creationId="{AC195AB0-EE00-7C84-DA0A-1F0C01696D42}"/>
          </ac:graphicFrameMkLst>
        </pc:graphicFrameChg>
        <pc:graphicFrameChg chg="add del mod">
          <ac:chgData name="森田 光貴" userId="314cf0e2-2175-4948-8a4a-96924aa0786a" providerId="ADAL" clId="{54D8577C-5196-4E3B-AC07-5AAB674B8325}" dt="2025-02-07T11:53:54.883" v="8098" actId="478"/>
          <ac:graphicFrameMkLst>
            <pc:docMk/>
            <pc:sldMk cId="215412893" sldId="2147483283"/>
            <ac:graphicFrameMk id="10" creationId="{FF2FB961-6C15-CB7A-F797-F5A1B3067230}"/>
          </ac:graphicFrameMkLst>
        </pc:graphicFrameChg>
        <pc:graphicFrameChg chg="add del mod modGraphic">
          <ac:chgData name="森田 光貴" userId="314cf0e2-2175-4948-8a4a-96924aa0786a" providerId="ADAL" clId="{54D8577C-5196-4E3B-AC07-5AAB674B8325}" dt="2025-02-07T11:57:38.490" v="8106" actId="478"/>
          <ac:graphicFrameMkLst>
            <pc:docMk/>
            <pc:sldMk cId="215412893" sldId="2147483283"/>
            <ac:graphicFrameMk id="11" creationId="{BFCB8B00-EEF2-DC4D-31D5-3E2D6370C84C}"/>
          </ac:graphicFrameMkLst>
        </pc:graphicFrameChg>
        <pc:graphicFrameChg chg="add mod modGraphic">
          <ac:chgData name="森田 光貴" userId="314cf0e2-2175-4948-8a4a-96924aa0786a" providerId="ADAL" clId="{54D8577C-5196-4E3B-AC07-5AAB674B8325}" dt="2025-02-07T12:01:01.660" v="8131" actId="14734"/>
          <ac:graphicFrameMkLst>
            <pc:docMk/>
            <pc:sldMk cId="215412893" sldId="2147483283"/>
            <ac:graphicFrameMk id="12" creationId="{388949EF-42FC-DC6F-984B-F279C8789C81}"/>
          </ac:graphicFrameMkLst>
        </pc:graphicFrameChg>
        <pc:graphicFrameChg chg="del mod modGraphic">
          <ac:chgData name="森田 光貴" userId="314cf0e2-2175-4948-8a4a-96924aa0786a" providerId="ADAL" clId="{54D8577C-5196-4E3B-AC07-5AAB674B8325}" dt="2025-02-07T11:50:40.726" v="8085" actId="478"/>
          <ac:graphicFrameMkLst>
            <pc:docMk/>
            <pc:sldMk cId="215412893" sldId="2147483283"/>
            <ac:graphicFrameMk id="13" creationId="{6B84DF48-8B2E-7483-E19E-A4C36C91AA03}"/>
          </ac:graphicFrameMkLst>
        </pc:graphicFrameChg>
      </pc:sldChg>
      <pc:sldChg chg="modSp mod">
        <pc:chgData name="森田 光貴" userId="314cf0e2-2175-4948-8a4a-96924aa0786a" providerId="ADAL" clId="{54D8577C-5196-4E3B-AC07-5AAB674B8325}" dt="2025-02-07T12:11:12.483" v="8241"/>
        <pc:sldMkLst>
          <pc:docMk/>
          <pc:sldMk cId="779576324" sldId="2147483290"/>
        </pc:sldMkLst>
        <pc:graphicFrameChg chg="mod">
          <ac:chgData name="森田 光貴" userId="314cf0e2-2175-4948-8a4a-96924aa0786a" providerId="ADAL" clId="{54D8577C-5196-4E3B-AC07-5AAB674B8325}" dt="2025-02-07T12:11:12.483" v="8241"/>
          <ac:graphicFrameMkLst>
            <pc:docMk/>
            <pc:sldMk cId="779576324" sldId="2147483290"/>
            <ac:graphicFrameMk id="13" creationId="{6B84DF48-8B2E-7483-E19E-A4C36C91AA03}"/>
          </ac:graphicFrameMkLst>
        </pc:graphicFrameChg>
      </pc:sldChg>
      <pc:sldChg chg="addSp delSp modSp mod">
        <pc:chgData name="森田 光貴" userId="314cf0e2-2175-4948-8a4a-96924aa0786a" providerId="ADAL" clId="{54D8577C-5196-4E3B-AC07-5AAB674B8325}" dt="2025-02-07T12:10:29.055" v="8233"/>
        <pc:sldMkLst>
          <pc:docMk/>
          <pc:sldMk cId="4261027216" sldId="2147483291"/>
        </pc:sldMkLst>
        <pc:graphicFrameChg chg="add mod">
          <ac:chgData name="森田 光貴" userId="314cf0e2-2175-4948-8a4a-96924aa0786a" providerId="ADAL" clId="{54D8577C-5196-4E3B-AC07-5AAB674B8325}" dt="2025-02-07T12:08:09.828" v="8206"/>
          <ac:graphicFrameMkLst>
            <pc:docMk/>
            <pc:sldMk cId="4261027216" sldId="2147483291"/>
            <ac:graphicFrameMk id="7" creationId="{56215414-58C9-C204-2E0A-8AF44AB635F5}"/>
          </ac:graphicFrameMkLst>
        </pc:graphicFrameChg>
        <pc:graphicFrameChg chg="add del mod">
          <ac:chgData name="森田 光貴" userId="314cf0e2-2175-4948-8a4a-96924aa0786a" providerId="ADAL" clId="{54D8577C-5196-4E3B-AC07-5AAB674B8325}" dt="2025-02-07T12:08:27.280" v="8209" actId="478"/>
          <ac:graphicFrameMkLst>
            <pc:docMk/>
            <pc:sldMk cId="4261027216" sldId="2147483291"/>
            <ac:graphicFrameMk id="8" creationId="{BF174E0D-2D71-0FE0-EDB5-87946B8D8761}"/>
          </ac:graphicFrameMkLst>
        </pc:graphicFrameChg>
        <pc:graphicFrameChg chg="mod modGraphic">
          <ac:chgData name="森田 光貴" userId="314cf0e2-2175-4948-8a4a-96924aa0786a" providerId="ADAL" clId="{54D8577C-5196-4E3B-AC07-5AAB674B8325}" dt="2025-02-07T12:10:29.055" v="8233"/>
          <ac:graphicFrameMkLst>
            <pc:docMk/>
            <pc:sldMk cId="4261027216" sldId="2147483291"/>
            <ac:graphicFrameMk id="13" creationId="{6B84DF48-8B2E-7483-E19E-A4C36C91AA03}"/>
          </ac:graphicFrameMkLst>
        </pc:graphicFrameChg>
      </pc:sldChg>
    </pc:docChg>
  </pc:docChgLst>
  <pc:docChgLst>
    <pc:chgData name="Mikami, Maho" userId="50612f1b-df2d-47bb-8fdd-7ddedc83fc7e" providerId="ADAL" clId="{5CBE12F2-F3C8-4DCE-AD77-5EBD7EED8DBF}"/>
    <pc:docChg chg="undo redo custSel addSld delSld modSld sldOrd delMainMaster modMainMaster modSection replTag">
      <pc:chgData name="Mikami, Maho" userId="50612f1b-df2d-47bb-8fdd-7ddedc83fc7e" providerId="ADAL" clId="{5CBE12F2-F3C8-4DCE-AD77-5EBD7EED8DBF}" dt="2024-03-24T08:51:04.713" v="6786" actId="1076"/>
      <pc:docMkLst>
        <pc:docMk/>
      </pc:docMkLst>
      <pc:sldChg chg="addSp modSp">
        <pc:chgData name="Mikami, Maho" userId="50612f1b-df2d-47bb-8fdd-7ddedc83fc7e" providerId="ADAL" clId="{5CBE12F2-F3C8-4DCE-AD77-5EBD7EED8DBF}" dt="2024-03-24T07:16:36.348" v="5819"/>
        <pc:sldMkLst>
          <pc:docMk/>
          <pc:sldMk cId="962168066" sldId="2146847508"/>
        </pc:sldMkLst>
        <pc:spChg chg="add mod">
          <ac:chgData name="Mikami, Maho" userId="50612f1b-df2d-47bb-8fdd-7ddedc83fc7e" providerId="ADAL" clId="{5CBE12F2-F3C8-4DCE-AD77-5EBD7EED8DBF}" dt="2024-03-24T07:16:36.348" v="5819"/>
          <ac:spMkLst>
            <pc:docMk/>
            <pc:sldMk cId="962168066" sldId="2146847508"/>
            <ac:spMk id="4" creationId="{CDCA7478-E07E-D28E-684F-6F629A3C36B3}"/>
          </ac:spMkLst>
        </pc:spChg>
      </pc:sldChg>
      <pc:sldChg chg="addSp delSp modSp mod">
        <pc:chgData name="Mikami, Maho" userId="50612f1b-df2d-47bb-8fdd-7ddedc83fc7e" providerId="ADAL" clId="{5CBE12F2-F3C8-4DCE-AD77-5EBD7EED8DBF}" dt="2024-03-24T07:18:28.859" v="5989"/>
        <pc:sldMkLst>
          <pc:docMk/>
          <pc:sldMk cId="429254024" sldId="2146847554"/>
        </pc:sldMkLst>
        <pc:spChg chg="add del mod">
          <ac:chgData name="Mikami, Maho" userId="50612f1b-df2d-47bb-8fdd-7ddedc83fc7e" providerId="ADAL" clId="{5CBE12F2-F3C8-4DCE-AD77-5EBD7EED8DBF}" dt="2024-03-24T06:34:27.214" v="4690" actId="478"/>
          <ac:spMkLst>
            <pc:docMk/>
            <pc:sldMk cId="429254024" sldId="2146847554"/>
            <ac:spMk id="2" creationId="{6E9B2F69-8E24-7E7E-864A-F20B59DDE6FE}"/>
          </ac:spMkLst>
        </pc:spChg>
        <pc:spChg chg="mod">
          <ac:chgData name="Mikami, Maho" userId="50612f1b-df2d-47bb-8fdd-7ddedc83fc7e" providerId="ADAL" clId="{5CBE12F2-F3C8-4DCE-AD77-5EBD7EED8DBF}" dt="2024-03-24T04:55:08.527" v="2692" actId="948"/>
          <ac:spMkLst>
            <pc:docMk/>
            <pc:sldMk cId="429254024" sldId="2146847554"/>
            <ac:spMk id="4" creationId="{AD8944B4-3C5B-C988-2185-AC2F7BEC7369}"/>
          </ac:spMkLst>
        </pc:spChg>
        <pc:spChg chg="add mod">
          <ac:chgData name="Mikami, Maho" userId="50612f1b-df2d-47bb-8fdd-7ddedc83fc7e" providerId="ADAL" clId="{5CBE12F2-F3C8-4DCE-AD77-5EBD7EED8DBF}" dt="2024-03-24T07:18:28.859" v="5989"/>
          <ac:spMkLst>
            <pc:docMk/>
            <pc:sldMk cId="429254024" sldId="2146847554"/>
            <ac:spMk id="5" creationId="{33640ECB-99BC-B6A2-32B1-F6E97D8A143F}"/>
          </ac:spMkLst>
        </pc:spChg>
        <pc:spChg chg="mod">
          <ac:chgData name="Mikami, Maho" userId="50612f1b-df2d-47bb-8fdd-7ddedc83fc7e" providerId="ADAL" clId="{5CBE12F2-F3C8-4DCE-AD77-5EBD7EED8DBF}" dt="2024-03-24T04:01:02.203" v="1640" actId="14100"/>
          <ac:spMkLst>
            <pc:docMk/>
            <pc:sldMk cId="429254024" sldId="2146847554"/>
            <ac:spMk id="11" creationId="{CAF0B5B8-43B9-8E20-6FDF-E99F9F5989DB}"/>
          </ac:spMkLst>
        </pc:spChg>
        <pc:graphicFrameChg chg="mod">
          <ac:chgData name="Mikami, Maho" userId="50612f1b-df2d-47bb-8fdd-7ddedc83fc7e" providerId="ADAL" clId="{5CBE12F2-F3C8-4DCE-AD77-5EBD7EED8DBF}" dt="2024-03-24T04:55:08.543" v="2696"/>
          <ac:graphicFrameMkLst>
            <pc:docMk/>
            <pc:sldMk cId="429254024" sldId="2146847554"/>
            <ac:graphicFrameMk id="7" creationId="{DAEF77AD-2CE0-DFBE-F3EE-27BF4407FF6A}"/>
          </ac:graphicFrameMkLst>
        </pc:graphicFrameChg>
      </pc:sldChg>
      <pc:sldChg chg="delSp modSp mod">
        <pc:chgData name="Mikami, Maho" userId="50612f1b-df2d-47bb-8fdd-7ddedc83fc7e" providerId="ADAL" clId="{5CBE12F2-F3C8-4DCE-AD77-5EBD7EED8DBF}" dt="2024-03-24T06:32:14.503" v="4522" actId="478"/>
        <pc:sldMkLst>
          <pc:docMk/>
          <pc:sldMk cId="2559321920" sldId="2146847560"/>
        </pc:sldMkLst>
        <pc:spChg chg="del mod">
          <ac:chgData name="Mikami, Maho" userId="50612f1b-df2d-47bb-8fdd-7ddedc83fc7e" providerId="ADAL" clId="{5CBE12F2-F3C8-4DCE-AD77-5EBD7EED8DBF}" dt="2024-03-24T06:32:14.503" v="4522" actId="478"/>
          <ac:spMkLst>
            <pc:docMk/>
            <pc:sldMk cId="2559321920" sldId="2146847560"/>
            <ac:spMk id="2" creationId="{F6F33E3D-87C7-489C-D50F-B378A6B34C12}"/>
          </ac:spMkLst>
        </pc:spChg>
        <pc:spChg chg="mod">
          <ac:chgData name="Mikami, Maho" userId="50612f1b-df2d-47bb-8fdd-7ddedc83fc7e" providerId="ADAL" clId="{5CBE12F2-F3C8-4DCE-AD77-5EBD7EED8DBF}" dt="2024-03-24T04:14:14.155" v="2129" actId="1076"/>
          <ac:spMkLst>
            <pc:docMk/>
            <pc:sldMk cId="2559321920" sldId="2146847560"/>
            <ac:spMk id="7" creationId="{F9ADCEC0-9C74-0C0E-8BCB-03B64B0E9536}"/>
          </ac:spMkLst>
        </pc:spChg>
        <pc:graphicFrameChg chg="modGraphic">
          <ac:chgData name="Mikami, Maho" userId="50612f1b-df2d-47bb-8fdd-7ddedc83fc7e" providerId="ADAL" clId="{5CBE12F2-F3C8-4DCE-AD77-5EBD7EED8DBF}" dt="2024-03-24T04:14:33.939" v="2215" actId="20577"/>
          <ac:graphicFrameMkLst>
            <pc:docMk/>
            <pc:sldMk cId="2559321920" sldId="2146847560"/>
            <ac:graphicFrameMk id="36" creationId="{E529E9C8-5A13-F9F0-E3E5-0E9625F59602}"/>
          </ac:graphicFrameMkLst>
        </pc:graphicFrameChg>
      </pc:sldChg>
      <pc:sldChg chg="addSp modSp mod">
        <pc:chgData name="Mikami, Maho" userId="50612f1b-df2d-47bb-8fdd-7ddedc83fc7e" providerId="ADAL" clId="{5CBE12F2-F3C8-4DCE-AD77-5EBD7EED8DBF}" dt="2024-03-24T07:16:52.264" v="5832" actId="20577"/>
        <pc:sldMkLst>
          <pc:docMk/>
          <pc:sldMk cId="2088699351" sldId="2146847588"/>
        </pc:sldMkLst>
        <pc:spChg chg="add mod">
          <ac:chgData name="Mikami, Maho" userId="50612f1b-df2d-47bb-8fdd-7ddedc83fc7e" providerId="ADAL" clId="{5CBE12F2-F3C8-4DCE-AD77-5EBD7EED8DBF}" dt="2024-03-24T07:16:33.917" v="5817"/>
          <ac:spMkLst>
            <pc:docMk/>
            <pc:sldMk cId="2088699351" sldId="2146847588"/>
            <ac:spMk id="3" creationId="{FCB0A08B-3E83-6BF6-E78C-760014064E9C}"/>
          </ac:spMkLst>
        </pc:spChg>
        <pc:spChg chg="mod">
          <ac:chgData name="Mikami, Maho" userId="50612f1b-df2d-47bb-8fdd-7ddedc83fc7e" providerId="ADAL" clId="{5CBE12F2-F3C8-4DCE-AD77-5EBD7EED8DBF}" dt="2024-03-24T07:16:52.264" v="5832" actId="20577"/>
          <ac:spMkLst>
            <pc:docMk/>
            <pc:sldMk cId="2088699351" sldId="2146847588"/>
            <ac:spMk id="7" creationId="{F0D8E545-A466-48F4-9272-B878EF0DC16B}"/>
          </ac:spMkLst>
        </pc:spChg>
      </pc:sldChg>
      <pc:sldChg chg="addSp modSp">
        <pc:chgData name="Mikami, Maho" userId="50612f1b-df2d-47bb-8fdd-7ddedc83fc7e" providerId="ADAL" clId="{5CBE12F2-F3C8-4DCE-AD77-5EBD7EED8DBF}" dt="2024-03-24T07:31:08.471" v="6710"/>
        <pc:sldMkLst>
          <pc:docMk/>
          <pc:sldMk cId="693426858" sldId="2146847590"/>
        </pc:sldMkLst>
        <pc:spChg chg="add mod">
          <ac:chgData name="Mikami, Maho" userId="50612f1b-df2d-47bb-8fdd-7ddedc83fc7e" providerId="ADAL" clId="{5CBE12F2-F3C8-4DCE-AD77-5EBD7EED8DBF}" dt="2024-03-24T07:31:08.471" v="6710"/>
          <ac:spMkLst>
            <pc:docMk/>
            <pc:sldMk cId="693426858" sldId="2146847590"/>
            <ac:spMk id="3" creationId="{29432406-B63C-626C-40D4-F7E4352D40E9}"/>
          </ac:spMkLst>
        </pc:spChg>
      </pc:sldChg>
      <pc:sldChg chg="addSp delSp modSp del mod">
        <pc:chgData name="Mikami, Maho" userId="50612f1b-df2d-47bb-8fdd-7ddedc83fc7e" providerId="ADAL" clId="{5CBE12F2-F3C8-4DCE-AD77-5EBD7EED8DBF}" dt="2024-03-24T04:54:33.927" v="2648" actId="47"/>
        <pc:sldMkLst>
          <pc:docMk/>
          <pc:sldMk cId="2766274149" sldId="2146847591"/>
        </pc:sldMkLst>
        <pc:spChg chg="del">
          <ac:chgData name="Mikami, Maho" userId="50612f1b-df2d-47bb-8fdd-7ddedc83fc7e" providerId="ADAL" clId="{5CBE12F2-F3C8-4DCE-AD77-5EBD7EED8DBF}" dt="2024-03-24T03:59:58.889" v="1451" actId="478"/>
          <ac:spMkLst>
            <pc:docMk/>
            <pc:sldMk cId="2766274149" sldId="2146847591"/>
            <ac:spMk id="3" creationId="{CC34A2F9-677E-A2BD-1DE8-CCC28E4A8300}"/>
          </ac:spMkLst>
        </pc:spChg>
        <pc:spChg chg="del">
          <ac:chgData name="Mikami, Maho" userId="50612f1b-df2d-47bb-8fdd-7ddedc83fc7e" providerId="ADAL" clId="{5CBE12F2-F3C8-4DCE-AD77-5EBD7EED8DBF}" dt="2024-03-24T04:00:33.913" v="1566" actId="478"/>
          <ac:spMkLst>
            <pc:docMk/>
            <pc:sldMk cId="2766274149" sldId="2146847591"/>
            <ac:spMk id="4" creationId="{9007537D-F927-3642-51DE-8BEF07CF47FF}"/>
          </ac:spMkLst>
        </pc:spChg>
        <pc:spChg chg="mod">
          <ac:chgData name="Mikami, Maho" userId="50612f1b-df2d-47bb-8fdd-7ddedc83fc7e" providerId="ADAL" clId="{5CBE12F2-F3C8-4DCE-AD77-5EBD7EED8DBF}" dt="2024-03-24T04:00:32.411" v="1565" actId="20577"/>
          <ac:spMkLst>
            <pc:docMk/>
            <pc:sldMk cId="2766274149" sldId="2146847591"/>
            <ac:spMk id="7" creationId="{F0D8E545-A466-48F4-9272-B878EF0DC16B}"/>
          </ac:spMkLst>
        </pc:spChg>
        <pc:spChg chg="add mod">
          <ac:chgData name="Mikami, Maho" userId="50612f1b-df2d-47bb-8fdd-7ddedc83fc7e" providerId="ADAL" clId="{5CBE12F2-F3C8-4DCE-AD77-5EBD7EED8DBF}" dt="2024-03-24T03:59:58.056" v="1450" actId="14100"/>
          <ac:spMkLst>
            <pc:docMk/>
            <pc:sldMk cId="2766274149" sldId="2146847591"/>
            <ac:spMk id="8" creationId="{3A78F6AD-C84E-589A-B0BE-8C5F0F7C0A1F}"/>
          </ac:spMkLst>
        </pc:spChg>
        <pc:spChg chg="mod">
          <ac:chgData name="Mikami, Maho" userId="50612f1b-df2d-47bb-8fdd-7ddedc83fc7e" providerId="ADAL" clId="{5CBE12F2-F3C8-4DCE-AD77-5EBD7EED8DBF}" dt="2024-03-24T04:54:04.395" v="2633" actId="948"/>
          <ac:spMkLst>
            <pc:docMk/>
            <pc:sldMk cId="2766274149" sldId="2146847591"/>
            <ac:spMk id="9" creationId="{D22A0A06-D5A8-4A1A-B66F-2A8EDBD644F1}"/>
          </ac:spMkLst>
        </pc:spChg>
        <pc:graphicFrameChg chg="mod">
          <ac:chgData name="Mikami, Maho" userId="50612f1b-df2d-47bb-8fdd-7ddedc83fc7e" providerId="ADAL" clId="{5CBE12F2-F3C8-4DCE-AD77-5EBD7EED8DBF}" dt="2024-03-24T04:54:04.408" v="2637"/>
          <ac:graphicFrameMkLst>
            <pc:docMk/>
            <pc:sldMk cId="2766274149" sldId="2146847591"/>
            <ac:graphicFrameMk id="5" creationId="{E78F9D36-5310-41D4-8608-5BFFDB0F22CA}"/>
          </ac:graphicFrameMkLst>
        </pc:graphicFrameChg>
      </pc:sldChg>
      <pc:sldChg chg="addSp modSp">
        <pc:chgData name="Mikami, Maho" userId="50612f1b-df2d-47bb-8fdd-7ddedc83fc7e" providerId="ADAL" clId="{5CBE12F2-F3C8-4DCE-AD77-5EBD7EED8DBF}" dt="2024-03-24T07:31:07.489" v="6709"/>
        <pc:sldMkLst>
          <pc:docMk/>
          <pc:sldMk cId="2962430587" sldId="2146847592"/>
        </pc:sldMkLst>
        <pc:spChg chg="add mod">
          <ac:chgData name="Mikami, Maho" userId="50612f1b-df2d-47bb-8fdd-7ddedc83fc7e" providerId="ADAL" clId="{5CBE12F2-F3C8-4DCE-AD77-5EBD7EED8DBF}" dt="2024-03-24T07:31:07.489" v="6709"/>
          <ac:spMkLst>
            <pc:docMk/>
            <pc:sldMk cId="2962430587" sldId="2146847592"/>
            <ac:spMk id="2" creationId="{227BDBB1-56EF-BF0F-9805-A7EB7327F4BB}"/>
          </ac:spMkLst>
        </pc:spChg>
      </pc:sldChg>
      <pc:sldChg chg="addSp delSp modSp mod">
        <pc:chgData name="Mikami, Maho" userId="50612f1b-df2d-47bb-8fdd-7ddedc83fc7e" providerId="ADAL" clId="{5CBE12F2-F3C8-4DCE-AD77-5EBD7EED8DBF}" dt="2024-03-24T07:31:22.856" v="6747" actId="1035"/>
        <pc:sldMkLst>
          <pc:docMk/>
          <pc:sldMk cId="1846119523" sldId="2146847593"/>
        </pc:sldMkLst>
        <pc:spChg chg="add mod">
          <ac:chgData name="Mikami, Maho" userId="50612f1b-df2d-47bb-8fdd-7ddedc83fc7e" providerId="ADAL" clId="{5CBE12F2-F3C8-4DCE-AD77-5EBD7EED8DBF}" dt="2024-03-24T07:31:22.856" v="6747" actId="1035"/>
          <ac:spMkLst>
            <pc:docMk/>
            <pc:sldMk cId="1846119523" sldId="2146847593"/>
            <ac:spMk id="3" creationId="{976091B4-FA28-46C8-7E75-625FA9A62742}"/>
          </ac:spMkLst>
        </pc:spChg>
        <pc:spChg chg="add del mod">
          <ac:chgData name="Mikami, Maho" userId="50612f1b-df2d-47bb-8fdd-7ddedc83fc7e" providerId="ADAL" clId="{5CBE12F2-F3C8-4DCE-AD77-5EBD7EED8DBF}" dt="2024-03-24T07:31:19.668" v="6736" actId="478"/>
          <ac:spMkLst>
            <pc:docMk/>
            <pc:sldMk cId="1846119523" sldId="2146847593"/>
            <ac:spMk id="4" creationId="{60894899-98CB-6848-EBE7-B2A3AF96CD8D}"/>
          </ac:spMkLst>
        </pc:spChg>
        <pc:spChg chg="add mod">
          <ac:chgData name="Mikami, Maho" userId="50612f1b-df2d-47bb-8fdd-7ddedc83fc7e" providerId="ADAL" clId="{5CBE12F2-F3C8-4DCE-AD77-5EBD7EED8DBF}" dt="2024-03-24T07:31:18.317" v="6735"/>
          <ac:spMkLst>
            <pc:docMk/>
            <pc:sldMk cId="1846119523" sldId="2146847593"/>
            <ac:spMk id="8" creationId="{4319BB28-721C-72BB-4118-53071F2BE92E}"/>
          </ac:spMkLst>
        </pc:spChg>
        <pc:spChg chg="mod">
          <ac:chgData name="Mikami, Maho" userId="50612f1b-df2d-47bb-8fdd-7ddedc83fc7e" providerId="ADAL" clId="{5CBE12F2-F3C8-4DCE-AD77-5EBD7EED8DBF}" dt="2024-03-24T05:00:53.332" v="2962" actId="948"/>
          <ac:spMkLst>
            <pc:docMk/>
            <pc:sldMk cId="1846119523" sldId="2146847593"/>
            <ac:spMk id="9" creationId="{D22A0A06-D5A8-4A1A-B66F-2A8EDBD644F1}"/>
          </ac:spMkLst>
        </pc:spChg>
        <pc:graphicFrameChg chg="mod">
          <ac:chgData name="Mikami, Maho" userId="50612f1b-df2d-47bb-8fdd-7ddedc83fc7e" providerId="ADAL" clId="{5CBE12F2-F3C8-4DCE-AD77-5EBD7EED8DBF}" dt="2024-03-24T05:00:53.341" v="2966"/>
          <ac:graphicFrameMkLst>
            <pc:docMk/>
            <pc:sldMk cId="1846119523" sldId="2146847593"/>
            <ac:graphicFrameMk id="5" creationId="{E78F9D36-5310-41D4-8608-5BFFDB0F22CA}"/>
          </ac:graphicFrameMkLst>
        </pc:graphicFrameChg>
      </pc:sldChg>
      <pc:sldChg chg="addSp modSp mod">
        <pc:chgData name="Mikami, Maho" userId="50612f1b-df2d-47bb-8fdd-7ddedc83fc7e" providerId="ADAL" clId="{5CBE12F2-F3C8-4DCE-AD77-5EBD7EED8DBF}" dt="2024-03-24T07:16:32.988" v="5816" actId="1035"/>
        <pc:sldMkLst>
          <pc:docMk/>
          <pc:sldMk cId="242853946" sldId="2146847595"/>
        </pc:sldMkLst>
        <pc:spChg chg="add mod">
          <ac:chgData name="Mikami, Maho" userId="50612f1b-df2d-47bb-8fdd-7ddedc83fc7e" providerId="ADAL" clId="{5CBE12F2-F3C8-4DCE-AD77-5EBD7EED8DBF}" dt="2024-03-24T07:16:32.988" v="5816" actId="1035"/>
          <ac:spMkLst>
            <pc:docMk/>
            <pc:sldMk cId="242853946" sldId="2146847595"/>
            <ac:spMk id="3" creationId="{DC29AFE4-0DC6-7638-D99D-C0B91FD8CB54}"/>
          </ac:spMkLst>
        </pc:spChg>
        <pc:spChg chg="mod">
          <ac:chgData name="Mikami, Maho" userId="50612f1b-df2d-47bb-8fdd-7ddedc83fc7e" providerId="ADAL" clId="{5CBE12F2-F3C8-4DCE-AD77-5EBD7EED8DBF}" dt="2024-03-24T07:16:01.882" v="5755" actId="20577"/>
          <ac:spMkLst>
            <pc:docMk/>
            <pc:sldMk cId="242853946" sldId="2146847595"/>
            <ac:spMk id="7" creationId="{F0D8E545-A466-48F4-9272-B878EF0DC16B}"/>
          </ac:spMkLst>
        </pc:spChg>
      </pc:sldChg>
      <pc:sldChg chg="addSp delSp modSp mod">
        <pc:chgData name="Mikami, Maho" userId="50612f1b-df2d-47bb-8fdd-7ddedc83fc7e" providerId="ADAL" clId="{5CBE12F2-F3C8-4DCE-AD77-5EBD7EED8DBF}" dt="2024-03-24T07:29:05.080" v="6685" actId="20577"/>
        <pc:sldMkLst>
          <pc:docMk/>
          <pc:sldMk cId="454459423" sldId="2146847596"/>
        </pc:sldMkLst>
        <pc:spChg chg="del mod">
          <ac:chgData name="Mikami, Maho" userId="50612f1b-df2d-47bb-8fdd-7ddedc83fc7e" providerId="ADAL" clId="{5CBE12F2-F3C8-4DCE-AD77-5EBD7EED8DBF}" dt="2024-03-24T03:59:33.464" v="1411" actId="478"/>
          <ac:spMkLst>
            <pc:docMk/>
            <pc:sldMk cId="454459423" sldId="2146847596"/>
            <ac:spMk id="3" creationId="{1718E0E3-0ED7-F510-E4B5-0069CBC2DB9C}"/>
          </ac:spMkLst>
        </pc:spChg>
        <pc:spChg chg="add mod">
          <ac:chgData name="Mikami, Maho" userId="50612f1b-df2d-47bb-8fdd-7ddedc83fc7e" providerId="ADAL" clId="{5CBE12F2-F3C8-4DCE-AD77-5EBD7EED8DBF}" dt="2024-03-24T04:00:04.683" v="1457" actId="20577"/>
          <ac:spMkLst>
            <pc:docMk/>
            <pc:sldMk cId="454459423" sldId="2146847596"/>
            <ac:spMk id="6" creationId="{50368184-B4F4-B277-1E1A-555859740399}"/>
          </ac:spMkLst>
        </pc:spChg>
        <pc:spChg chg="mod">
          <ac:chgData name="Mikami, Maho" userId="50612f1b-df2d-47bb-8fdd-7ddedc83fc7e" providerId="ADAL" clId="{5CBE12F2-F3C8-4DCE-AD77-5EBD7EED8DBF}" dt="2024-03-24T07:29:05.080" v="6685" actId="20577"/>
          <ac:spMkLst>
            <pc:docMk/>
            <pc:sldMk cId="454459423" sldId="2146847596"/>
            <ac:spMk id="7" creationId="{F0D8E545-A466-48F4-9272-B878EF0DC16B}"/>
          </ac:spMkLst>
        </pc:spChg>
      </pc:sldChg>
      <pc:sldChg chg="addSp modSp">
        <pc:chgData name="Mikami, Maho" userId="50612f1b-df2d-47bb-8fdd-7ddedc83fc7e" providerId="ADAL" clId="{5CBE12F2-F3C8-4DCE-AD77-5EBD7EED8DBF}" dt="2024-03-24T07:31:34.120" v="6781"/>
        <pc:sldMkLst>
          <pc:docMk/>
          <pc:sldMk cId="4083648982" sldId="2146847600"/>
        </pc:sldMkLst>
        <pc:spChg chg="add mod">
          <ac:chgData name="Mikami, Maho" userId="50612f1b-df2d-47bb-8fdd-7ddedc83fc7e" providerId="ADAL" clId="{5CBE12F2-F3C8-4DCE-AD77-5EBD7EED8DBF}" dt="2024-03-24T07:31:34.120" v="6781"/>
          <ac:spMkLst>
            <pc:docMk/>
            <pc:sldMk cId="4083648982" sldId="2146847600"/>
            <ac:spMk id="3" creationId="{6C646BEF-10F3-A4D9-626D-E5FB229D1C47}"/>
          </ac:spMkLst>
        </pc:spChg>
      </pc:sldChg>
      <pc:sldChg chg="addSp modSp">
        <pc:chgData name="Mikami, Maho" userId="50612f1b-df2d-47bb-8fdd-7ddedc83fc7e" providerId="ADAL" clId="{5CBE12F2-F3C8-4DCE-AD77-5EBD7EED8DBF}" dt="2024-03-24T07:16:34.723" v="5818"/>
        <pc:sldMkLst>
          <pc:docMk/>
          <pc:sldMk cId="2769435336" sldId="2146847601"/>
        </pc:sldMkLst>
        <pc:spChg chg="add mod">
          <ac:chgData name="Mikami, Maho" userId="50612f1b-df2d-47bb-8fdd-7ddedc83fc7e" providerId="ADAL" clId="{5CBE12F2-F3C8-4DCE-AD77-5EBD7EED8DBF}" dt="2024-03-24T07:16:34.723" v="5818"/>
          <ac:spMkLst>
            <pc:docMk/>
            <pc:sldMk cId="2769435336" sldId="2146847601"/>
            <ac:spMk id="2" creationId="{0C496FAA-B54B-6E9E-273F-740E8B0A733A}"/>
          </ac:spMkLst>
        </pc:spChg>
      </pc:sldChg>
      <pc:sldChg chg="modSp mod">
        <pc:chgData name="Mikami, Maho" userId="50612f1b-df2d-47bb-8fdd-7ddedc83fc7e" providerId="ADAL" clId="{5CBE12F2-F3C8-4DCE-AD77-5EBD7EED8DBF}" dt="2024-03-24T07:12:59.602" v="5484" actId="20577"/>
        <pc:sldMkLst>
          <pc:docMk/>
          <pc:sldMk cId="866626810" sldId="2146847605"/>
        </pc:sldMkLst>
        <pc:spChg chg="mod">
          <ac:chgData name="Mikami, Maho" userId="50612f1b-df2d-47bb-8fdd-7ddedc83fc7e" providerId="ADAL" clId="{5CBE12F2-F3C8-4DCE-AD77-5EBD7EED8DBF}" dt="2024-03-24T07:12:59.602" v="5484" actId="20577"/>
          <ac:spMkLst>
            <pc:docMk/>
            <pc:sldMk cId="866626810" sldId="2146847605"/>
            <ac:spMk id="8" creationId="{46402638-2B83-461D-A5AF-34487FA532E1}"/>
          </ac:spMkLst>
        </pc:spChg>
      </pc:sldChg>
      <pc:sldChg chg="modSp mod">
        <pc:chgData name="Mikami, Maho" userId="50612f1b-df2d-47bb-8fdd-7ddedc83fc7e" providerId="ADAL" clId="{5CBE12F2-F3C8-4DCE-AD77-5EBD7EED8DBF}" dt="2024-03-24T08:51:04.713" v="6786" actId="1076"/>
        <pc:sldMkLst>
          <pc:docMk/>
          <pc:sldMk cId="2389438647" sldId="2146847607"/>
        </pc:sldMkLst>
        <pc:spChg chg="mod">
          <ac:chgData name="Mikami, Maho" userId="50612f1b-df2d-47bb-8fdd-7ddedc83fc7e" providerId="ADAL" clId="{5CBE12F2-F3C8-4DCE-AD77-5EBD7EED8DBF}" dt="2024-03-24T08:51:04.713" v="6786" actId="1076"/>
          <ac:spMkLst>
            <pc:docMk/>
            <pc:sldMk cId="2389438647" sldId="2146847607"/>
            <ac:spMk id="3" creationId="{333095D3-2FAA-937D-3231-027C38419672}"/>
          </ac:spMkLst>
        </pc:spChg>
        <pc:graphicFrameChg chg="mod">
          <ac:chgData name="Mikami, Maho" userId="50612f1b-df2d-47bb-8fdd-7ddedc83fc7e" providerId="ADAL" clId="{5CBE12F2-F3C8-4DCE-AD77-5EBD7EED8DBF}" dt="2024-03-24T08:51:02.011" v="6785"/>
          <ac:graphicFrameMkLst>
            <pc:docMk/>
            <pc:sldMk cId="2389438647" sldId="2146847607"/>
            <ac:graphicFrameMk id="6" creationId="{B55303B4-CE87-4811-3F7F-A140D7D12FA2}"/>
          </ac:graphicFrameMkLst>
        </pc:graphicFrameChg>
      </pc:sldChg>
      <pc:sldChg chg="modSp mod">
        <pc:chgData name="Mikami, Maho" userId="50612f1b-df2d-47bb-8fdd-7ddedc83fc7e" providerId="ADAL" clId="{5CBE12F2-F3C8-4DCE-AD77-5EBD7EED8DBF}" dt="2024-03-24T07:11:10.072" v="5291" actId="20577"/>
        <pc:sldMkLst>
          <pc:docMk/>
          <pc:sldMk cId="2073688605" sldId="2146847608"/>
        </pc:sldMkLst>
        <pc:spChg chg="mod">
          <ac:chgData name="Mikami, Maho" userId="50612f1b-df2d-47bb-8fdd-7ddedc83fc7e" providerId="ADAL" clId="{5CBE12F2-F3C8-4DCE-AD77-5EBD7EED8DBF}" dt="2024-03-24T07:11:10.072" v="5291" actId="20577"/>
          <ac:spMkLst>
            <pc:docMk/>
            <pc:sldMk cId="2073688605" sldId="2146847608"/>
            <ac:spMk id="8" creationId="{46402638-2B83-461D-A5AF-34487FA532E1}"/>
          </ac:spMkLst>
        </pc:spChg>
        <pc:graphicFrameChg chg="modGraphic">
          <ac:chgData name="Mikami, Maho" userId="50612f1b-df2d-47bb-8fdd-7ddedc83fc7e" providerId="ADAL" clId="{5CBE12F2-F3C8-4DCE-AD77-5EBD7EED8DBF}" dt="2024-03-24T07:11:04.147" v="5285" actId="20577"/>
          <ac:graphicFrameMkLst>
            <pc:docMk/>
            <pc:sldMk cId="2073688605" sldId="2146847608"/>
            <ac:graphicFrameMk id="6" creationId="{C4701216-4BC2-4B2E-023B-F5FE85ABF65D}"/>
          </ac:graphicFrameMkLst>
        </pc:graphicFrameChg>
      </pc:sldChg>
      <pc:sldChg chg="addSp delSp modSp mod">
        <pc:chgData name="Mikami, Maho" userId="50612f1b-df2d-47bb-8fdd-7ddedc83fc7e" providerId="ADAL" clId="{5CBE12F2-F3C8-4DCE-AD77-5EBD7EED8DBF}" dt="2024-03-24T06:32:48.247" v="4556" actId="20577"/>
        <pc:sldMkLst>
          <pc:docMk/>
          <pc:sldMk cId="1799110117" sldId="2146847611"/>
        </pc:sldMkLst>
        <pc:spChg chg="add mod">
          <ac:chgData name="Mikami, Maho" userId="50612f1b-df2d-47bb-8fdd-7ddedc83fc7e" providerId="ADAL" clId="{5CBE12F2-F3C8-4DCE-AD77-5EBD7EED8DBF}" dt="2024-03-24T06:32:48.247" v="4556" actId="20577"/>
          <ac:spMkLst>
            <pc:docMk/>
            <pc:sldMk cId="1799110117" sldId="2146847611"/>
            <ac:spMk id="2" creationId="{B1E0DC43-489A-9BAE-613D-4DFE49F2E898}"/>
          </ac:spMkLst>
        </pc:spChg>
        <pc:spChg chg="del">
          <ac:chgData name="Mikami, Maho" userId="50612f1b-df2d-47bb-8fdd-7ddedc83fc7e" providerId="ADAL" clId="{5CBE12F2-F3C8-4DCE-AD77-5EBD7EED8DBF}" dt="2024-03-24T06:32:35.737" v="4524" actId="478"/>
          <ac:spMkLst>
            <pc:docMk/>
            <pc:sldMk cId="1799110117" sldId="2146847611"/>
            <ac:spMk id="23" creationId="{6050CA95-AF10-9564-18F8-69DF29CF5366}"/>
          </ac:spMkLst>
        </pc:spChg>
      </pc:sldChg>
      <pc:sldChg chg="del">
        <pc:chgData name="Mikami, Maho" userId="50612f1b-df2d-47bb-8fdd-7ddedc83fc7e" providerId="ADAL" clId="{5CBE12F2-F3C8-4DCE-AD77-5EBD7EED8DBF}" dt="2024-03-24T06:32:56.913" v="4557" actId="47"/>
        <pc:sldMkLst>
          <pc:docMk/>
          <pc:sldMk cId="1401715061" sldId="2146847621"/>
        </pc:sldMkLst>
      </pc:sldChg>
      <pc:sldChg chg="del">
        <pc:chgData name="Mikami, Maho" userId="50612f1b-df2d-47bb-8fdd-7ddedc83fc7e" providerId="ADAL" clId="{5CBE12F2-F3C8-4DCE-AD77-5EBD7EED8DBF}" dt="2024-03-24T06:27:33.776" v="4278" actId="47"/>
        <pc:sldMkLst>
          <pc:docMk/>
          <pc:sldMk cId="2391146792" sldId="2146847622"/>
        </pc:sldMkLst>
      </pc:sldChg>
      <pc:sldChg chg="del">
        <pc:chgData name="Mikami, Maho" userId="50612f1b-df2d-47bb-8fdd-7ddedc83fc7e" providerId="ADAL" clId="{5CBE12F2-F3C8-4DCE-AD77-5EBD7EED8DBF}" dt="2024-03-24T06:27:34.839" v="4279" actId="47"/>
        <pc:sldMkLst>
          <pc:docMk/>
          <pc:sldMk cId="3393070087" sldId="2146847623"/>
        </pc:sldMkLst>
      </pc:sldChg>
      <pc:sldChg chg="del">
        <pc:chgData name="Mikami, Maho" userId="50612f1b-df2d-47bb-8fdd-7ddedc83fc7e" providerId="ADAL" clId="{5CBE12F2-F3C8-4DCE-AD77-5EBD7EED8DBF}" dt="2024-03-24T06:27:35.522" v="4280" actId="47"/>
        <pc:sldMkLst>
          <pc:docMk/>
          <pc:sldMk cId="2424482231" sldId="2146847624"/>
        </pc:sldMkLst>
      </pc:sldChg>
      <pc:sldChg chg="addSp delSp modSp mod">
        <pc:chgData name="Mikami, Maho" userId="50612f1b-df2d-47bb-8fdd-7ddedc83fc7e" providerId="ADAL" clId="{5CBE12F2-F3C8-4DCE-AD77-5EBD7EED8DBF}" dt="2024-03-24T06:28:59.854" v="4354" actId="1076"/>
        <pc:sldMkLst>
          <pc:docMk/>
          <pc:sldMk cId="445871252" sldId="2146847625"/>
        </pc:sldMkLst>
        <pc:spChg chg="mod ord">
          <ac:chgData name="Mikami, Maho" userId="50612f1b-df2d-47bb-8fdd-7ddedc83fc7e" providerId="ADAL" clId="{5CBE12F2-F3C8-4DCE-AD77-5EBD7EED8DBF}" dt="2024-03-24T06:28:26.114" v="4318"/>
          <ac:spMkLst>
            <pc:docMk/>
            <pc:sldMk cId="445871252" sldId="2146847625"/>
            <ac:spMk id="2" creationId="{189E31E1-7F0B-D301-8B6E-172CA8FEDEEB}"/>
          </ac:spMkLst>
        </pc:spChg>
        <pc:spChg chg="mod ord">
          <ac:chgData name="Mikami, Maho" userId="50612f1b-df2d-47bb-8fdd-7ddedc83fc7e" providerId="ADAL" clId="{5CBE12F2-F3C8-4DCE-AD77-5EBD7EED8DBF}" dt="2024-03-24T06:28:26.114" v="4316"/>
          <ac:spMkLst>
            <pc:docMk/>
            <pc:sldMk cId="445871252" sldId="2146847625"/>
            <ac:spMk id="3" creationId="{0E959234-D977-32D2-63DC-F4994725B46C}"/>
          </ac:spMkLst>
        </pc:spChg>
        <pc:spChg chg="del mod ord">
          <ac:chgData name="Mikami, Maho" userId="50612f1b-df2d-47bb-8fdd-7ddedc83fc7e" providerId="ADAL" clId="{5CBE12F2-F3C8-4DCE-AD77-5EBD7EED8DBF}" dt="2024-03-24T06:28:37.581" v="4352" actId="478"/>
          <ac:spMkLst>
            <pc:docMk/>
            <pc:sldMk cId="445871252" sldId="2146847625"/>
            <ac:spMk id="4" creationId="{AE506D56-80F0-47F2-0DE5-4219BE85B18E}"/>
          </ac:spMkLst>
        </pc:spChg>
        <pc:spChg chg="mod ord">
          <ac:chgData name="Mikami, Maho" userId="50612f1b-df2d-47bb-8fdd-7ddedc83fc7e" providerId="ADAL" clId="{5CBE12F2-F3C8-4DCE-AD77-5EBD7EED8DBF}" dt="2024-03-24T06:28:26.113" v="4314"/>
          <ac:spMkLst>
            <pc:docMk/>
            <pc:sldMk cId="445871252" sldId="2146847625"/>
            <ac:spMk id="5" creationId="{D2F0D70F-ABDE-11A7-3BA0-1CD22F0EFEFA}"/>
          </ac:spMkLst>
        </pc:spChg>
        <pc:spChg chg="mod ord">
          <ac:chgData name="Mikami, Maho" userId="50612f1b-df2d-47bb-8fdd-7ddedc83fc7e" providerId="ADAL" clId="{5CBE12F2-F3C8-4DCE-AD77-5EBD7EED8DBF}" dt="2024-03-24T06:28:59.854" v="4354" actId="1076"/>
          <ac:spMkLst>
            <pc:docMk/>
            <pc:sldMk cId="445871252" sldId="2146847625"/>
            <ac:spMk id="6" creationId="{D0B0D116-FBCC-4FD9-948F-36682F868471}"/>
          </ac:spMkLst>
        </pc:spChg>
        <pc:spChg chg="mod ord">
          <ac:chgData name="Mikami, Maho" userId="50612f1b-df2d-47bb-8fdd-7ddedc83fc7e" providerId="ADAL" clId="{5CBE12F2-F3C8-4DCE-AD77-5EBD7EED8DBF}" dt="2024-03-24T06:28:26.103" v="4312"/>
          <ac:spMkLst>
            <pc:docMk/>
            <pc:sldMk cId="445871252" sldId="2146847625"/>
            <ac:spMk id="7" creationId="{D4FC4FD3-B88C-2342-AFB3-E2DD74234D8C}"/>
          </ac:spMkLst>
        </pc:spChg>
        <pc:spChg chg="del">
          <ac:chgData name="Mikami, Maho" userId="50612f1b-df2d-47bb-8fdd-7ddedc83fc7e" providerId="ADAL" clId="{5CBE12F2-F3C8-4DCE-AD77-5EBD7EED8DBF}" dt="2024-03-24T04:15:07.977" v="2219" actId="478"/>
          <ac:spMkLst>
            <pc:docMk/>
            <pc:sldMk cId="445871252" sldId="2146847625"/>
            <ac:spMk id="9" creationId="{991227FB-4C9A-E248-14FF-66A1DF102BFA}"/>
          </ac:spMkLst>
        </pc:spChg>
        <pc:spChg chg="add mod ord">
          <ac:chgData name="Mikami, Maho" userId="50612f1b-df2d-47bb-8fdd-7ddedc83fc7e" providerId="ADAL" clId="{5CBE12F2-F3C8-4DCE-AD77-5EBD7EED8DBF}" dt="2024-03-24T06:28:26.114" v="4322"/>
          <ac:spMkLst>
            <pc:docMk/>
            <pc:sldMk cId="445871252" sldId="2146847625"/>
            <ac:spMk id="10" creationId="{467D94E1-23FE-DB46-1849-29D0232CCC6D}"/>
          </ac:spMkLst>
        </pc:spChg>
        <pc:spChg chg="mod">
          <ac:chgData name="Mikami, Maho" userId="50612f1b-df2d-47bb-8fdd-7ddedc83fc7e" providerId="ADAL" clId="{5CBE12F2-F3C8-4DCE-AD77-5EBD7EED8DBF}" dt="2024-03-24T06:28:03.283" v="4282"/>
          <ac:spMkLst>
            <pc:docMk/>
            <pc:sldMk cId="445871252" sldId="2146847625"/>
            <ac:spMk id="18" creationId="{A1F1EC8C-46AD-7E60-CAEB-DD4B85E78737}"/>
          </ac:spMkLst>
        </pc:spChg>
        <pc:spChg chg="del">
          <ac:chgData name="Mikami, Maho" userId="50612f1b-df2d-47bb-8fdd-7ddedc83fc7e" providerId="ADAL" clId="{5CBE12F2-F3C8-4DCE-AD77-5EBD7EED8DBF}" dt="2024-03-24T04:49:45.177" v="2319" actId="478"/>
          <ac:spMkLst>
            <pc:docMk/>
            <pc:sldMk cId="445871252" sldId="2146847625"/>
            <ac:spMk id="20" creationId="{28C4B472-5620-D8B5-9BB8-37F2AB078B72}"/>
          </ac:spMkLst>
        </pc:spChg>
        <pc:spChg chg="del">
          <ac:chgData name="Mikami, Maho" userId="50612f1b-df2d-47bb-8fdd-7ddedc83fc7e" providerId="ADAL" clId="{5CBE12F2-F3C8-4DCE-AD77-5EBD7EED8DBF}" dt="2024-03-24T04:49:47.056" v="2320" actId="478"/>
          <ac:spMkLst>
            <pc:docMk/>
            <pc:sldMk cId="445871252" sldId="2146847625"/>
            <ac:spMk id="21" creationId="{6D7D675F-7F51-8E45-F04B-F161E22F7711}"/>
          </ac:spMkLst>
        </pc:spChg>
        <pc:spChg chg="del mod">
          <ac:chgData name="Mikami, Maho" userId="50612f1b-df2d-47bb-8fdd-7ddedc83fc7e" providerId="ADAL" clId="{5CBE12F2-F3C8-4DCE-AD77-5EBD7EED8DBF}" dt="2024-03-24T04:49:43.640" v="2318" actId="478"/>
          <ac:spMkLst>
            <pc:docMk/>
            <pc:sldMk cId="445871252" sldId="2146847625"/>
            <ac:spMk id="22" creationId="{E337757D-F67A-FB2A-9C39-5898E2AA1A0B}"/>
          </ac:spMkLst>
        </pc:spChg>
        <pc:spChg chg="mod">
          <ac:chgData name="Mikami, Maho" userId="50612f1b-df2d-47bb-8fdd-7ddedc83fc7e" providerId="ADAL" clId="{5CBE12F2-F3C8-4DCE-AD77-5EBD7EED8DBF}" dt="2024-03-24T06:28:03.283" v="4282"/>
          <ac:spMkLst>
            <pc:docMk/>
            <pc:sldMk cId="445871252" sldId="2146847625"/>
            <ac:spMk id="23" creationId="{13EC37AA-3B81-79F6-B909-392BCB4E860E}"/>
          </ac:spMkLst>
        </pc:spChg>
        <pc:spChg chg="mod">
          <ac:chgData name="Mikami, Maho" userId="50612f1b-df2d-47bb-8fdd-7ddedc83fc7e" providerId="ADAL" clId="{5CBE12F2-F3C8-4DCE-AD77-5EBD7EED8DBF}" dt="2024-03-24T06:28:03.283" v="4282"/>
          <ac:spMkLst>
            <pc:docMk/>
            <pc:sldMk cId="445871252" sldId="2146847625"/>
            <ac:spMk id="24" creationId="{8F0E9C64-4915-74DB-9ACB-5704F55C26C5}"/>
          </ac:spMkLst>
        </pc:spChg>
        <pc:spChg chg="mod">
          <ac:chgData name="Mikami, Maho" userId="50612f1b-df2d-47bb-8fdd-7ddedc83fc7e" providerId="ADAL" clId="{5CBE12F2-F3C8-4DCE-AD77-5EBD7EED8DBF}" dt="2024-03-24T06:28:03.283" v="4282"/>
          <ac:spMkLst>
            <pc:docMk/>
            <pc:sldMk cId="445871252" sldId="2146847625"/>
            <ac:spMk id="25" creationId="{7195BFEF-379C-1D1B-2551-A6024DEBD6C9}"/>
          </ac:spMkLst>
        </pc:spChg>
        <pc:spChg chg="mod">
          <ac:chgData name="Mikami, Maho" userId="50612f1b-df2d-47bb-8fdd-7ddedc83fc7e" providerId="ADAL" clId="{5CBE12F2-F3C8-4DCE-AD77-5EBD7EED8DBF}" dt="2024-03-24T06:28:03.283" v="4282"/>
          <ac:spMkLst>
            <pc:docMk/>
            <pc:sldMk cId="445871252" sldId="2146847625"/>
            <ac:spMk id="26" creationId="{54640E93-294F-4333-14DC-D56247588F9D}"/>
          </ac:spMkLst>
        </pc:spChg>
        <pc:spChg chg="mod">
          <ac:chgData name="Mikami, Maho" userId="50612f1b-df2d-47bb-8fdd-7ddedc83fc7e" providerId="ADAL" clId="{5CBE12F2-F3C8-4DCE-AD77-5EBD7EED8DBF}" dt="2024-03-24T06:28:03.283" v="4282"/>
          <ac:spMkLst>
            <pc:docMk/>
            <pc:sldMk cId="445871252" sldId="2146847625"/>
            <ac:spMk id="27" creationId="{3F7C9BFB-D2AD-BD42-1EB5-5318D988DF8E}"/>
          </ac:spMkLst>
        </pc:spChg>
        <pc:spChg chg="mod">
          <ac:chgData name="Mikami, Maho" userId="50612f1b-df2d-47bb-8fdd-7ddedc83fc7e" providerId="ADAL" clId="{5CBE12F2-F3C8-4DCE-AD77-5EBD7EED8DBF}" dt="2024-03-24T06:28:03.283" v="4282"/>
          <ac:spMkLst>
            <pc:docMk/>
            <pc:sldMk cId="445871252" sldId="2146847625"/>
            <ac:spMk id="28" creationId="{FD063A9D-631F-226E-FC79-905B04AE3E8D}"/>
          </ac:spMkLst>
        </pc:spChg>
        <pc:spChg chg="mod">
          <ac:chgData name="Mikami, Maho" userId="50612f1b-df2d-47bb-8fdd-7ddedc83fc7e" providerId="ADAL" clId="{5CBE12F2-F3C8-4DCE-AD77-5EBD7EED8DBF}" dt="2024-03-24T06:28:03.283" v="4282"/>
          <ac:spMkLst>
            <pc:docMk/>
            <pc:sldMk cId="445871252" sldId="2146847625"/>
            <ac:spMk id="29" creationId="{B207F1A5-4EAB-4B47-18C8-7A902E3F4E98}"/>
          </ac:spMkLst>
        </pc:spChg>
        <pc:spChg chg="mod">
          <ac:chgData name="Mikami, Maho" userId="50612f1b-df2d-47bb-8fdd-7ddedc83fc7e" providerId="ADAL" clId="{5CBE12F2-F3C8-4DCE-AD77-5EBD7EED8DBF}" dt="2024-03-24T06:28:03.283" v="4282"/>
          <ac:spMkLst>
            <pc:docMk/>
            <pc:sldMk cId="445871252" sldId="2146847625"/>
            <ac:spMk id="30" creationId="{DC306800-510A-4300-67B7-706A084E8C1B}"/>
          </ac:spMkLst>
        </pc:spChg>
        <pc:spChg chg="mod">
          <ac:chgData name="Mikami, Maho" userId="50612f1b-df2d-47bb-8fdd-7ddedc83fc7e" providerId="ADAL" clId="{5CBE12F2-F3C8-4DCE-AD77-5EBD7EED8DBF}" dt="2024-03-24T06:28:03.283" v="4282"/>
          <ac:spMkLst>
            <pc:docMk/>
            <pc:sldMk cId="445871252" sldId="2146847625"/>
            <ac:spMk id="33" creationId="{585D4828-BCAB-FCBD-E666-6A7046751318}"/>
          </ac:spMkLst>
        </pc:spChg>
        <pc:spChg chg="mod">
          <ac:chgData name="Mikami, Maho" userId="50612f1b-df2d-47bb-8fdd-7ddedc83fc7e" providerId="ADAL" clId="{5CBE12F2-F3C8-4DCE-AD77-5EBD7EED8DBF}" dt="2024-03-24T06:28:03.283" v="4282"/>
          <ac:spMkLst>
            <pc:docMk/>
            <pc:sldMk cId="445871252" sldId="2146847625"/>
            <ac:spMk id="34" creationId="{DF32403C-78E3-600F-F595-6BA5B50AB710}"/>
          </ac:spMkLst>
        </pc:spChg>
        <pc:spChg chg="mod">
          <ac:chgData name="Mikami, Maho" userId="50612f1b-df2d-47bb-8fdd-7ddedc83fc7e" providerId="ADAL" clId="{5CBE12F2-F3C8-4DCE-AD77-5EBD7EED8DBF}" dt="2024-03-24T06:28:03.283" v="4282"/>
          <ac:spMkLst>
            <pc:docMk/>
            <pc:sldMk cId="445871252" sldId="2146847625"/>
            <ac:spMk id="35" creationId="{E751BC77-B6A4-A832-279D-388B8CD0E83A}"/>
          </ac:spMkLst>
        </pc:spChg>
        <pc:spChg chg="mod">
          <ac:chgData name="Mikami, Maho" userId="50612f1b-df2d-47bb-8fdd-7ddedc83fc7e" providerId="ADAL" clId="{5CBE12F2-F3C8-4DCE-AD77-5EBD7EED8DBF}" dt="2024-03-24T06:28:03.283" v="4282"/>
          <ac:spMkLst>
            <pc:docMk/>
            <pc:sldMk cId="445871252" sldId="2146847625"/>
            <ac:spMk id="36" creationId="{D7A815E2-6AB1-9B38-E171-365EB46DBCF6}"/>
          </ac:spMkLst>
        </pc:spChg>
        <pc:spChg chg="mod">
          <ac:chgData name="Mikami, Maho" userId="50612f1b-df2d-47bb-8fdd-7ddedc83fc7e" providerId="ADAL" clId="{5CBE12F2-F3C8-4DCE-AD77-5EBD7EED8DBF}" dt="2024-03-24T06:28:03.283" v="4282"/>
          <ac:spMkLst>
            <pc:docMk/>
            <pc:sldMk cId="445871252" sldId="2146847625"/>
            <ac:spMk id="37" creationId="{E0BE631B-70A7-1CB8-2FD9-159232C76F71}"/>
          </ac:spMkLst>
        </pc:spChg>
        <pc:spChg chg="mod">
          <ac:chgData name="Mikami, Maho" userId="50612f1b-df2d-47bb-8fdd-7ddedc83fc7e" providerId="ADAL" clId="{5CBE12F2-F3C8-4DCE-AD77-5EBD7EED8DBF}" dt="2024-03-24T06:28:03.283" v="4282"/>
          <ac:spMkLst>
            <pc:docMk/>
            <pc:sldMk cId="445871252" sldId="2146847625"/>
            <ac:spMk id="38" creationId="{AB513DA6-2E20-05BC-CE1A-EFA5E1E080FB}"/>
          </ac:spMkLst>
        </pc:spChg>
        <pc:spChg chg="mod">
          <ac:chgData name="Mikami, Maho" userId="50612f1b-df2d-47bb-8fdd-7ddedc83fc7e" providerId="ADAL" clId="{5CBE12F2-F3C8-4DCE-AD77-5EBD7EED8DBF}" dt="2024-03-24T06:28:03.283" v="4282"/>
          <ac:spMkLst>
            <pc:docMk/>
            <pc:sldMk cId="445871252" sldId="2146847625"/>
            <ac:spMk id="39" creationId="{F8F5491C-0C88-74A3-EC31-3BEB73FB632A}"/>
          </ac:spMkLst>
        </pc:spChg>
        <pc:spChg chg="mod">
          <ac:chgData name="Mikami, Maho" userId="50612f1b-df2d-47bb-8fdd-7ddedc83fc7e" providerId="ADAL" clId="{5CBE12F2-F3C8-4DCE-AD77-5EBD7EED8DBF}" dt="2024-03-24T06:28:03.283" v="4282"/>
          <ac:spMkLst>
            <pc:docMk/>
            <pc:sldMk cId="445871252" sldId="2146847625"/>
            <ac:spMk id="41" creationId="{1BE4DD73-928D-CF87-8BA6-CD778D224A01}"/>
          </ac:spMkLst>
        </pc:spChg>
        <pc:spChg chg="mod">
          <ac:chgData name="Mikami, Maho" userId="50612f1b-df2d-47bb-8fdd-7ddedc83fc7e" providerId="ADAL" clId="{5CBE12F2-F3C8-4DCE-AD77-5EBD7EED8DBF}" dt="2024-03-24T06:28:03.283" v="4282"/>
          <ac:spMkLst>
            <pc:docMk/>
            <pc:sldMk cId="445871252" sldId="2146847625"/>
            <ac:spMk id="42" creationId="{A5F42E6B-71B5-4B20-F0DF-27CD4E1CFF29}"/>
          </ac:spMkLst>
        </pc:spChg>
        <pc:spChg chg="mod">
          <ac:chgData name="Mikami, Maho" userId="50612f1b-df2d-47bb-8fdd-7ddedc83fc7e" providerId="ADAL" clId="{5CBE12F2-F3C8-4DCE-AD77-5EBD7EED8DBF}" dt="2024-03-24T06:28:03.283" v="4282"/>
          <ac:spMkLst>
            <pc:docMk/>
            <pc:sldMk cId="445871252" sldId="2146847625"/>
            <ac:spMk id="46" creationId="{56706E4C-71E6-D5CE-80CF-739404B8FDD8}"/>
          </ac:spMkLst>
        </pc:spChg>
        <pc:spChg chg="mod">
          <ac:chgData name="Mikami, Maho" userId="50612f1b-df2d-47bb-8fdd-7ddedc83fc7e" providerId="ADAL" clId="{5CBE12F2-F3C8-4DCE-AD77-5EBD7EED8DBF}" dt="2024-03-24T06:28:03.283" v="4282"/>
          <ac:spMkLst>
            <pc:docMk/>
            <pc:sldMk cId="445871252" sldId="2146847625"/>
            <ac:spMk id="47" creationId="{9491A79A-65F8-F86F-64A2-C28235717FE7}"/>
          </ac:spMkLst>
        </pc:spChg>
        <pc:spChg chg="mod">
          <ac:chgData name="Mikami, Maho" userId="50612f1b-df2d-47bb-8fdd-7ddedc83fc7e" providerId="ADAL" clId="{5CBE12F2-F3C8-4DCE-AD77-5EBD7EED8DBF}" dt="2024-03-24T06:28:03.283" v="4282"/>
          <ac:spMkLst>
            <pc:docMk/>
            <pc:sldMk cId="445871252" sldId="2146847625"/>
            <ac:spMk id="51" creationId="{586D05DF-1EA6-9CDE-B207-F6E7E51088DA}"/>
          </ac:spMkLst>
        </pc:spChg>
        <pc:spChg chg="mod">
          <ac:chgData name="Mikami, Maho" userId="50612f1b-df2d-47bb-8fdd-7ddedc83fc7e" providerId="ADAL" clId="{5CBE12F2-F3C8-4DCE-AD77-5EBD7EED8DBF}" dt="2024-03-24T06:28:03.283" v="4282"/>
          <ac:spMkLst>
            <pc:docMk/>
            <pc:sldMk cId="445871252" sldId="2146847625"/>
            <ac:spMk id="56" creationId="{95E27F2E-9CD7-B242-4A76-B2ED8A2FA852}"/>
          </ac:spMkLst>
        </pc:spChg>
        <pc:spChg chg="mod">
          <ac:chgData name="Mikami, Maho" userId="50612f1b-df2d-47bb-8fdd-7ddedc83fc7e" providerId="ADAL" clId="{5CBE12F2-F3C8-4DCE-AD77-5EBD7EED8DBF}" dt="2024-03-24T06:28:03.283" v="4282"/>
          <ac:spMkLst>
            <pc:docMk/>
            <pc:sldMk cId="445871252" sldId="2146847625"/>
            <ac:spMk id="57" creationId="{07802210-EBB0-E445-AEB0-227596D5D033}"/>
          </ac:spMkLst>
        </pc:spChg>
        <pc:spChg chg="mod">
          <ac:chgData name="Mikami, Maho" userId="50612f1b-df2d-47bb-8fdd-7ddedc83fc7e" providerId="ADAL" clId="{5CBE12F2-F3C8-4DCE-AD77-5EBD7EED8DBF}" dt="2024-03-24T06:28:03.283" v="4282"/>
          <ac:spMkLst>
            <pc:docMk/>
            <pc:sldMk cId="445871252" sldId="2146847625"/>
            <ac:spMk id="58" creationId="{D13C5994-FBF1-D585-6669-7CB8173AF624}"/>
          </ac:spMkLst>
        </pc:spChg>
        <pc:spChg chg="mod">
          <ac:chgData name="Mikami, Maho" userId="50612f1b-df2d-47bb-8fdd-7ddedc83fc7e" providerId="ADAL" clId="{5CBE12F2-F3C8-4DCE-AD77-5EBD7EED8DBF}" dt="2024-03-24T06:28:03.283" v="4282"/>
          <ac:spMkLst>
            <pc:docMk/>
            <pc:sldMk cId="445871252" sldId="2146847625"/>
            <ac:spMk id="66" creationId="{4B3554AF-980F-1A77-6739-93381257A921}"/>
          </ac:spMkLst>
        </pc:spChg>
        <pc:spChg chg="mod">
          <ac:chgData name="Mikami, Maho" userId="50612f1b-df2d-47bb-8fdd-7ddedc83fc7e" providerId="ADAL" clId="{5CBE12F2-F3C8-4DCE-AD77-5EBD7EED8DBF}" dt="2024-03-24T06:28:03.283" v="4282"/>
          <ac:spMkLst>
            <pc:docMk/>
            <pc:sldMk cId="445871252" sldId="2146847625"/>
            <ac:spMk id="67" creationId="{7BC54FD7-845A-DF08-1EFB-384E215CCC10}"/>
          </ac:spMkLst>
        </pc:spChg>
        <pc:spChg chg="mod">
          <ac:chgData name="Mikami, Maho" userId="50612f1b-df2d-47bb-8fdd-7ddedc83fc7e" providerId="ADAL" clId="{5CBE12F2-F3C8-4DCE-AD77-5EBD7EED8DBF}" dt="2024-03-24T06:28:14.153" v="4286"/>
          <ac:spMkLst>
            <pc:docMk/>
            <pc:sldMk cId="445871252" sldId="2146847625"/>
            <ac:spMk id="69" creationId="{B46AC612-8C23-D329-E47E-88388657A05F}"/>
          </ac:spMkLst>
        </pc:spChg>
        <pc:spChg chg="mod">
          <ac:chgData name="Mikami, Maho" userId="50612f1b-df2d-47bb-8fdd-7ddedc83fc7e" providerId="ADAL" clId="{5CBE12F2-F3C8-4DCE-AD77-5EBD7EED8DBF}" dt="2024-03-24T06:28:14.153" v="4286"/>
          <ac:spMkLst>
            <pc:docMk/>
            <pc:sldMk cId="445871252" sldId="2146847625"/>
            <ac:spMk id="70" creationId="{AD821757-5A77-F57B-A08F-BEA1A8CB326B}"/>
          </ac:spMkLst>
        </pc:spChg>
        <pc:spChg chg="mod">
          <ac:chgData name="Mikami, Maho" userId="50612f1b-df2d-47bb-8fdd-7ddedc83fc7e" providerId="ADAL" clId="{5CBE12F2-F3C8-4DCE-AD77-5EBD7EED8DBF}" dt="2024-03-24T06:28:14.153" v="4286"/>
          <ac:spMkLst>
            <pc:docMk/>
            <pc:sldMk cId="445871252" sldId="2146847625"/>
            <ac:spMk id="71" creationId="{A183A815-FBBC-23CB-4A88-E0AE1FFFF869}"/>
          </ac:spMkLst>
        </pc:spChg>
        <pc:spChg chg="mod">
          <ac:chgData name="Mikami, Maho" userId="50612f1b-df2d-47bb-8fdd-7ddedc83fc7e" providerId="ADAL" clId="{5CBE12F2-F3C8-4DCE-AD77-5EBD7EED8DBF}" dt="2024-03-24T06:28:14.153" v="4286"/>
          <ac:spMkLst>
            <pc:docMk/>
            <pc:sldMk cId="445871252" sldId="2146847625"/>
            <ac:spMk id="72" creationId="{B8623B39-B313-C952-1836-0044280209FA}"/>
          </ac:spMkLst>
        </pc:spChg>
        <pc:spChg chg="mod">
          <ac:chgData name="Mikami, Maho" userId="50612f1b-df2d-47bb-8fdd-7ddedc83fc7e" providerId="ADAL" clId="{5CBE12F2-F3C8-4DCE-AD77-5EBD7EED8DBF}" dt="2024-03-24T06:28:14.153" v="4286"/>
          <ac:spMkLst>
            <pc:docMk/>
            <pc:sldMk cId="445871252" sldId="2146847625"/>
            <ac:spMk id="73" creationId="{2BC4BA17-9102-7000-BEC9-FAB9601A52ED}"/>
          </ac:spMkLst>
        </pc:spChg>
        <pc:spChg chg="mod">
          <ac:chgData name="Mikami, Maho" userId="50612f1b-df2d-47bb-8fdd-7ddedc83fc7e" providerId="ADAL" clId="{5CBE12F2-F3C8-4DCE-AD77-5EBD7EED8DBF}" dt="2024-03-24T06:28:14.153" v="4286"/>
          <ac:spMkLst>
            <pc:docMk/>
            <pc:sldMk cId="445871252" sldId="2146847625"/>
            <ac:spMk id="74" creationId="{1BC97B27-766D-5C75-F173-32C04F7C5A39}"/>
          </ac:spMkLst>
        </pc:spChg>
        <pc:spChg chg="mod">
          <ac:chgData name="Mikami, Maho" userId="50612f1b-df2d-47bb-8fdd-7ddedc83fc7e" providerId="ADAL" clId="{5CBE12F2-F3C8-4DCE-AD77-5EBD7EED8DBF}" dt="2024-03-24T06:28:14.153" v="4286"/>
          <ac:spMkLst>
            <pc:docMk/>
            <pc:sldMk cId="445871252" sldId="2146847625"/>
            <ac:spMk id="75" creationId="{8C7FC280-B06C-F1B4-E9A3-D3C7CC378A04}"/>
          </ac:spMkLst>
        </pc:spChg>
        <pc:spChg chg="mod">
          <ac:chgData name="Mikami, Maho" userId="50612f1b-df2d-47bb-8fdd-7ddedc83fc7e" providerId="ADAL" clId="{5CBE12F2-F3C8-4DCE-AD77-5EBD7EED8DBF}" dt="2024-03-24T06:28:14.153" v="4286"/>
          <ac:spMkLst>
            <pc:docMk/>
            <pc:sldMk cId="445871252" sldId="2146847625"/>
            <ac:spMk id="76" creationId="{E4819C67-6BBE-F771-6CC3-7820A233A338}"/>
          </ac:spMkLst>
        </pc:spChg>
        <pc:spChg chg="mod">
          <ac:chgData name="Mikami, Maho" userId="50612f1b-df2d-47bb-8fdd-7ddedc83fc7e" providerId="ADAL" clId="{5CBE12F2-F3C8-4DCE-AD77-5EBD7EED8DBF}" dt="2024-03-24T06:28:14.153" v="4286"/>
          <ac:spMkLst>
            <pc:docMk/>
            <pc:sldMk cId="445871252" sldId="2146847625"/>
            <ac:spMk id="77" creationId="{D656469A-F5B3-A3C8-D1A5-D1B56D9F5E97}"/>
          </ac:spMkLst>
        </pc:spChg>
        <pc:spChg chg="mod">
          <ac:chgData name="Mikami, Maho" userId="50612f1b-df2d-47bb-8fdd-7ddedc83fc7e" providerId="ADAL" clId="{5CBE12F2-F3C8-4DCE-AD77-5EBD7EED8DBF}" dt="2024-03-24T06:28:14.153" v="4286"/>
          <ac:spMkLst>
            <pc:docMk/>
            <pc:sldMk cId="445871252" sldId="2146847625"/>
            <ac:spMk id="80" creationId="{DD39E46F-1553-FF68-1064-7A71D23EAB6C}"/>
          </ac:spMkLst>
        </pc:spChg>
        <pc:spChg chg="mod">
          <ac:chgData name="Mikami, Maho" userId="50612f1b-df2d-47bb-8fdd-7ddedc83fc7e" providerId="ADAL" clId="{5CBE12F2-F3C8-4DCE-AD77-5EBD7EED8DBF}" dt="2024-03-24T06:28:14.153" v="4286"/>
          <ac:spMkLst>
            <pc:docMk/>
            <pc:sldMk cId="445871252" sldId="2146847625"/>
            <ac:spMk id="81" creationId="{E0A90A0C-D439-5DF6-3110-D707AF24AF84}"/>
          </ac:spMkLst>
        </pc:spChg>
        <pc:spChg chg="mod">
          <ac:chgData name="Mikami, Maho" userId="50612f1b-df2d-47bb-8fdd-7ddedc83fc7e" providerId="ADAL" clId="{5CBE12F2-F3C8-4DCE-AD77-5EBD7EED8DBF}" dt="2024-03-24T06:28:14.153" v="4286"/>
          <ac:spMkLst>
            <pc:docMk/>
            <pc:sldMk cId="445871252" sldId="2146847625"/>
            <ac:spMk id="82" creationId="{67E43A8D-6506-D18F-2636-600582A1BD46}"/>
          </ac:spMkLst>
        </pc:spChg>
        <pc:spChg chg="mod">
          <ac:chgData name="Mikami, Maho" userId="50612f1b-df2d-47bb-8fdd-7ddedc83fc7e" providerId="ADAL" clId="{5CBE12F2-F3C8-4DCE-AD77-5EBD7EED8DBF}" dt="2024-03-24T06:28:14.153" v="4286"/>
          <ac:spMkLst>
            <pc:docMk/>
            <pc:sldMk cId="445871252" sldId="2146847625"/>
            <ac:spMk id="83" creationId="{F19BBC46-5913-1716-9FFE-F1E2D8C6CF5A}"/>
          </ac:spMkLst>
        </pc:spChg>
        <pc:spChg chg="mod">
          <ac:chgData name="Mikami, Maho" userId="50612f1b-df2d-47bb-8fdd-7ddedc83fc7e" providerId="ADAL" clId="{5CBE12F2-F3C8-4DCE-AD77-5EBD7EED8DBF}" dt="2024-03-24T06:28:14.153" v="4286"/>
          <ac:spMkLst>
            <pc:docMk/>
            <pc:sldMk cId="445871252" sldId="2146847625"/>
            <ac:spMk id="84" creationId="{2F9B0CB8-E0BD-D728-7EE0-7983DB6F7CF3}"/>
          </ac:spMkLst>
        </pc:spChg>
        <pc:spChg chg="mod">
          <ac:chgData name="Mikami, Maho" userId="50612f1b-df2d-47bb-8fdd-7ddedc83fc7e" providerId="ADAL" clId="{5CBE12F2-F3C8-4DCE-AD77-5EBD7EED8DBF}" dt="2024-03-24T06:28:14.153" v="4286"/>
          <ac:spMkLst>
            <pc:docMk/>
            <pc:sldMk cId="445871252" sldId="2146847625"/>
            <ac:spMk id="85" creationId="{DE2F48D1-3F3C-6B82-8E00-5C0241C94B2D}"/>
          </ac:spMkLst>
        </pc:spChg>
        <pc:spChg chg="mod">
          <ac:chgData name="Mikami, Maho" userId="50612f1b-df2d-47bb-8fdd-7ddedc83fc7e" providerId="ADAL" clId="{5CBE12F2-F3C8-4DCE-AD77-5EBD7EED8DBF}" dt="2024-03-24T06:28:14.153" v="4286"/>
          <ac:spMkLst>
            <pc:docMk/>
            <pc:sldMk cId="445871252" sldId="2146847625"/>
            <ac:spMk id="86" creationId="{5D32D3EE-CE14-01CE-1F89-EE38913C243D}"/>
          </ac:spMkLst>
        </pc:spChg>
        <pc:spChg chg="mod">
          <ac:chgData name="Mikami, Maho" userId="50612f1b-df2d-47bb-8fdd-7ddedc83fc7e" providerId="ADAL" clId="{5CBE12F2-F3C8-4DCE-AD77-5EBD7EED8DBF}" dt="2024-03-24T06:28:14.153" v="4286"/>
          <ac:spMkLst>
            <pc:docMk/>
            <pc:sldMk cId="445871252" sldId="2146847625"/>
            <ac:spMk id="88" creationId="{A37B4C03-D3FF-39F0-92E9-7BA4D86489C8}"/>
          </ac:spMkLst>
        </pc:spChg>
        <pc:spChg chg="mod">
          <ac:chgData name="Mikami, Maho" userId="50612f1b-df2d-47bb-8fdd-7ddedc83fc7e" providerId="ADAL" clId="{5CBE12F2-F3C8-4DCE-AD77-5EBD7EED8DBF}" dt="2024-03-24T06:28:14.153" v="4286"/>
          <ac:spMkLst>
            <pc:docMk/>
            <pc:sldMk cId="445871252" sldId="2146847625"/>
            <ac:spMk id="89" creationId="{84FC4DB4-B9C3-8935-262D-B591D12045D6}"/>
          </ac:spMkLst>
        </pc:spChg>
        <pc:spChg chg="mod">
          <ac:chgData name="Mikami, Maho" userId="50612f1b-df2d-47bb-8fdd-7ddedc83fc7e" providerId="ADAL" clId="{5CBE12F2-F3C8-4DCE-AD77-5EBD7EED8DBF}" dt="2024-03-24T06:28:14.153" v="4286"/>
          <ac:spMkLst>
            <pc:docMk/>
            <pc:sldMk cId="445871252" sldId="2146847625"/>
            <ac:spMk id="93" creationId="{6BD10B53-89BE-F6B1-899E-0FCA97AC0B92}"/>
          </ac:spMkLst>
        </pc:spChg>
        <pc:spChg chg="mod">
          <ac:chgData name="Mikami, Maho" userId="50612f1b-df2d-47bb-8fdd-7ddedc83fc7e" providerId="ADAL" clId="{5CBE12F2-F3C8-4DCE-AD77-5EBD7EED8DBF}" dt="2024-03-24T06:28:14.153" v="4286"/>
          <ac:spMkLst>
            <pc:docMk/>
            <pc:sldMk cId="445871252" sldId="2146847625"/>
            <ac:spMk id="94" creationId="{70FC5EAA-78F7-6DC7-A38D-49CBFA31FA1A}"/>
          </ac:spMkLst>
        </pc:spChg>
        <pc:spChg chg="mod">
          <ac:chgData name="Mikami, Maho" userId="50612f1b-df2d-47bb-8fdd-7ddedc83fc7e" providerId="ADAL" clId="{5CBE12F2-F3C8-4DCE-AD77-5EBD7EED8DBF}" dt="2024-03-24T06:28:14.153" v="4286"/>
          <ac:spMkLst>
            <pc:docMk/>
            <pc:sldMk cId="445871252" sldId="2146847625"/>
            <ac:spMk id="98" creationId="{DDCC0C9F-8B23-DFDE-1F04-7500EB05046D}"/>
          </ac:spMkLst>
        </pc:spChg>
        <pc:spChg chg="mod">
          <ac:chgData name="Mikami, Maho" userId="50612f1b-df2d-47bb-8fdd-7ddedc83fc7e" providerId="ADAL" clId="{5CBE12F2-F3C8-4DCE-AD77-5EBD7EED8DBF}" dt="2024-03-24T06:28:14.153" v="4286"/>
          <ac:spMkLst>
            <pc:docMk/>
            <pc:sldMk cId="445871252" sldId="2146847625"/>
            <ac:spMk id="103" creationId="{8914A798-A866-BE02-BC09-695F412A844F}"/>
          </ac:spMkLst>
        </pc:spChg>
        <pc:spChg chg="mod">
          <ac:chgData name="Mikami, Maho" userId="50612f1b-df2d-47bb-8fdd-7ddedc83fc7e" providerId="ADAL" clId="{5CBE12F2-F3C8-4DCE-AD77-5EBD7EED8DBF}" dt="2024-03-24T06:28:14.153" v="4286"/>
          <ac:spMkLst>
            <pc:docMk/>
            <pc:sldMk cId="445871252" sldId="2146847625"/>
            <ac:spMk id="104" creationId="{80724BF0-866D-06D2-9D02-B8162F4C9C99}"/>
          </ac:spMkLst>
        </pc:spChg>
        <pc:spChg chg="mod">
          <ac:chgData name="Mikami, Maho" userId="50612f1b-df2d-47bb-8fdd-7ddedc83fc7e" providerId="ADAL" clId="{5CBE12F2-F3C8-4DCE-AD77-5EBD7EED8DBF}" dt="2024-03-24T06:28:14.153" v="4286"/>
          <ac:spMkLst>
            <pc:docMk/>
            <pc:sldMk cId="445871252" sldId="2146847625"/>
            <ac:spMk id="105" creationId="{6822D99B-F848-4092-50D4-648C66CD87CD}"/>
          </ac:spMkLst>
        </pc:spChg>
        <pc:spChg chg="mod">
          <ac:chgData name="Mikami, Maho" userId="50612f1b-df2d-47bb-8fdd-7ddedc83fc7e" providerId="ADAL" clId="{5CBE12F2-F3C8-4DCE-AD77-5EBD7EED8DBF}" dt="2024-03-24T06:28:14.153" v="4286"/>
          <ac:spMkLst>
            <pc:docMk/>
            <pc:sldMk cId="445871252" sldId="2146847625"/>
            <ac:spMk id="113" creationId="{0B99C084-9F77-B688-F936-82EF00050128}"/>
          </ac:spMkLst>
        </pc:spChg>
        <pc:spChg chg="mod">
          <ac:chgData name="Mikami, Maho" userId="50612f1b-df2d-47bb-8fdd-7ddedc83fc7e" providerId="ADAL" clId="{5CBE12F2-F3C8-4DCE-AD77-5EBD7EED8DBF}" dt="2024-03-24T06:28:14.153" v="4286"/>
          <ac:spMkLst>
            <pc:docMk/>
            <pc:sldMk cId="445871252" sldId="2146847625"/>
            <ac:spMk id="114" creationId="{5FEC17B2-69F1-4EAE-BFEA-8C39BC03556A}"/>
          </ac:spMkLst>
        </pc:spChg>
        <pc:spChg chg="mod">
          <ac:chgData name="Mikami, Maho" userId="50612f1b-df2d-47bb-8fdd-7ddedc83fc7e" providerId="ADAL" clId="{5CBE12F2-F3C8-4DCE-AD77-5EBD7EED8DBF}" dt="2024-03-24T06:28:15.719" v="4287"/>
          <ac:spMkLst>
            <pc:docMk/>
            <pc:sldMk cId="445871252" sldId="2146847625"/>
            <ac:spMk id="116" creationId="{D6EC590E-2810-5A39-0DB3-88DF0C7682FA}"/>
          </ac:spMkLst>
        </pc:spChg>
        <pc:spChg chg="mod">
          <ac:chgData name="Mikami, Maho" userId="50612f1b-df2d-47bb-8fdd-7ddedc83fc7e" providerId="ADAL" clId="{5CBE12F2-F3C8-4DCE-AD77-5EBD7EED8DBF}" dt="2024-03-24T06:28:15.719" v="4287"/>
          <ac:spMkLst>
            <pc:docMk/>
            <pc:sldMk cId="445871252" sldId="2146847625"/>
            <ac:spMk id="117" creationId="{7152A324-CEF3-5AF0-E7F3-D6CB38D34178}"/>
          </ac:spMkLst>
        </pc:spChg>
        <pc:spChg chg="mod">
          <ac:chgData name="Mikami, Maho" userId="50612f1b-df2d-47bb-8fdd-7ddedc83fc7e" providerId="ADAL" clId="{5CBE12F2-F3C8-4DCE-AD77-5EBD7EED8DBF}" dt="2024-03-24T06:28:15.719" v="4287"/>
          <ac:spMkLst>
            <pc:docMk/>
            <pc:sldMk cId="445871252" sldId="2146847625"/>
            <ac:spMk id="118" creationId="{1C152335-8C76-7E36-394B-F58B5AE43CC5}"/>
          </ac:spMkLst>
        </pc:spChg>
        <pc:spChg chg="mod">
          <ac:chgData name="Mikami, Maho" userId="50612f1b-df2d-47bb-8fdd-7ddedc83fc7e" providerId="ADAL" clId="{5CBE12F2-F3C8-4DCE-AD77-5EBD7EED8DBF}" dt="2024-03-24T06:28:15.719" v="4287"/>
          <ac:spMkLst>
            <pc:docMk/>
            <pc:sldMk cId="445871252" sldId="2146847625"/>
            <ac:spMk id="119" creationId="{52215782-1A5F-13EE-6E47-8B6A82B77D93}"/>
          </ac:spMkLst>
        </pc:spChg>
        <pc:spChg chg="mod">
          <ac:chgData name="Mikami, Maho" userId="50612f1b-df2d-47bb-8fdd-7ddedc83fc7e" providerId="ADAL" clId="{5CBE12F2-F3C8-4DCE-AD77-5EBD7EED8DBF}" dt="2024-03-24T06:28:15.719" v="4287"/>
          <ac:spMkLst>
            <pc:docMk/>
            <pc:sldMk cId="445871252" sldId="2146847625"/>
            <ac:spMk id="120" creationId="{291DC4D8-ABC6-873F-9550-C6EEF642175C}"/>
          </ac:spMkLst>
        </pc:spChg>
        <pc:spChg chg="mod">
          <ac:chgData name="Mikami, Maho" userId="50612f1b-df2d-47bb-8fdd-7ddedc83fc7e" providerId="ADAL" clId="{5CBE12F2-F3C8-4DCE-AD77-5EBD7EED8DBF}" dt="2024-03-24T06:28:15.719" v="4287"/>
          <ac:spMkLst>
            <pc:docMk/>
            <pc:sldMk cId="445871252" sldId="2146847625"/>
            <ac:spMk id="121" creationId="{A25B42D4-A6B0-8D81-96E8-38B3EA88A185}"/>
          </ac:spMkLst>
        </pc:spChg>
        <pc:spChg chg="mod">
          <ac:chgData name="Mikami, Maho" userId="50612f1b-df2d-47bb-8fdd-7ddedc83fc7e" providerId="ADAL" clId="{5CBE12F2-F3C8-4DCE-AD77-5EBD7EED8DBF}" dt="2024-03-24T06:28:15.719" v="4287"/>
          <ac:spMkLst>
            <pc:docMk/>
            <pc:sldMk cId="445871252" sldId="2146847625"/>
            <ac:spMk id="122" creationId="{B6950930-4873-DEB5-1B92-743405B9E0E7}"/>
          </ac:spMkLst>
        </pc:spChg>
        <pc:spChg chg="mod">
          <ac:chgData name="Mikami, Maho" userId="50612f1b-df2d-47bb-8fdd-7ddedc83fc7e" providerId="ADAL" clId="{5CBE12F2-F3C8-4DCE-AD77-5EBD7EED8DBF}" dt="2024-03-24T06:28:15.719" v="4287"/>
          <ac:spMkLst>
            <pc:docMk/>
            <pc:sldMk cId="445871252" sldId="2146847625"/>
            <ac:spMk id="123" creationId="{96C021AB-209B-46FC-DEFD-9189BEF0C90A}"/>
          </ac:spMkLst>
        </pc:spChg>
        <pc:spChg chg="mod">
          <ac:chgData name="Mikami, Maho" userId="50612f1b-df2d-47bb-8fdd-7ddedc83fc7e" providerId="ADAL" clId="{5CBE12F2-F3C8-4DCE-AD77-5EBD7EED8DBF}" dt="2024-03-24T06:28:15.719" v="4287"/>
          <ac:spMkLst>
            <pc:docMk/>
            <pc:sldMk cId="445871252" sldId="2146847625"/>
            <ac:spMk id="124" creationId="{C859AF17-704D-C23C-D70F-7EF699DBB1A3}"/>
          </ac:spMkLst>
        </pc:spChg>
        <pc:spChg chg="mod">
          <ac:chgData name="Mikami, Maho" userId="50612f1b-df2d-47bb-8fdd-7ddedc83fc7e" providerId="ADAL" clId="{5CBE12F2-F3C8-4DCE-AD77-5EBD7EED8DBF}" dt="2024-03-24T06:28:15.719" v="4287"/>
          <ac:spMkLst>
            <pc:docMk/>
            <pc:sldMk cId="445871252" sldId="2146847625"/>
            <ac:spMk id="127" creationId="{1FB0ABDD-3CCC-C28C-DE51-9DA70644834D}"/>
          </ac:spMkLst>
        </pc:spChg>
        <pc:spChg chg="mod">
          <ac:chgData name="Mikami, Maho" userId="50612f1b-df2d-47bb-8fdd-7ddedc83fc7e" providerId="ADAL" clId="{5CBE12F2-F3C8-4DCE-AD77-5EBD7EED8DBF}" dt="2024-03-24T06:28:15.719" v="4287"/>
          <ac:spMkLst>
            <pc:docMk/>
            <pc:sldMk cId="445871252" sldId="2146847625"/>
            <ac:spMk id="128" creationId="{4D8D71BE-F200-E5C1-B9D2-F3A09D36E56D}"/>
          </ac:spMkLst>
        </pc:spChg>
        <pc:spChg chg="mod">
          <ac:chgData name="Mikami, Maho" userId="50612f1b-df2d-47bb-8fdd-7ddedc83fc7e" providerId="ADAL" clId="{5CBE12F2-F3C8-4DCE-AD77-5EBD7EED8DBF}" dt="2024-03-24T06:28:15.719" v="4287"/>
          <ac:spMkLst>
            <pc:docMk/>
            <pc:sldMk cId="445871252" sldId="2146847625"/>
            <ac:spMk id="129" creationId="{A5EA18AF-4380-0357-18E1-7A8B32520523}"/>
          </ac:spMkLst>
        </pc:spChg>
        <pc:spChg chg="mod">
          <ac:chgData name="Mikami, Maho" userId="50612f1b-df2d-47bb-8fdd-7ddedc83fc7e" providerId="ADAL" clId="{5CBE12F2-F3C8-4DCE-AD77-5EBD7EED8DBF}" dt="2024-03-24T06:28:15.719" v="4287"/>
          <ac:spMkLst>
            <pc:docMk/>
            <pc:sldMk cId="445871252" sldId="2146847625"/>
            <ac:spMk id="130" creationId="{4565280D-7E0C-67E3-78A0-87D2B4DF0B94}"/>
          </ac:spMkLst>
        </pc:spChg>
        <pc:spChg chg="mod">
          <ac:chgData name="Mikami, Maho" userId="50612f1b-df2d-47bb-8fdd-7ddedc83fc7e" providerId="ADAL" clId="{5CBE12F2-F3C8-4DCE-AD77-5EBD7EED8DBF}" dt="2024-03-24T06:28:15.719" v="4287"/>
          <ac:spMkLst>
            <pc:docMk/>
            <pc:sldMk cId="445871252" sldId="2146847625"/>
            <ac:spMk id="131" creationId="{8CC81339-87BA-93BD-B16C-127584728366}"/>
          </ac:spMkLst>
        </pc:spChg>
        <pc:spChg chg="mod">
          <ac:chgData name="Mikami, Maho" userId="50612f1b-df2d-47bb-8fdd-7ddedc83fc7e" providerId="ADAL" clId="{5CBE12F2-F3C8-4DCE-AD77-5EBD7EED8DBF}" dt="2024-03-24T06:28:15.719" v="4287"/>
          <ac:spMkLst>
            <pc:docMk/>
            <pc:sldMk cId="445871252" sldId="2146847625"/>
            <ac:spMk id="132" creationId="{D27FD9D2-4DB1-474A-B66E-A2BAEBACCDCA}"/>
          </ac:spMkLst>
        </pc:spChg>
        <pc:spChg chg="mod">
          <ac:chgData name="Mikami, Maho" userId="50612f1b-df2d-47bb-8fdd-7ddedc83fc7e" providerId="ADAL" clId="{5CBE12F2-F3C8-4DCE-AD77-5EBD7EED8DBF}" dt="2024-03-24T06:28:15.719" v="4287"/>
          <ac:spMkLst>
            <pc:docMk/>
            <pc:sldMk cId="445871252" sldId="2146847625"/>
            <ac:spMk id="133" creationId="{E7B1C3B4-B262-74DD-CA6C-FA72CDEB5D7A}"/>
          </ac:spMkLst>
        </pc:spChg>
        <pc:spChg chg="mod">
          <ac:chgData name="Mikami, Maho" userId="50612f1b-df2d-47bb-8fdd-7ddedc83fc7e" providerId="ADAL" clId="{5CBE12F2-F3C8-4DCE-AD77-5EBD7EED8DBF}" dt="2024-03-24T06:28:15.719" v="4287"/>
          <ac:spMkLst>
            <pc:docMk/>
            <pc:sldMk cId="445871252" sldId="2146847625"/>
            <ac:spMk id="135" creationId="{7FA7DCBA-C766-7B76-D33B-DF37ED6EE73D}"/>
          </ac:spMkLst>
        </pc:spChg>
        <pc:spChg chg="mod">
          <ac:chgData name="Mikami, Maho" userId="50612f1b-df2d-47bb-8fdd-7ddedc83fc7e" providerId="ADAL" clId="{5CBE12F2-F3C8-4DCE-AD77-5EBD7EED8DBF}" dt="2024-03-24T06:28:15.719" v="4287"/>
          <ac:spMkLst>
            <pc:docMk/>
            <pc:sldMk cId="445871252" sldId="2146847625"/>
            <ac:spMk id="136" creationId="{DFE94AF7-1B8C-9959-4AF7-25C79BD3A8EA}"/>
          </ac:spMkLst>
        </pc:spChg>
        <pc:spChg chg="mod">
          <ac:chgData name="Mikami, Maho" userId="50612f1b-df2d-47bb-8fdd-7ddedc83fc7e" providerId="ADAL" clId="{5CBE12F2-F3C8-4DCE-AD77-5EBD7EED8DBF}" dt="2024-03-24T06:28:15.719" v="4287"/>
          <ac:spMkLst>
            <pc:docMk/>
            <pc:sldMk cId="445871252" sldId="2146847625"/>
            <ac:spMk id="140" creationId="{76089A06-7640-E42D-8890-00DD3E5FB030}"/>
          </ac:spMkLst>
        </pc:spChg>
        <pc:spChg chg="mod">
          <ac:chgData name="Mikami, Maho" userId="50612f1b-df2d-47bb-8fdd-7ddedc83fc7e" providerId="ADAL" clId="{5CBE12F2-F3C8-4DCE-AD77-5EBD7EED8DBF}" dt="2024-03-24T06:28:15.719" v="4287"/>
          <ac:spMkLst>
            <pc:docMk/>
            <pc:sldMk cId="445871252" sldId="2146847625"/>
            <ac:spMk id="141" creationId="{A77496DD-F3A6-ACA6-A0C9-F1B2C8DDD3ED}"/>
          </ac:spMkLst>
        </pc:spChg>
        <pc:spChg chg="mod">
          <ac:chgData name="Mikami, Maho" userId="50612f1b-df2d-47bb-8fdd-7ddedc83fc7e" providerId="ADAL" clId="{5CBE12F2-F3C8-4DCE-AD77-5EBD7EED8DBF}" dt="2024-03-24T06:28:15.719" v="4287"/>
          <ac:spMkLst>
            <pc:docMk/>
            <pc:sldMk cId="445871252" sldId="2146847625"/>
            <ac:spMk id="145" creationId="{AD3DCC7C-41A6-1C98-70AD-E987909076A9}"/>
          </ac:spMkLst>
        </pc:spChg>
        <pc:spChg chg="mod">
          <ac:chgData name="Mikami, Maho" userId="50612f1b-df2d-47bb-8fdd-7ddedc83fc7e" providerId="ADAL" clId="{5CBE12F2-F3C8-4DCE-AD77-5EBD7EED8DBF}" dt="2024-03-24T06:28:15.719" v="4287"/>
          <ac:spMkLst>
            <pc:docMk/>
            <pc:sldMk cId="445871252" sldId="2146847625"/>
            <ac:spMk id="150" creationId="{9E3FFADF-752F-1C7A-22D5-FE4CF23F431A}"/>
          </ac:spMkLst>
        </pc:spChg>
        <pc:spChg chg="mod">
          <ac:chgData name="Mikami, Maho" userId="50612f1b-df2d-47bb-8fdd-7ddedc83fc7e" providerId="ADAL" clId="{5CBE12F2-F3C8-4DCE-AD77-5EBD7EED8DBF}" dt="2024-03-24T06:28:15.719" v="4287"/>
          <ac:spMkLst>
            <pc:docMk/>
            <pc:sldMk cId="445871252" sldId="2146847625"/>
            <ac:spMk id="151" creationId="{2296B13D-BB81-4031-AA3B-C0D33F2AB252}"/>
          </ac:spMkLst>
        </pc:spChg>
        <pc:spChg chg="mod">
          <ac:chgData name="Mikami, Maho" userId="50612f1b-df2d-47bb-8fdd-7ddedc83fc7e" providerId="ADAL" clId="{5CBE12F2-F3C8-4DCE-AD77-5EBD7EED8DBF}" dt="2024-03-24T06:28:15.719" v="4287"/>
          <ac:spMkLst>
            <pc:docMk/>
            <pc:sldMk cId="445871252" sldId="2146847625"/>
            <ac:spMk id="152" creationId="{22585D18-CF00-B1B5-0C53-129D495F5D07}"/>
          </ac:spMkLst>
        </pc:spChg>
        <pc:spChg chg="mod">
          <ac:chgData name="Mikami, Maho" userId="50612f1b-df2d-47bb-8fdd-7ddedc83fc7e" providerId="ADAL" clId="{5CBE12F2-F3C8-4DCE-AD77-5EBD7EED8DBF}" dt="2024-03-24T06:28:15.719" v="4287"/>
          <ac:spMkLst>
            <pc:docMk/>
            <pc:sldMk cId="445871252" sldId="2146847625"/>
            <ac:spMk id="160" creationId="{877446D8-A3A1-B971-766A-ECAFA1940B2B}"/>
          </ac:spMkLst>
        </pc:spChg>
        <pc:spChg chg="mod">
          <ac:chgData name="Mikami, Maho" userId="50612f1b-df2d-47bb-8fdd-7ddedc83fc7e" providerId="ADAL" clId="{5CBE12F2-F3C8-4DCE-AD77-5EBD7EED8DBF}" dt="2024-03-24T06:28:15.719" v="4287"/>
          <ac:spMkLst>
            <pc:docMk/>
            <pc:sldMk cId="445871252" sldId="2146847625"/>
            <ac:spMk id="161" creationId="{99531003-1749-3BD8-4A2D-0ED243641956}"/>
          </ac:spMkLst>
        </pc:spChg>
        <pc:grpChg chg="add mod">
          <ac:chgData name="Mikami, Maho" userId="50612f1b-df2d-47bb-8fdd-7ddedc83fc7e" providerId="ADAL" clId="{5CBE12F2-F3C8-4DCE-AD77-5EBD7EED8DBF}" dt="2024-03-24T06:28:03.283" v="4282"/>
          <ac:grpSpMkLst>
            <pc:docMk/>
            <pc:sldMk cId="445871252" sldId="2146847625"/>
            <ac:grpSpMk id="17" creationId="{514A8D06-953B-6127-B51C-04C5856311FD}"/>
          </ac:grpSpMkLst>
        </pc:grpChg>
        <pc:grpChg chg="del">
          <ac:chgData name="Mikami, Maho" userId="50612f1b-df2d-47bb-8fdd-7ddedc83fc7e" providerId="ADAL" clId="{5CBE12F2-F3C8-4DCE-AD77-5EBD7EED8DBF}" dt="2024-03-24T04:49:49.634" v="2321" actId="478"/>
          <ac:grpSpMkLst>
            <pc:docMk/>
            <pc:sldMk cId="445871252" sldId="2146847625"/>
            <ac:grpSpMk id="19" creationId="{8DA8C2D0-267D-865E-435B-7CA58BE6C20B}"/>
          </ac:grpSpMkLst>
        </pc:grpChg>
        <pc:grpChg chg="add mod">
          <ac:chgData name="Mikami, Maho" userId="50612f1b-df2d-47bb-8fdd-7ddedc83fc7e" providerId="ADAL" clId="{5CBE12F2-F3C8-4DCE-AD77-5EBD7EED8DBF}" dt="2024-03-24T06:28:14.153" v="4286"/>
          <ac:grpSpMkLst>
            <pc:docMk/>
            <pc:sldMk cId="445871252" sldId="2146847625"/>
            <ac:grpSpMk id="68" creationId="{AA3AB581-4213-D533-689F-E85FC9D2D54C}"/>
          </ac:grpSpMkLst>
        </pc:grpChg>
        <pc:grpChg chg="add mod ord">
          <ac:chgData name="Mikami, Maho" userId="50612f1b-df2d-47bb-8fdd-7ddedc83fc7e" providerId="ADAL" clId="{5CBE12F2-F3C8-4DCE-AD77-5EBD7EED8DBF}" dt="2024-03-24T06:28:26.119" v="4324"/>
          <ac:grpSpMkLst>
            <pc:docMk/>
            <pc:sldMk cId="445871252" sldId="2146847625"/>
            <ac:grpSpMk id="115" creationId="{713357AC-86C4-77AB-2DE1-F81638685D3F}"/>
          </ac:grpSpMkLst>
        </pc:grpChg>
        <pc:graphicFrameChg chg="mod">
          <ac:chgData name="Mikami, Maho" userId="50612f1b-df2d-47bb-8fdd-7ddedc83fc7e" providerId="ADAL" clId="{5CBE12F2-F3C8-4DCE-AD77-5EBD7EED8DBF}" dt="2024-03-24T06:28:26.165" v="4347"/>
          <ac:graphicFrameMkLst>
            <pc:docMk/>
            <pc:sldMk cId="445871252" sldId="2146847625"/>
            <ac:graphicFrameMk id="8" creationId="{07C8CE62-B07B-3B84-847A-5186FF9FB11E}"/>
          </ac:graphicFrameMkLst>
        </pc:graphicFrameChg>
        <pc:picChg chg="add del mod">
          <ac:chgData name="Mikami, Maho" userId="50612f1b-df2d-47bb-8fdd-7ddedc83fc7e" providerId="ADAL" clId="{5CBE12F2-F3C8-4DCE-AD77-5EBD7EED8DBF}" dt="2024-03-24T04:49:24.372" v="2311" actId="478"/>
          <ac:picMkLst>
            <pc:docMk/>
            <pc:sldMk cId="445871252" sldId="2146847625"/>
            <ac:picMk id="11" creationId="{B820FE60-EFBB-7505-1732-EE29A261FB98}"/>
          </ac:picMkLst>
        </pc:picChg>
        <pc:picChg chg="add mod">
          <ac:chgData name="Mikami, Maho" userId="50612f1b-df2d-47bb-8fdd-7ddedc83fc7e" providerId="ADAL" clId="{5CBE12F2-F3C8-4DCE-AD77-5EBD7EED8DBF}" dt="2024-03-24T04:49:27.275" v="2313"/>
          <ac:picMkLst>
            <pc:docMk/>
            <pc:sldMk cId="445871252" sldId="2146847625"/>
            <ac:picMk id="12" creationId="{17EB4178-5F67-AA22-F714-F91BBDFA1060}"/>
          </ac:picMkLst>
        </pc:picChg>
        <pc:picChg chg="del mod">
          <ac:chgData name="Mikami, Maho" userId="50612f1b-df2d-47bb-8fdd-7ddedc83fc7e" providerId="ADAL" clId="{5CBE12F2-F3C8-4DCE-AD77-5EBD7EED8DBF}" dt="2024-03-24T06:28:02.965" v="4281" actId="478"/>
          <ac:picMkLst>
            <pc:docMk/>
            <pc:sldMk cId="445871252" sldId="2146847625"/>
            <ac:picMk id="13" creationId="{CD0AC230-9A39-5577-B60C-0A676D2EDE4D}"/>
          </ac:picMkLst>
        </pc:picChg>
        <pc:cxnChg chg="mod">
          <ac:chgData name="Mikami, Maho" userId="50612f1b-df2d-47bb-8fdd-7ddedc83fc7e" providerId="ADAL" clId="{5CBE12F2-F3C8-4DCE-AD77-5EBD7EED8DBF}" dt="2024-03-24T06:28:03.283" v="4282"/>
          <ac:cxnSpMkLst>
            <pc:docMk/>
            <pc:sldMk cId="445871252" sldId="2146847625"/>
            <ac:cxnSpMk id="31" creationId="{4FB4FF0F-D170-4CAE-5140-A5320125AAAB}"/>
          </ac:cxnSpMkLst>
        </pc:cxnChg>
        <pc:cxnChg chg="mod">
          <ac:chgData name="Mikami, Maho" userId="50612f1b-df2d-47bb-8fdd-7ddedc83fc7e" providerId="ADAL" clId="{5CBE12F2-F3C8-4DCE-AD77-5EBD7EED8DBF}" dt="2024-03-24T06:28:03.283" v="4282"/>
          <ac:cxnSpMkLst>
            <pc:docMk/>
            <pc:sldMk cId="445871252" sldId="2146847625"/>
            <ac:cxnSpMk id="32" creationId="{91CA73FE-44C3-2B94-8454-E22D4C9968DD}"/>
          </ac:cxnSpMkLst>
        </pc:cxnChg>
        <pc:cxnChg chg="mod">
          <ac:chgData name="Mikami, Maho" userId="50612f1b-df2d-47bb-8fdd-7ddedc83fc7e" providerId="ADAL" clId="{5CBE12F2-F3C8-4DCE-AD77-5EBD7EED8DBF}" dt="2024-03-24T06:28:03.283" v="4282"/>
          <ac:cxnSpMkLst>
            <pc:docMk/>
            <pc:sldMk cId="445871252" sldId="2146847625"/>
            <ac:cxnSpMk id="40" creationId="{DFFDFC30-1422-06B2-0C1B-B1D4CB7D27FC}"/>
          </ac:cxnSpMkLst>
        </pc:cxnChg>
        <pc:cxnChg chg="mod">
          <ac:chgData name="Mikami, Maho" userId="50612f1b-df2d-47bb-8fdd-7ddedc83fc7e" providerId="ADAL" clId="{5CBE12F2-F3C8-4DCE-AD77-5EBD7EED8DBF}" dt="2024-03-24T06:28:03.283" v="4282"/>
          <ac:cxnSpMkLst>
            <pc:docMk/>
            <pc:sldMk cId="445871252" sldId="2146847625"/>
            <ac:cxnSpMk id="43" creationId="{E0C292A1-1B6D-9EDD-3E11-78BFAA45F630}"/>
          </ac:cxnSpMkLst>
        </pc:cxnChg>
        <pc:cxnChg chg="mod">
          <ac:chgData name="Mikami, Maho" userId="50612f1b-df2d-47bb-8fdd-7ddedc83fc7e" providerId="ADAL" clId="{5CBE12F2-F3C8-4DCE-AD77-5EBD7EED8DBF}" dt="2024-03-24T06:28:03.283" v="4282"/>
          <ac:cxnSpMkLst>
            <pc:docMk/>
            <pc:sldMk cId="445871252" sldId="2146847625"/>
            <ac:cxnSpMk id="44" creationId="{F921B1FF-D71F-E44A-FB58-91CB10420CCF}"/>
          </ac:cxnSpMkLst>
        </pc:cxnChg>
        <pc:cxnChg chg="mod">
          <ac:chgData name="Mikami, Maho" userId="50612f1b-df2d-47bb-8fdd-7ddedc83fc7e" providerId="ADAL" clId="{5CBE12F2-F3C8-4DCE-AD77-5EBD7EED8DBF}" dt="2024-03-24T06:28:03.283" v="4282"/>
          <ac:cxnSpMkLst>
            <pc:docMk/>
            <pc:sldMk cId="445871252" sldId="2146847625"/>
            <ac:cxnSpMk id="45" creationId="{4BC6452C-9960-CC44-4048-A379D64FABE9}"/>
          </ac:cxnSpMkLst>
        </pc:cxnChg>
        <pc:cxnChg chg="mod">
          <ac:chgData name="Mikami, Maho" userId="50612f1b-df2d-47bb-8fdd-7ddedc83fc7e" providerId="ADAL" clId="{5CBE12F2-F3C8-4DCE-AD77-5EBD7EED8DBF}" dt="2024-03-24T06:28:03.283" v="4282"/>
          <ac:cxnSpMkLst>
            <pc:docMk/>
            <pc:sldMk cId="445871252" sldId="2146847625"/>
            <ac:cxnSpMk id="48" creationId="{FCC6821F-230F-E1A9-FBF5-ABB892FC4C42}"/>
          </ac:cxnSpMkLst>
        </pc:cxnChg>
        <pc:cxnChg chg="mod">
          <ac:chgData name="Mikami, Maho" userId="50612f1b-df2d-47bb-8fdd-7ddedc83fc7e" providerId="ADAL" clId="{5CBE12F2-F3C8-4DCE-AD77-5EBD7EED8DBF}" dt="2024-03-24T06:28:03.283" v="4282"/>
          <ac:cxnSpMkLst>
            <pc:docMk/>
            <pc:sldMk cId="445871252" sldId="2146847625"/>
            <ac:cxnSpMk id="49" creationId="{D8B29778-A151-AD47-6732-2C04464B0FCE}"/>
          </ac:cxnSpMkLst>
        </pc:cxnChg>
        <pc:cxnChg chg="mod">
          <ac:chgData name="Mikami, Maho" userId="50612f1b-df2d-47bb-8fdd-7ddedc83fc7e" providerId="ADAL" clId="{5CBE12F2-F3C8-4DCE-AD77-5EBD7EED8DBF}" dt="2024-03-24T06:28:03.283" v="4282"/>
          <ac:cxnSpMkLst>
            <pc:docMk/>
            <pc:sldMk cId="445871252" sldId="2146847625"/>
            <ac:cxnSpMk id="50" creationId="{6A3A4BD4-FC51-D0C1-8241-9C5C52294599}"/>
          </ac:cxnSpMkLst>
        </pc:cxnChg>
        <pc:cxnChg chg="mod">
          <ac:chgData name="Mikami, Maho" userId="50612f1b-df2d-47bb-8fdd-7ddedc83fc7e" providerId="ADAL" clId="{5CBE12F2-F3C8-4DCE-AD77-5EBD7EED8DBF}" dt="2024-03-24T06:28:03.283" v="4282"/>
          <ac:cxnSpMkLst>
            <pc:docMk/>
            <pc:sldMk cId="445871252" sldId="2146847625"/>
            <ac:cxnSpMk id="52" creationId="{EFFD1EDA-7334-CE44-A6EB-3E2895F538FD}"/>
          </ac:cxnSpMkLst>
        </pc:cxnChg>
        <pc:cxnChg chg="mod">
          <ac:chgData name="Mikami, Maho" userId="50612f1b-df2d-47bb-8fdd-7ddedc83fc7e" providerId="ADAL" clId="{5CBE12F2-F3C8-4DCE-AD77-5EBD7EED8DBF}" dt="2024-03-24T06:28:03.283" v="4282"/>
          <ac:cxnSpMkLst>
            <pc:docMk/>
            <pc:sldMk cId="445871252" sldId="2146847625"/>
            <ac:cxnSpMk id="53" creationId="{71DBF95C-D1B4-96FF-74FD-32E26A401CD1}"/>
          </ac:cxnSpMkLst>
        </pc:cxnChg>
        <pc:cxnChg chg="mod">
          <ac:chgData name="Mikami, Maho" userId="50612f1b-df2d-47bb-8fdd-7ddedc83fc7e" providerId="ADAL" clId="{5CBE12F2-F3C8-4DCE-AD77-5EBD7EED8DBF}" dt="2024-03-24T06:28:03.283" v="4282"/>
          <ac:cxnSpMkLst>
            <pc:docMk/>
            <pc:sldMk cId="445871252" sldId="2146847625"/>
            <ac:cxnSpMk id="54" creationId="{1D345E62-9938-9D80-1B71-0A3EC6095B01}"/>
          </ac:cxnSpMkLst>
        </pc:cxnChg>
        <pc:cxnChg chg="mod">
          <ac:chgData name="Mikami, Maho" userId="50612f1b-df2d-47bb-8fdd-7ddedc83fc7e" providerId="ADAL" clId="{5CBE12F2-F3C8-4DCE-AD77-5EBD7EED8DBF}" dt="2024-03-24T06:28:03.283" v="4282"/>
          <ac:cxnSpMkLst>
            <pc:docMk/>
            <pc:sldMk cId="445871252" sldId="2146847625"/>
            <ac:cxnSpMk id="55" creationId="{20DD0B5C-724E-CC16-F3CE-B1C052513DCD}"/>
          </ac:cxnSpMkLst>
        </pc:cxnChg>
        <pc:cxnChg chg="mod">
          <ac:chgData name="Mikami, Maho" userId="50612f1b-df2d-47bb-8fdd-7ddedc83fc7e" providerId="ADAL" clId="{5CBE12F2-F3C8-4DCE-AD77-5EBD7EED8DBF}" dt="2024-03-24T06:28:03.283" v="4282"/>
          <ac:cxnSpMkLst>
            <pc:docMk/>
            <pc:sldMk cId="445871252" sldId="2146847625"/>
            <ac:cxnSpMk id="59" creationId="{B02F92C3-3391-76A1-E1A9-0774A1AA57A9}"/>
          </ac:cxnSpMkLst>
        </pc:cxnChg>
        <pc:cxnChg chg="mod">
          <ac:chgData name="Mikami, Maho" userId="50612f1b-df2d-47bb-8fdd-7ddedc83fc7e" providerId="ADAL" clId="{5CBE12F2-F3C8-4DCE-AD77-5EBD7EED8DBF}" dt="2024-03-24T06:28:03.283" v="4282"/>
          <ac:cxnSpMkLst>
            <pc:docMk/>
            <pc:sldMk cId="445871252" sldId="2146847625"/>
            <ac:cxnSpMk id="60" creationId="{D40F6032-3681-1A0F-3FEA-6CBDFD64E2EB}"/>
          </ac:cxnSpMkLst>
        </pc:cxnChg>
        <pc:cxnChg chg="mod">
          <ac:chgData name="Mikami, Maho" userId="50612f1b-df2d-47bb-8fdd-7ddedc83fc7e" providerId="ADAL" clId="{5CBE12F2-F3C8-4DCE-AD77-5EBD7EED8DBF}" dt="2024-03-24T06:28:03.283" v="4282"/>
          <ac:cxnSpMkLst>
            <pc:docMk/>
            <pc:sldMk cId="445871252" sldId="2146847625"/>
            <ac:cxnSpMk id="61" creationId="{6F4D458C-4BFF-1F79-C9F7-2897AA63497D}"/>
          </ac:cxnSpMkLst>
        </pc:cxnChg>
        <pc:cxnChg chg="mod">
          <ac:chgData name="Mikami, Maho" userId="50612f1b-df2d-47bb-8fdd-7ddedc83fc7e" providerId="ADAL" clId="{5CBE12F2-F3C8-4DCE-AD77-5EBD7EED8DBF}" dt="2024-03-24T06:28:03.283" v="4282"/>
          <ac:cxnSpMkLst>
            <pc:docMk/>
            <pc:sldMk cId="445871252" sldId="2146847625"/>
            <ac:cxnSpMk id="62" creationId="{BD348B33-FBB6-7534-8AE0-033E56868331}"/>
          </ac:cxnSpMkLst>
        </pc:cxnChg>
        <pc:cxnChg chg="mod">
          <ac:chgData name="Mikami, Maho" userId="50612f1b-df2d-47bb-8fdd-7ddedc83fc7e" providerId="ADAL" clId="{5CBE12F2-F3C8-4DCE-AD77-5EBD7EED8DBF}" dt="2024-03-24T06:28:03.283" v="4282"/>
          <ac:cxnSpMkLst>
            <pc:docMk/>
            <pc:sldMk cId="445871252" sldId="2146847625"/>
            <ac:cxnSpMk id="63" creationId="{2F027574-8E71-56EB-36FE-81621F48C51D}"/>
          </ac:cxnSpMkLst>
        </pc:cxnChg>
        <pc:cxnChg chg="mod">
          <ac:chgData name="Mikami, Maho" userId="50612f1b-df2d-47bb-8fdd-7ddedc83fc7e" providerId="ADAL" clId="{5CBE12F2-F3C8-4DCE-AD77-5EBD7EED8DBF}" dt="2024-03-24T06:28:03.283" v="4282"/>
          <ac:cxnSpMkLst>
            <pc:docMk/>
            <pc:sldMk cId="445871252" sldId="2146847625"/>
            <ac:cxnSpMk id="64" creationId="{64A45FBD-7E09-42C1-CE29-3400548AD1AA}"/>
          </ac:cxnSpMkLst>
        </pc:cxnChg>
        <pc:cxnChg chg="mod">
          <ac:chgData name="Mikami, Maho" userId="50612f1b-df2d-47bb-8fdd-7ddedc83fc7e" providerId="ADAL" clId="{5CBE12F2-F3C8-4DCE-AD77-5EBD7EED8DBF}" dt="2024-03-24T06:28:03.283" v="4282"/>
          <ac:cxnSpMkLst>
            <pc:docMk/>
            <pc:sldMk cId="445871252" sldId="2146847625"/>
            <ac:cxnSpMk id="65" creationId="{B5F687C2-9CFC-C687-E274-7B13290AB7A6}"/>
          </ac:cxnSpMkLst>
        </pc:cxnChg>
        <pc:cxnChg chg="mod">
          <ac:chgData name="Mikami, Maho" userId="50612f1b-df2d-47bb-8fdd-7ddedc83fc7e" providerId="ADAL" clId="{5CBE12F2-F3C8-4DCE-AD77-5EBD7EED8DBF}" dt="2024-03-24T06:28:14.153" v="4286"/>
          <ac:cxnSpMkLst>
            <pc:docMk/>
            <pc:sldMk cId="445871252" sldId="2146847625"/>
            <ac:cxnSpMk id="78" creationId="{01A6ACA4-FA6A-AC44-B741-E35B25ED4669}"/>
          </ac:cxnSpMkLst>
        </pc:cxnChg>
        <pc:cxnChg chg="mod">
          <ac:chgData name="Mikami, Maho" userId="50612f1b-df2d-47bb-8fdd-7ddedc83fc7e" providerId="ADAL" clId="{5CBE12F2-F3C8-4DCE-AD77-5EBD7EED8DBF}" dt="2024-03-24T06:28:14.153" v="4286"/>
          <ac:cxnSpMkLst>
            <pc:docMk/>
            <pc:sldMk cId="445871252" sldId="2146847625"/>
            <ac:cxnSpMk id="79" creationId="{1A2E0E9C-5174-503F-3B7C-45258A033792}"/>
          </ac:cxnSpMkLst>
        </pc:cxnChg>
        <pc:cxnChg chg="mod">
          <ac:chgData name="Mikami, Maho" userId="50612f1b-df2d-47bb-8fdd-7ddedc83fc7e" providerId="ADAL" clId="{5CBE12F2-F3C8-4DCE-AD77-5EBD7EED8DBF}" dt="2024-03-24T06:28:14.153" v="4286"/>
          <ac:cxnSpMkLst>
            <pc:docMk/>
            <pc:sldMk cId="445871252" sldId="2146847625"/>
            <ac:cxnSpMk id="87" creationId="{65010A16-EE77-A33C-C7C6-D653B9E3616B}"/>
          </ac:cxnSpMkLst>
        </pc:cxnChg>
        <pc:cxnChg chg="mod">
          <ac:chgData name="Mikami, Maho" userId="50612f1b-df2d-47bb-8fdd-7ddedc83fc7e" providerId="ADAL" clId="{5CBE12F2-F3C8-4DCE-AD77-5EBD7EED8DBF}" dt="2024-03-24T06:28:14.153" v="4286"/>
          <ac:cxnSpMkLst>
            <pc:docMk/>
            <pc:sldMk cId="445871252" sldId="2146847625"/>
            <ac:cxnSpMk id="90" creationId="{18406879-F6B1-612C-442A-49394E342D11}"/>
          </ac:cxnSpMkLst>
        </pc:cxnChg>
        <pc:cxnChg chg="mod">
          <ac:chgData name="Mikami, Maho" userId="50612f1b-df2d-47bb-8fdd-7ddedc83fc7e" providerId="ADAL" clId="{5CBE12F2-F3C8-4DCE-AD77-5EBD7EED8DBF}" dt="2024-03-24T06:28:14.153" v="4286"/>
          <ac:cxnSpMkLst>
            <pc:docMk/>
            <pc:sldMk cId="445871252" sldId="2146847625"/>
            <ac:cxnSpMk id="91" creationId="{74EF9470-C417-947B-61B2-31ECBEED5D7B}"/>
          </ac:cxnSpMkLst>
        </pc:cxnChg>
        <pc:cxnChg chg="mod">
          <ac:chgData name="Mikami, Maho" userId="50612f1b-df2d-47bb-8fdd-7ddedc83fc7e" providerId="ADAL" clId="{5CBE12F2-F3C8-4DCE-AD77-5EBD7EED8DBF}" dt="2024-03-24T06:28:14.153" v="4286"/>
          <ac:cxnSpMkLst>
            <pc:docMk/>
            <pc:sldMk cId="445871252" sldId="2146847625"/>
            <ac:cxnSpMk id="92" creationId="{412DF78C-04BD-DDE7-00CB-187A494D59A3}"/>
          </ac:cxnSpMkLst>
        </pc:cxnChg>
        <pc:cxnChg chg="mod">
          <ac:chgData name="Mikami, Maho" userId="50612f1b-df2d-47bb-8fdd-7ddedc83fc7e" providerId="ADAL" clId="{5CBE12F2-F3C8-4DCE-AD77-5EBD7EED8DBF}" dt="2024-03-24T06:28:14.153" v="4286"/>
          <ac:cxnSpMkLst>
            <pc:docMk/>
            <pc:sldMk cId="445871252" sldId="2146847625"/>
            <ac:cxnSpMk id="95" creationId="{CF45036A-F92B-707C-6F19-F7309AFA3B29}"/>
          </ac:cxnSpMkLst>
        </pc:cxnChg>
        <pc:cxnChg chg="mod">
          <ac:chgData name="Mikami, Maho" userId="50612f1b-df2d-47bb-8fdd-7ddedc83fc7e" providerId="ADAL" clId="{5CBE12F2-F3C8-4DCE-AD77-5EBD7EED8DBF}" dt="2024-03-24T06:28:14.153" v="4286"/>
          <ac:cxnSpMkLst>
            <pc:docMk/>
            <pc:sldMk cId="445871252" sldId="2146847625"/>
            <ac:cxnSpMk id="96" creationId="{C2C2E675-470C-6F8A-95B6-EDD422226783}"/>
          </ac:cxnSpMkLst>
        </pc:cxnChg>
        <pc:cxnChg chg="mod">
          <ac:chgData name="Mikami, Maho" userId="50612f1b-df2d-47bb-8fdd-7ddedc83fc7e" providerId="ADAL" clId="{5CBE12F2-F3C8-4DCE-AD77-5EBD7EED8DBF}" dt="2024-03-24T06:28:14.153" v="4286"/>
          <ac:cxnSpMkLst>
            <pc:docMk/>
            <pc:sldMk cId="445871252" sldId="2146847625"/>
            <ac:cxnSpMk id="97" creationId="{C0E9BA72-2286-CC14-E22B-4E88D2F8F321}"/>
          </ac:cxnSpMkLst>
        </pc:cxnChg>
        <pc:cxnChg chg="mod">
          <ac:chgData name="Mikami, Maho" userId="50612f1b-df2d-47bb-8fdd-7ddedc83fc7e" providerId="ADAL" clId="{5CBE12F2-F3C8-4DCE-AD77-5EBD7EED8DBF}" dt="2024-03-24T06:28:14.153" v="4286"/>
          <ac:cxnSpMkLst>
            <pc:docMk/>
            <pc:sldMk cId="445871252" sldId="2146847625"/>
            <ac:cxnSpMk id="99" creationId="{EE2F83BD-5B1E-1D43-5812-15AF7DEBD7D4}"/>
          </ac:cxnSpMkLst>
        </pc:cxnChg>
        <pc:cxnChg chg="mod">
          <ac:chgData name="Mikami, Maho" userId="50612f1b-df2d-47bb-8fdd-7ddedc83fc7e" providerId="ADAL" clId="{5CBE12F2-F3C8-4DCE-AD77-5EBD7EED8DBF}" dt="2024-03-24T06:28:14.153" v="4286"/>
          <ac:cxnSpMkLst>
            <pc:docMk/>
            <pc:sldMk cId="445871252" sldId="2146847625"/>
            <ac:cxnSpMk id="100" creationId="{FBD7E85F-C988-4A0C-7423-D2BC1623EB0C}"/>
          </ac:cxnSpMkLst>
        </pc:cxnChg>
        <pc:cxnChg chg="mod">
          <ac:chgData name="Mikami, Maho" userId="50612f1b-df2d-47bb-8fdd-7ddedc83fc7e" providerId="ADAL" clId="{5CBE12F2-F3C8-4DCE-AD77-5EBD7EED8DBF}" dt="2024-03-24T06:28:14.153" v="4286"/>
          <ac:cxnSpMkLst>
            <pc:docMk/>
            <pc:sldMk cId="445871252" sldId="2146847625"/>
            <ac:cxnSpMk id="101" creationId="{22FB1322-88D8-9DFD-A879-A672632E36F3}"/>
          </ac:cxnSpMkLst>
        </pc:cxnChg>
        <pc:cxnChg chg="mod">
          <ac:chgData name="Mikami, Maho" userId="50612f1b-df2d-47bb-8fdd-7ddedc83fc7e" providerId="ADAL" clId="{5CBE12F2-F3C8-4DCE-AD77-5EBD7EED8DBF}" dt="2024-03-24T06:28:14.153" v="4286"/>
          <ac:cxnSpMkLst>
            <pc:docMk/>
            <pc:sldMk cId="445871252" sldId="2146847625"/>
            <ac:cxnSpMk id="102" creationId="{458AFEBC-C695-DAA0-57F7-60461A143561}"/>
          </ac:cxnSpMkLst>
        </pc:cxnChg>
        <pc:cxnChg chg="mod">
          <ac:chgData name="Mikami, Maho" userId="50612f1b-df2d-47bb-8fdd-7ddedc83fc7e" providerId="ADAL" clId="{5CBE12F2-F3C8-4DCE-AD77-5EBD7EED8DBF}" dt="2024-03-24T06:28:14.153" v="4286"/>
          <ac:cxnSpMkLst>
            <pc:docMk/>
            <pc:sldMk cId="445871252" sldId="2146847625"/>
            <ac:cxnSpMk id="106" creationId="{E696C985-437C-75CD-217A-7DCDA911E0D5}"/>
          </ac:cxnSpMkLst>
        </pc:cxnChg>
        <pc:cxnChg chg="mod">
          <ac:chgData name="Mikami, Maho" userId="50612f1b-df2d-47bb-8fdd-7ddedc83fc7e" providerId="ADAL" clId="{5CBE12F2-F3C8-4DCE-AD77-5EBD7EED8DBF}" dt="2024-03-24T06:28:14.153" v="4286"/>
          <ac:cxnSpMkLst>
            <pc:docMk/>
            <pc:sldMk cId="445871252" sldId="2146847625"/>
            <ac:cxnSpMk id="107" creationId="{96AAA7C5-297D-0C72-B2E1-357AD3AC074E}"/>
          </ac:cxnSpMkLst>
        </pc:cxnChg>
        <pc:cxnChg chg="mod">
          <ac:chgData name="Mikami, Maho" userId="50612f1b-df2d-47bb-8fdd-7ddedc83fc7e" providerId="ADAL" clId="{5CBE12F2-F3C8-4DCE-AD77-5EBD7EED8DBF}" dt="2024-03-24T06:28:14.153" v="4286"/>
          <ac:cxnSpMkLst>
            <pc:docMk/>
            <pc:sldMk cId="445871252" sldId="2146847625"/>
            <ac:cxnSpMk id="108" creationId="{7A589CD3-DFAA-5BE2-5CA6-86C03C9FC0C7}"/>
          </ac:cxnSpMkLst>
        </pc:cxnChg>
        <pc:cxnChg chg="mod">
          <ac:chgData name="Mikami, Maho" userId="50612f1b-df2d-47bb-8fdd-7ddedc83fc7e" providerId="ADAL" clId="{5CBE12F2-F3C8-4DCE-AD77-5EBD7EED8DBF}" dt="2024-03-24T06:28:14.153" v="4286"/>
          <ac:cxnSpMkLst>
            <pc:docMk/>
            <pc:sldMk cId="445871252" sldId="2146847625"/>
            <ac:cxnSpMk id="109" creationId="{53A845D8-D521-C027-05C8-3FB7FEBF7AB1}"/>
          </ac:cxnSpMkLst>
        </pc:cxnChg>
        <pc:cxnChg chg="mod">
          <ac:chgData name="Mikami, Maho" userId="50612f1b-df2d-47bb-8fdd-7ddedc83fc7e" providerId="ADAL" clId="{5CBE12F2-F3C8-4DCE-AD77-5EBD7EED8DBF}" dt="2024-03-24T06:28:14.153" v="4286"/>
          <ac:cxnSpMkLst>
            <pc:docMk/>
            <pc:sldMk cId="445871252" sldId="2146847625"/>
            <ac:cxnSpMk id="110" creationId="{EF6A1FC0-1C0E-FD79-297A-EFFE25EA2544}"/>
          </ac:cxnSpMkLst>
        </pc:cxnChg>
        <pc:cxnChg chg="mod">
          <ac:chgData name="Mikami, Maho" userId="50612f1b-df2d-47bb-8fdd-7ddedc83fc7e" providerId="ADAL" clId="{5CBE12F2-F3C8-4DCE-AD77-5EBD7EED8DBF}" dt="2024-03-24T06:28:14.153" v="4286"/>
          <ac:cxnSpMkLst>
            <pc:docMk/>
            <pc:sldMk cId="445871252" sldId="2146847625"/>
            <ac:cxnSpMk id="111" creationId="{90F787D6-6144-20FC-CD49-5A2CD3D592EE}"/>
          </ac:cxnSpMkLst>
        </pc:cxnChg>
        <pc:cxnChg chg="mod">
          <ac:chgData name="Mikami, Maho" userId="50612f1b-df2d-47bb-8fdd-7ddedc83fc7e" providerId="ADAL" clId="{5CBE12F2-F3C8-4DCE-AD77-5EBD7EED8DBF}" dt="2024-03-24T06:28:14.153" v="4286"/>
          <ac:cxnSpMkLst>
            <pc:docMk/>
            <pc:sldMk cId="445871252" sldId="2146847625"/>
            <ac:cxnSpMk id="112" creationId="{CD5F883E-7DB6-D602-9865-1D7A38287AFB}"/>
          </ac:cxnSpMkLst>
        </pc:cxnChg>
        <pc:cxnChg chg="mod">
          <ac:chgData name="Mikami, Maho" userId="50612f1b-df2d-47bb-8fdd-7ddedc83fc7e" providerId="ADAL" clId="{5CBE12F2-F3C8-4DCE-AD77-5EBD7EED8DBF}" dt="2024-03-24T06:28:15.719" v="4287"/>
          <ac:cxnSpMkLst>
            <pc:docMk/>
            <pc:sldMk cId="445871252" sldId="2146847625"/>
            <ac:cxnSpMk id="125" creationId="{549DD3F9-A2F2-80E0-2445-81CCDF29112A}"/>
          </ac:cxnSpMkLst>
        </pc:cxnChg>
        <pc:cxnChg chg="mod">
          <ac:chgData name="Mikami, Maho" userId="50612f1b-df2d-47bb-8fdd-7ddedc83fc7e" providerId="ADAL" clId="{5CBE12F2-F3C8-4DCE-AD77-5EBD7EED8DBF}" dt="2024-03-24T06:28:15.719" v="4287"/>
          <ac:cxnSpMkLst>
            <pc:docMk/>
            <pc:sldMk cId="445871252" sldId="2146847625"/>
            <ac:cxnSpMk id="126" creationId="{9ECA5830-3758-E27D-BD60-248E3FD61E71}"/>
          </ac:cxnSpMkLst>
        </pc:cxnChg>
        <pc:cxnChg chg="mod">
          <ac:chgData name="Mikami, Maho" userId="50612f1b-df2d-47bb-8fdd-7ddedc83fc7e" providerId="ADAL" clId="{5CBE12F2-F3C8-4DCE-AD77-5EBD7EED8DBF}" dt="2024-03-24T06:28:15.719" v="4287"/>
          <ac:cxnSpMkLst>
            <pc:docMk/>
            <pc:sldMk cId="445871252" sldId="2146847625"/>
            <ac:cxnSpMk id="134" creationId="{7577F699-468F-C942-B934-0DEA8D6D5970}"/>
          </ac:cxnSpMkLst>
        </pc:cxnChg>
        <pc:cxnChg chg="mod">
          <ac:chgData name="Mikami, Maho" userId="50612f1b-df2d-47bb-8fdd-7ddedc83fc7e" providerId="ADAL" clId="{5CBE12F2-F3C8-4DCE-AD77-5EBD7EED8DBF}" dt="2024-03-24T06:28:15.719" v="4287"/>
          <ac:cxnSpMkLst>
            <pc:docMk/>
            <pc:sldMk cId="445871252" sldId="2146847625"/>
            <ac:cxnSpMk id="137" creationId="{E985DD72-36D8-5484-A477-4E5905B9F24B}"/>
          </ac:cxnSpMkLst>
        </pc:cxnChg>
        <pc:cxnChg chg="mod">
          <ac:chgData name="Mikami, Maho" userId="50612f1b-df2d-47bb-8fdd-7ddedc83fc7e" providerId="ADAL" clId="{5CBE12F2-F3C8-4DCE-AD77-5EBD7EED8DBF}" dt="2024-03-24T06:28:15.719" v="4287"/>
          <ac:cxnSpMkLst>
            <pc:docMk/>
            <pc:sldMk cId="445871252" sldId="2146847625"/>
            <ac:cxnSpMk id="138" creationId="{9B6700A6-114C-FCC5-1BEA-7C844E8D7A4F}"/>
          </ac:cxnSpMkLst>
        </pc:cxnChg>
        <pc:cxnChg chg="mod">
          <ac:chgData name="Mikami, Maho" userId="50612f1b-df2d-47bb-8fdd-7ddedc83fc7e" providerId="ADAL" clId="{5CBE12F2-F3C8-4DCE-AD77-5EBD7EED8DBF}" dt="2024-03-24T06:28:15.719" v="4287"/>
          <ac:cxnSpMkLst>
            <pc:docMk/>
            <pc:sldMk cId="445871252" sldId="2146847625"/>
            <ac:cxnSpMk id="139" creationId="{B6A96ACE-2A3C-0DE4-D4E8-F82F6512C2DD}"/>
          </ac:cxnSpMkLst>
        </pc:cxnChg>
        <pc:cxnChg chg="mod">
          <ac:chgData name="Mikami, Maho" userId="50612f1b-df2d-47bb-8fdd-7ddedc83fc7e" providerId="ADAL" clId="{5CBE12F2-F3C8-4DCE-AD77-5EBD7EED8DBF}" dt="2024-03-24T06:28:15.719" v="4287"/>
          <ac:cxnSpMkLst>
            <pc:docMk/>
            <pc:sldMk cId="445871252" sldId="2146847625"/>
            <ac:cxnSpMk id="142" creationId="{996E4118-0780-A57F-3E89-C5DDDE3BFAB5}"/>
          </ac:cxnSpMkLst>
        </pc:cxnChg>
        <pc:cxnChg chg="mod">
          <ac:chgData name="Mikami, Maho" userId="50612f1b-df2d-47bb-8fdd-7ddedc83fc7e" providerId="ADAL" clId="{5CBE12F2-F3C8-4DCE-AD77-5EBD7EED8DBF}" dt="2024-03-24T06:28:15.719" v="4287"/>
          <ac:cxnSpMkLst>
            <pc:docMk/>
            <pc:sldMk cId="445871252" sldId="2146847625"/>
            <ac:cxnSpMk id="143" creationId="{0B9CED95-2D78-6BDA-25DD-8EC571DC6A31}"/>
          </ac:cxnSpMkLst>
        </pc:cxnChg>
        <pc:cxnChg chg="mod">
          <ac:chgData name="Mikami, Maho" userId="50612f1b-df2d-47bb-8fdd-7ddedc83fc7e" providerId="ADAL" clId="{5CBE12F2-F3C8-4DCE-AD77-5EBD7EED8DBF}" dt="2024-03-24T06:28:15.719" v="4287"/>
          <ac:cxnSpMkLst>
            <pc:docMk/>
            <pc:sldMk cId="445871252" sldId="2146847625"/>
            <ac:cxnSpMk id="144" creationId="{88A458C9-2788-B63F-0184-4062DFAE7C58}"/>
          </ac:cxnSpMkLst>
        </pc:cxnChg>
        <pc:cxnChg chg="mod">
          <ac:chgData name="Mikami, Maho" userId="50612f1b-df2d-47bb-8fdd-7ddedc83fc7e" providerId="ADAL" clId="{5CBE12F2-F3C8-4DCE-AD77-5EBD7EED8DBF}" dt="2024-03-24T06:28:15.719" v="4287"/>
          <ac:cxnSpMkLst>
            <pc:docMk/>
            <pc:sldMk cId="445871252" sldId="2146847625"/>
            <ac:cxnSpMk id="146" creationId="{1474AE76-B188-ABB1-9CAA-0A4AB018A6DD}"/>
          </ac:cxnSpMkLst>
        </pc:cxnChg>
        <pc:cxnChg chg="mod">
          <ac:chgData name="Mikami, Maho" userId="50612f1b-df2d-47bb-8fdd-7ddedc83fc7e" providerId="ADAL" clId="{5CBE12F2-F3C8-4DCE-AD77-5EBD7EED8DBF}" dt="2024-03-24T06:28:15.719" v="4287"/>
          <ac:cxnSpMkLst>
            <pc:docMk/>
            <pc:sldMk cId="445871252" sldId="2146847625"/>
            <ac:cxnSpMk id="147" creationId="{473E2FAE-793B-0BA5-081F-6C3AC768AA2A}"/>
          </ac:cxnSpMkLst>
        </pc:cxnChg>
        <pc:cxnChg chg="mod">
          <ac:chgData name="Mikami, Maho" userId="50612f1b-df2d-47bb-8fdd-7ddedc83fc7e" providerId="ADAL" clId="{5CBE12F2-F3C8-4DCE-AD77-5EBD7EED8DBF}" dt="2024-03-24T06:28:15.719" v="4287"/>
          <ac:cxnSpMkLst>
            <pc:docMk/>
            <pc:sldMk cId="445871252" sldId="2146847625"/>
            <ac:cxnSpMk id="148" creationId="{90A80CBA-C484-0009-3611-C4AD26E7217B}"/>
          </ac:cxnSpMkLst>
        </pc:cxnChg>
        <pc:cxnChg chg="mod">
          <ac:chgData name="Mikami, Maho" userId="50612f1b-df2d-47bb-8fdd-7ddedc83fc7e" providerId="ADAL" clId="{5CBE12F2-F3C8-4DCE-AD77-5EBD7EED8DBF}" dt="2024-03-24T06:28:15.719" v="4287"/>
          <ac:cxnSpMkLst>
            <pc:docMk/>
            <pc:sldMk cId="445871252" sldId="2146847625"/>
            <ac:cxnSpMk id="149" creationId="{55326812-B1A9-0E82-27DF-40C933080EEF}"/>
          </ac:cxnSpMkLst>
        </pc:cxnChg>
        <pc:cxnChg chg="mod">
          <ac:chgData name="Mikami, Maho" userId="50612f1b-df2d-47bb-8fdd-7ddedc83fc7e" providerId="ADAL" clId="{5CBE12F2-F3C8-4DCE-AD77-5EBD7EED8DBF}" dt="2024-03-24T06:28:15.719" v="4287"/>
          <ac:cxnSpMkLst>
            <pc:docMk/>
            <pc:sldMk cId="445871252" sldId="2146847625"/>
            <ac:cxnSpMk id="153" creationId="{75BC0C6C-CAF0-82CD-A98C-9812A8E67BE3}"/>
          </ac:cxnSpMkLst>
        </pc:cxnChg>
        <pc:cxnChg chg="mod">
          <ac:chgData name="Mikami, Maho" userId="50612f1b-df2d-47bb-8fdd-7ddedc83fc7e" providerId="ADAL" clId="{5CBE12F2-F3C8-4DCE-AD77-5EBD7EED8DBF}" dt="2024-03-24T06:28:15.719" v="4287"/>
          <ac:cxnSpMkLst>
            <pc:docMk/>
            <pc:sldMk cId="445871252" sldId="2146847625"/>
            <ac:cxnSpMk id="154" creationId="{44071D73-F45C-506F-2BC6-E8E097051F66}"/>
          </ac:cxnSpMkLst>
        </pc:cxnChg>
        <pc:cxnChg chg="mod">
          <ac:chgData name="Mikami, Maho" userId="50612f1b-df2d-47bb-8fdd-7ddedc83fc7e" providerId="ADAL" clId="{5CBE12F2-F3C8-4DCE-AD77-5EBD7EED8DBF}" dt="2024-03-24T06:28:15.719" v="4287"/>
          <ac:cxnSpMkLst>
            <pc:docMk/>
            <pc:sldMk cId="445871252" sldId="2146847625"/>
            <ac:cxnSpMk id="155" creationId="{BAABD985-5FDC-D72F-969F-0D55CEDC0525}"/>
          </ac:cxnSpMkLst>
        </pc:cxnChg>
        <pc:cxnChg chg="mod">
          <ac:chgData name="Mikami, Maho" userId="50612f1b-df2d-47bb-8fdd-7ddedc83fc7e" providerId="ADAL" clId="{5CBE12F2-F3C8-4DCE-AD77-5EBD7EED8DBF}" dt="2024-03-24T06:28:15.719" v="4287"/>
          <ac:cxnSpMkLst>
            <pc:docMk/>
            <pc:sldMk cId="445871252" sldId="2146847625"/>
            <ac:cxnSpMk id="156" creationId="{D892A08A-228B-DF01-0696-09F66BAFC4CD}"/>
          </ac:cxnSpMkLst>
        </pc:cxnChg>
        <pc:cxnChg chg="mod">
          <ac:chgData name="Mikami, Maho" userId="50612f1b-df2d-47bb-8fdd-7ddedc83fc7e" providerId="ADAL" clId="{5CBE12F2-F3C8-4DCE-AD77-5EBD7EED8DBF}" dt="2024-03-24T06:28:15.719" v="4287"/>
          <ac:cxnSpMkLst>
            <pc:docMk/>
            <pc:sldMk cId="445871252" sldId="2146847625"/>
            <ac:cxnSpMk id="157" creationId="{495DE3A0-1007-C5B0-CA2F-3E903885C29E}"/>
          </ac:cxnSpMkLst>
        </pc:cxnChg>
        <pc:cxnChg chg="mod">
          <ac:chgData name="Mikami, Maho" userId="50612f1b-df2d-47bb-8fdd-7ddedc83fc7e" providerId="ADAL" clId="{5CBE12F2-F3C8-4DCE-AD77-5EBD7EED8DBF}" dt="2024-03-24T06:28:15.719" v="4287"/>
          <ac:cxnSpMkLst>
            <pc:docMk/>
            <pc:sldMk cId="445871252" sldId="2146847625"/>
            <ac:cxnSpMk id="158" creationId="{95B00BF2-3D98-D026-7870-94CE70E2CC58}"/>
          </ac:cxnSpMkLst>
        </pc:cxnChg>
        <pc:cxnChg chg="mod">
          <ac:chgData name="Mikami, Maho" userId="50612f1b-df2d-47bb-8fdd-7ddedc83fc7e" providerId="ADAL" clId="{5CBE12F2-F3C8-4DCE-AD77-5EBD7EED8DBF}" dt="2024-03-24T06:28:15.719" v="4287"/>
          <ac:cxnSpMkLst>
            <pc:docMk/>
            <pc:sldMk cId="445871252" sldId="2146847625"/>
            <ac:cxnSpMk id="159" creationId="{D409F483-3FAB-E6B9-6782-1CDEBB9756B5}"/>
          </ac:cxnSpMkLst>
        </pc:cxnChg>
      </pc:sldChg>
      <pc:sldChg chg="add del">
        <pc:chgData name="Mikami, Maho" userId="50612f1b-df2d-47bb-8fdd-7ddedc83fc7e" providerId="ADAL" clId="{5CBE12F2-F3C8-4DCE-AD77-5EBD7EED8DBF}" dt="2024-03-24T06:28:39.548" v="4353" actId="47"/>
        <pc:sldMkLst>
          <pc:docMk/>
          <pc:sldMk cId="873623441" sldId="2147377906"/>
        </pc:sldMkLst>
      </pc:sldChg>
      <pc:sldChg chg="del">
        <pc:chgData name="Mikami, Maho" userId="50612f1b-df2d-47bb-8fdd-7ddedc83fc7e" providerId="ADAL" clId="{5CBE12F2-F3C8-4DCE-AD77-5EBD7EED8DBF}" dt="2024-03-24T06:23:05.322" v="4132" actId="47"/>
        <pc:sldMkLst>
          <pc:docMk/>
          <pc:sldMk cId="3958614740" sldId="2147378631"/>
        </pc:sldMkLst>
      </pc:sldChg>
      <pc:sldChg chg="delSp modSp mod">
        <pc:chgData name="Mikami, Maho" userId="50612f1b-df2d-47bb-8fdd-7ddedc83fc7e" providerId="ADAL" clId="{5CBE12F2-F3C8-4DCE-AD77-5EBD7EED8DBF}" dt="2024-03-24T07:05:50.502" v="4917" actId="478"/>
        <pc:sldMkLst>
          <pc:docMk/>
          <pc:sldMk cId="2852443830" sldId="2147378632"/>
        </pc:sldMkLst>
        <pc:spChg chg="del mod">
          <ac:chgData name="Mikami, Maho" userId="50612f1b-df2d-47bb-8fdd-7ddedc83fc7e" providerId="ADAL" clId="{5CBE12F2-F3C8-4DCE-AD77-5EBD7EED8DBF}" dt="2024-03-24T07:05:50.502" v="4917" actId="478"/>
          <ac:spMkLst>
            <pc:docMk/>
            <pc:sldMk cId="2852443830" sldId="2147378632"/>
            <ac:spMk id="3" creationId="{4B3CE172-D199-01B5-37C0-A7F49A5FC9A9}"/>
          </ac:spMkLst>
        </pc:spChg>
        <pc:spChg chg="mod">
          <ac:chgData name="Mikami, Maho" userId="50612f1b-df2d-47bb-8fdd-7ddedc83fc7e" providerId="ADAL" clId="{5CBE12F2-F3C8-4DCE-AD77-5EBD7EED8DBF}" dt="2024-03-24T07:05:49.213" v="4916" actId="1076"/>
          <ac:spMkLst>
            <pc:docMk/>
            <pc:sldMk cId="2852443830" sldId="2147378632"/>
            <ac:spMk id="11" creationId="{2185EA67-61D9-4064-809F-BA3B5CE98408}"/>
          </ac:spMkLst>
        </pc:spChg>
        <pc:graphicFrameChg chg="mod modGraphic">
          <ac:chgData name="Mikami, Maho" userId="50612f1b-df2d-47bb-8fdd-7ddedc83fc7e" providerId="ADAL" clId="{5CBE12F2-F3C8-4DCE-AD77-5EBD7EED8DBF}" dt="2024-03-24T05:02:35.604" v="3059" actId="115"/>
          <ac:graphicFrameMkLst>
            <pc:docMk/>
            <pc:sldMk cId="2852443830" sldId="2147378632"/>
            <ac:graphicFrameMk id="6" creationId="{B55303B4-CE87-4811-3F7F-A140D7D12FA2}"/>
          </ac:graphicFrameMkLst>
        </pc:graphicFrameChg>
      </pc:sldChg>
      <pc:sldChg chg="modSp del mod">
        <pc:chgData name="Mikami, Maho" userId="50612f1b-df2d-47bb-8fdd-7ddedc83fc7e" providerId="ADAL" clId="{5CBE12F2-F3C8-4DCE-AD77-5EBD7EED8DBF}" dt="2024-03-24T06:23:10.246" v="4134" actId="47"/>
        <pc:sldMkLst>
          <pc:docMk/>
          <pc:sldMk cId="813696313" sldId="2147378633"/>
        </pc:sldMkLst>
        <pc:spChg chg="mod">
          <ac:chgData name="Mikami, Maho" userId="50612f1b-df2d-47bb-8fdd-7ddedc83fc7e" providerId="ADAL" clId="{5CBE12F2-F3C8-4DCE-AD77-5EBD7EED8DBF}" dt="2024-03-24T05:00:15.552" v="2881" actId="20577"/>
          <ac:spMkLst>
            <pc:docMk/>
            <pc:sldMk cId="813696313" sldId="2147378633"/>
            <ac:spMk id="10" creationId="{80E6EF29-A9F8-46B2-8DDE-5092A65E485F}"/>
          </ac:spMkLst>
        </pc:spChg>
      </pc:sldChg>
      <pc:sldChg chg="del">
        <pc:chgData name="Mikami, Maho" userId="50612f1b-df2d-47bb-8fdd-7ddedc83fc7e" providerId="ADAL" clId="{5CBE12F2-F3C8-4DCE-AD77-5EBD7EED8DBF}" dt="2024-03-24T06:23:42.375" v="4221" actId="47"/>
        <pc:sldMkLst>
          <pc:docMk/>
          <pc:sldMk cId="2542649328" sldId="2147378635"/>
        </pc:sldMkLst>
      </pc:sldChg>
      <pc:sldChg chg="del">
        <pc:chgData name="Mikami, Maho" userId="50612f1b-df2d-47bb-8fdd-7ddedc83fc7e" providerId="ADAL" clId="{5CBE12F2-F3C8-4DCE-AD77-5EBD7EED8DBF}" dt="2024-03-24T06:23:55.476" v="4225" actId="47"/>
        <pc:sldMkLst>
          <pc:docMk/>
          <pc:sldMk cId="280400123" sldId="2147378639"/>
        </pc:sldMkLst>
      </pc:sldChg>
      <pc:sldChg chg="modSp mod">
        <pc:chgData name="Mikami, Maho" userId="50612f1b-df2d-47bb-8fdd-7ddedc83fc7e" providerId="ADAL" clId="{5CBE12F2-F3C8-4DCE-AD77-5EBD7EED8DBF}" dt="2024-03-24T06:20:11.531" v="3879" actId="20577"/>
        <pc:sldMkLst>
          <pc:docMk/>
          <pc:sldMk cId="1869527861" sldId="2147378640"/>
        </pc:sldMkLst>
        <pc:spChg chg="mod">
          <ac:chgData name="Mikami, Maho" userId="50612f1b-df2d-47bb-8fdd-7ddedc83fc7e" providerId="ADAL" clId="{5CBE12F2-F3C8-4DCE-AD77-5EBD7EED8DBF}" dt="2024-03-24T06:20:11.531" v="3879" actId="20577"/>
          <ac:spMkLst>
            <pc:docMk/>
            <pc:sldMk cId="1869527861" sldId="2147378640"/>
            <ac:spMk id="10" creationId="{80E6EF29-A9F8-46B2-8DDE-5092A65E485F}"/>
          </ac:spMkLst>
        </pc:spChg>
      </pc:sldChg>
      <pc:sldChg chg="addSp modSp mod">
        <pc:chgData name="Mikami, Maho" userId="50612f1b-df2d-47bb-8fdd-7ddedc83fc7e" providerId="ADAL" clId="{5CBE12F2-F3C8-4DCE-AD77-5EBD7EED8DBF}" dt="2024-03-24T07:18:30.170" v="5990"/>
        <pc:sldMkLst>
          <pc:docMk/>
          <pc:sldMk cId="2971655775" sldId="2147378641"/>
        </pc:sldMkLst>
        <pc:spChg chg="add mod">
          <ac:chgData name="Mikami, Maho" userId="50612f1b-df2d-47bb-8fdd-7ddedc83fc7e" providerId="ADAL" clId="{5CBE12F2-F3C8-4DCE-AD77-5EBD7EED8DBF}" dt="2024-03-24T07:18:30.170" v="5990"/>
          <ac:spMkLst>
            <pc:docMk/>
            <pc:sldMk cId="2971655775" sldId="2147378641"/>
            <ac:spMk id="3" creationId="{94B4F4C3-E924-5C09-6C05-B7ACDED17F33}"/>
          </ac:spMkLst>
        </pc:spChg>
        <pc:spChg chg="mod">
          <ac:chgData name="Mikami, Maho" userId="50612f1b-df2d-47bb-8fdd-7ddedc83fc7e" providerId="ADAL" clId="{5CBE12F2-F3C8-4DCE-AD77-5EBD7EED8DBF}" dt="2024-03-24T04:55:12.415" v="2701" actId="948"/>
          <ac:spMkLst>
            <pc:docMk/>
            <pc:sldMk cId="2971655775" sldId="2147378641"/>
            <ac:spMk id="9" creationId="{D22A0A06-D5A8-4A1A-B66F-2A8EDBD644F1}"/>
          </ac:spMkLst>
        </pc:spChg>
        <pc:graphicFrameChg chg="mod">
          <ac:chgData name="Mikami, Maho" userId="50612f1b-df2d-47bb-8fdd-7ddedc83fc7e" providerId="ADAL" clId="{5CBE12F2-F3C8-4DCE-AD77-5EBD7EED8DBF}" dt="2024-03-24T04:55:12.430" v="2705"/>
          <ac:graphicFrameMkLst>
            <pc:docMk/>
            <pc:sldMk cId="2971655775" sldId="2147378641"/>
            <ac:graphicFrameMk id="5" creationId="{E78F9D36-5310-41D4-8608-5BFFDB0F22CA}"/>
          </ac:graphicFrameMkLst>
        </pc:graphicFrameChg>
      </pc:sldChg>
      <pc:sldChg chg="del">
        <pc:chgData name="Mikami, Maho" userId="50612f1b-df2d-47bb-8fdd-7ddedc83fc7e" providerId="ADAL" clId="{5CBE12F2-F3C8-4DCE-AD77-5EBD7EED8DBF}" dt="2024-03-24T06:34:30.331" v="4691" actId="47"/>
        <pc:sldMkLst>
          <pc:docMk/>
          <pc:sldMk cId="1188370737" sldId="2147378642"/>
        </pc:sldMkLst>
      </pc:sldChg>
      <pc:sldChg chg="addSp delSp modSp mod">
        <pc:chgData name="Mikami, Maho" userId="50612f1b-df2d-47bb-8fdd-7ddedc83fc7e" providerId="ADAL" clId="{5CBE12F2-F3C8-4DCE-AD77-5EBD7EED8DBF}" dt="2024-03-24T07:31:31.580" v="6780" actId="1035"/>
        <pc:sldMkLst>
          <pc:docMk/>
          <pc:sldMk cId="1805811011" sldId="2147378643"/>
        </pc:sldMkLst>
        <pc:spChg chg="del mod">
          <ac:chgData name="Mikami, Maho" userId="50612f1b-df2d-47bb-8fdd-7ddedc83fc7e" providerId="ADAL" clId="{5CBE12F2-F3C8-4DCE-AD77-5EBD7EED8DBF}" dt="2024-03-24T06:33:03.359" v="4558" actId="478"/>
          <ac:spMkLst>
            <pc:docMk/>
            <pc:sldMk cId="1805811011" sldId="2147378643"/>
            <ac:spMk id="3" creationId="{2B47DAB3-CE80-8ABF-3197-237049204C09}"/>
          </ac:spMkLst>
        </pc:spChg>
        <pc:spChg chg="add mod">
          <ac:chgData name="Mikami, Maho" userId="50612f1b-df2d-47bb-8fdd-7ddedc83fc7e" providerId="ADAL" clId="{5CBE12F2-F3C8-4DCE-AD77-5EBD7EED8DBF}" dt="2024-03-24T06:33:39.620" v="4625" actId="20577"/>
          <ac:spMkLst>
            <pc:docMk/>
            <pc:sldMk cId="1805811011" sldId="2147378643"/>
            <ac:spMk id="4" creationId="{78A6158B-C9C8-BC24-B780-F2E8C3167CB7}"/>
          </ac:spMkLst>
        </pc:spChg>
        <pc:spChg chg="add mod">
          <ac:chgData name="Mikami, Maho" userId="50612f1b-df2d-47bb-8fdd-7ddedc83fc7e" providerId="ADAL" clId="{5CBE12F2-F3C8-4DCE-AD77-5EBD7EED8DBF}" dt="2024-03-24T07:31:31.580" v="6780" actId="1035"/>
          <ac:spMkLst>
            <pc:docMk/>
            <pc:sldMk cId="1805811011" sldId="2147378643"/>
            <ac:spMk id="7" creationId="{64324C95-6697-EA74-E1BA-7DBD14662868}"/>
          </ac:spMkLst>
        </pc:spChg>
        <pc:spChg chg="add mod">
          <ac:chgData name="Mikami, Maho" userId="50612f1b-df2d-47bb-8fdd-7ddedc83fc7e" providerId="ADAL" clId="{5CBE12F2-F3C8-4DCE-AD77-5EBD7EED8DBF}" dt="2024-03-24T07:31:27.951" v="6771"/>
          <ac:spMkLst>
            <pc:docMk/>
            <pc:sldMk cId="1805811011" sldId="2147378643"/>
            <ac:spMk id="8" creationId="{CB55F509-E4B5-D1B3-0847-4D548304DBD8}"/>
          </ac:spMkLst>
        </pc:spChg>
        <pc:spChg chg="mod">
          <ac:chgData name="Mikami, Maho" userId="50612f1b-df2d-47bb-8fdd-7ddedc83fc7e" providerId="ADAL" clId="{5CBE12F2-F3C8-4DCE-AD77-5EBD7EED8DBF}" dt="2024-03-24T06:33:16.207" v="4566" actId="948"/>
          <ac:spMkLst>
            <pc:docMk/>
            <pc:sldMk cId="1805811011" sldId="2147378643"/>
            <ac:spMk id="9" creationId="{AE399A2B-7760-B687-0FFA-C43A562B0500}"/>
          </ac:spMkLst>
        </pc:spChg>
        <pc:graphicFrameChg chg="mod">
          <ac:chgData name="Mikami, Maho" userId="50612f1b-df2d-47bb-8fdd-7ddedc83fc7e" providerId="ADAL" clId="{5CBE12F2-F3C8-4DCE-AD77-5EBD7EED8DBF}" dt="2024-03-24T06:33:16.220" v="4570"/>
          <ac:graphicFrameMkLst>
            <pc:docMk/>
            <pc:sldMk cId="1805811011" sldId="2147378643"/>
            <ac:graphicFrameMk id="5" creationId="{C2B6F089-FB91-CDC8-7303-932DF8BCCE89}"/>
          </ac:graphicFrameMkLst>
        </pc:graphicFrameChg>
        <pc:graphicFrameChg chg="modGraphic">
          <ac:chgData name="Mikami, Maho" userId="50612f1b-df2d-47bb-8fdd-7ddedc83fc7e" providerId="ADAL" clId="{5CBE12F2-F3C8-4DCE-AD77-5EBD7EED8DBF}" dt="2024-03-24T04:11:39.487" v="1934" actId="2164"/>
          <ac:graphicFrameMkLst>
            <pc:docMk/>
            <pc:sldMk cId="1805811011" sldId="2147378643"/>
            <ac:graphicFrameMk id="13" creationId="{50E9E96A-FD26-603D-DD3F-FD8D762A7EBB}"/>
          </ac:graphicFrameMkLst>
        </pc:graphicFrameChg>
      </pc:sldChg>
      <pc:sldChg chg="addSp delSp modSp mod">
        <pc:chgData name="Mikami, Maho" userId="50612f1b-df2d-47bb-8fdd-7ddedc83fc7e" providerId="ADAL" clId="{5CBE12F2-F3C8-4DCE-AD77-5EBD7EED8DBF}" dt="2024-03-24T07:31:03.695" v="6707" actId="1035"/>
        <pc:sldMkLst>
          <pc:docMk/>
          <pc:sldMk cId="4186158384" sldId="2147378644"/>
        </pc:sldMkLst>
        <pc:spChg chg="mod">
          <ac:chgData name="Mikami, Maho" userId="50612f1b-df2d-47bb-8fdd-7ddedc83fc7e" providerId="ADAL" clId="{5CBE12F2-F3C8-4DCE-AD77-5EBD7EED8DBF}" dt="2024-03-24T04:01:38.547" v="1644"/>
          <ac:spMkLst>
            <pc:docMk/>
            <pc:sldMk cId="4186158384" sldId="2147378644"/>
            <ac:spMk id="3" creationId="{092C27A8-BB62-72B8-B8C0-F8AF62BE1C59}"/>
          </ac:spMkLst>
        </pc:spChg>
        <pc:spChg chg="mod">
          <ac:chgData name="Mikami, Maho" userId="50612f1b-df2d-47bb-8fdd-7ddedc83fc7e" providerId="ADAL" clId="{5CBE12F2-F3C8-4DCE-AD77-5EBD7EED8DBF}" dt="2024-03-24T04:55:53.727" v="2724" actId="948"/>
          <ac:spMkLst>
            <pc:docMk/>
            <pc:sldMk cId="4186158384" sldId="2147378644"/>
            <ac:spMk id="4" creationId="{9A77793A-6FD1-95D9-8A62-34EA102E3C19}"/>
          </ac:spMkLst>
        </pc:spChg>
        <pc:spChg chg="add mod">
          <ac:chgData name="Mikami, Maho" userId="50612f1b-df2d-47bb-8fdd-7ddedc83fc7e" providerId="ADAL" clId="{5CBE12F2-F3C8-4DCE-AD77-5EBD7EED8DBF}" dt="2024-03-24T07:07:44.393" v="4975" actId="14100"/>
          <ac:spMkLst>
            <pc:docMk/>
            <pc:sldMk cId="4186158384" sldId="2147378644"/>
            <ac:spMk id="5" creationId="{5929DA61-9492-16C6-77EC-2F6154CAB4D5}"/>
          </ac:spMkLst>
        </pc:spChg>
        <pc:spChg chg="del mod">
          <ac:chgData name="Mikami, Maho" userId="50612f1b-df2d-47bb-8fdd-7ddedc83fc7e" providerId="ADAL" clId="{5CBE12F2-F3C8-4DCE-AD77-5EBD7EED8DBF}" dt="2024-03-24T07:03:06.225" v="4692" actId="478"/>
          <ac:spMkLst>
            <pc:docMk/>
            <pc:sldMk cId="4186158384" sldId="2147378644"/>
            <ac:spMk id="7" creationId="{222C1F65-A6E5-C874-BDE7-97EE38DA79D2}"/>
          </ac:spMkLst>
        </pc:spChg>
        <pc:spChg chg="mod">
          <ac:chgData name="Mikami, Maho" userId="50612f1b-df2d-47bb-8fdd-7ddedc83fc7e" providerId="ADAL" clId="{5CBE12F2-F3C8-4DCE-AD77-5EBD7EED8DBF}" dt="2024-03-24T07:06:31.301" v="4946" actId="1035"/>
          <ac:spMkLst>
            <pc:docMk/>
            <pc:sldMk cId="4186158384" sldId="2147378644"/>
            <ac:spMk id="10" creationId="{03A39EDF-8745-AF9D-17B2-B285ECED9F56}"/>
          </ac:spMkLst>
        </pc:spChg>
        <pc:spChg chg="mod">
          <ac:chgData name="Mikami, Maho" userId="50612f1b-df2d-47bb-8fdd-7ddedc83fc7e" providerId="ADAL" clId="{5CBE12F2-F3C8-4DCE-AD77-5EBD7EED8DBF}" dt="2024-03-24T07:07:36.519" v="4973" actId="1035"/>
          <ac:spMkLst>
            <pc:docMk/>
            <pc:sldMk cId="4186158384" sldId="2147378644"/>
            <ac:spMk id="12" creationId="{7DDB96D5-A9F5-444E-2565-C271B5960BA4}"/>
          </ac:spMkLst>
        </pc:spChg>
        <pc:spChg chg="add del mod">
          <ac:chgData name="Mikami, Maho" userId="50612f1b-df2d-47bb-8fdd-7ddedc83fc7e" providerId="ADAL" clId="{5CBE12F2-F3C8-4DCE-AD77-5EBD7EED8DBF}" dt="2024-03-24T07:07:14.003" v="4966" actId="478"/>
          <ac:spMkLst>
            <pc:docMk/>
            <pc:sldMk cId="4186158384" sldId="2147378644"/>
            <ac:spMk id="16" creationId="{D82731B7-5750-703C-4B7E-BF51E0DCA3F7}"/>
          </ac:spMkLst>
        </pc:spChg>
        <pc:spChg chg="add del mod">
          <ac:chgData name="Mikami, Maho" userId="50612f1b-df2d-47bb-8fdd-7ddedc83fc7e" providerId="ADAL" clId="{5CBE12F2-F3C8-4DCE-AD77-5EBD7EED8DBF}" dt="2024-03-24T07:08:23.850" v="5072" actId="478"/>
          <ac:spMkLst>
            <pc:docMk/>
            <pc:sldMk cId="4186158384" sldId="2147378644"/>
            <ac:spMk id="17" creationId="{86F0F3BA-31D5-CB5F-DAA4-6F832E98B5D6}"/>
          </ac:spMkLst>
        </pc:spChg>
        <pc:spChg chg="mod">
          <ac:chgData name="Mikami, Maho" userId="50612f1b-df2d-47bb-8fdd-7ddedc83fc7e" providerId="ADAL" clId="{5CBE12F2-F3C8-4DCE-AD77-5EBD7EED8DBF}" dt="2024-03-24T07:03:06.899" v="4693"/>
          <ac:spMkLst>
            <pc:docMk/>
            <pc:sldMk cId="4186158384" sldId="2147378644"/>
            <ac:spMk id="19" creationId="{35B280C7-CA5E-F0C6-68E2-40EE6742AF62}"/>
          </ac:spMkLst>
        </pc:spChg>
        <pc:spChg chg="mod">
          <ac:chgData name="Mikami, Maho" userId="50612f1b-df2d-47bb-8fdd-7ddedc83fc7e" providerId="ADAL" clId="{5CBE12F2-F3C8-4DCE-AD77-5EBD7EED8DBF}" dt="2024-03-24T07:03:06.899" v="4693"/>
          <ac:spMkLst>
            <pc:docMk/>
            <pc:sldMk cId="4186158384" sldId="2147378644"/>
            <ac:spMk id="20" creationId="{77FA37A2-3D19-64A0-1D6B-68239720DFA8}"/>
          </ac:spMkLst>
        </pc:spChg>
        <pc:spChg chg="mod">
          <ac:chgData name="Mikami, Maho" userId="50612f1b-df2d-47bb-8fdd-7ddedc83fc7e" providerId="ADAL" clId="{5CBE12F2-F3C8-4DCE-AD77-5EBD7EED8DBF}" dt="2024-03-24T07:03:06.899" v="4693"/>
          <ac:spMkLst>
            <pc:docMk/>
            <pc:sldMk cId="4186158384" sldId="2147378644"/>
            <ac:spMk id="21" creationId="{1C6EC807-1E37-FAF3-1C9F-E3C46F1AFAD8}"/>
          </ac:spMkLst>
        </pc:spChg>
        <pc:spChg chg="mod">
          <ac:chgData name="Mikami, Maho" userId="50612f1b-df2d-47bb-8fdd-7ddedc83fc7e" providerId="ADAL" clId="{5CBE12F2-F3C8-4DCE-AD77-5EBD7EED8DBF}" dt="2024-03-24T07:03:06.899" v="4693"/>
          <ac:spMkLst>
            <pc:docMk/>
            <pc:sldMk cId="4186158384" sldId="2147378644"/>
            <ac:spMk id="22" creationId="{E7E9367E-A6CE-05CA-47DC-618127082E39}"/>
          </ac:spMkLst>
        </pc:spChg>
        <pc:spChg chg="del">
          <ac:chgData name="Mikami, Maho" userId="50612f1b-df2d-47bb-8fdd-7ddedc83fc7e" providerId="ADAL" clId="{5CBE12F2-F3C8-4DCE-AD77-5EBD7EED8DBF}" dt="2024-03-24T07:07:14.003" v="4966" actId="478"/>
          <ac:spMkLst>
            <pc:docMk/>
            <pc:sldMk cId="4186158384" sldId="2147378644"/>
            <ac:spMk id="23" creationId="{3B4E9364-AA14-FAB0-8D8D-7AB72E4B3A4A}"/>
          </ac:spMkLst>
        </pc:spChg>
        <pc:spChg chg="del mod">
          <ac:chgData name="Mikami, Maho" userId="50612f1b-df2d-47bb-8fdd-7ddedc83fc7e" providerId="ADAL" clId="{5CBE12F2-F3C8-4DCE-AD77-5EBD7EED8DBF}" dt="2024-03-24T07:07:14.003" v="4966" actId="478"/>
          <ac:spMkLst>
            <pc:docMk/>
            <pc:sldMk cId="4186158384" sldId="2147378644"/>
            <ac:spMk id="24" creationId="{6812ECF5-219C-F96E-DC34-885D07A885CB}"/>
          </ac:spMkLst>
        </pc:spChg>
        <pc:spChg chg="del">
          <ac:chgData name="Mikami, Maho" userId="50612f1b-df2d-47bb-8fdd-7ddedc83fc7e" providerId="ADAL" clId="{5CBE12F2-F3C8-4DCE-AD77-5EBD7EED8DBF}" dt="2024-03-24T07:07:14.003" v="4966" actId="478"/>
          <ac:spMkLst>
            <pc:docMk/>
            <pc:sldMk cId="4186158384" sldId="2147378644"/>
            <ac:spMk id="25" creationId="{2C4F13DB-EF49-E9D8-5C50-FFD25408D991}"/>
          </ac:spMkLst>
        </pc:spChg>
        <pc:spChg chg="mod">
          <ac:chgData name="Mikami, Maho" userId="50612f1b-df2d-47bb-8fdd-7ddedc83fc7e" providerId="ADAL" clId="{5CBE12F2-F3C8-4DCE-AD77-5EBD7EED8DBF}" dt="2024-03-24T07:03:06.899" v="4693"/>
          <ac:spMkLst>
            <pc:docMk/>
            <pc:sldMk cId="4186158384" sldId="2147378644"/>
            <ac:spMk id="26" creationId="{B0B6ED99-9E0B-6E0A-EBF1-E99B1E87524C}"/>
          </ac:spMkLst>
        </pc:spChg>
        <pc:spChg chg="mod">
          <ac:chgData name="Mikami, Maho" userId="50612f1b-df2d-47bb-8fdd-7ddedc83fc7e" providerId="ADAL" clId="{5CBE12F2-F3C8-4DCE-AD77-5EBD7EED8DBF}" dt="2024-03-24T07:03:06.899" v="4693"/>
          <ac:spMkLst>
            <pc:docMk/>
            <pc:sldMk cId="4186158384" sldId="2147378644"/>
            <ac:spMk id="27" creationId="{19B054EB-C550-AA04-1B15-85F52E2048E3}"/>
          </ac:spMkLst>
        </pc:spChg>
        <pc:spChg chg="mod">
          <ac:chgData name="Mikami, Maho" userId="50612f1b-df2d-47bb-8fdd-7ddedc83fc7e" providerId="ADAL" clId="{5CBE12F2-F3C8-4DCE-AD77-5EBD7EED8DBF}" dt="2024-03-24T07:03:06.899" v="4693"/>
          <ac:spMkLst>
            <pc:docMk/>
            <pc:sldMk cId="4186158384" sldId="2147378644"/>
            <ac:spMk id="28" creationId="{E51DE320-4174-80E1-9613-75E0B9A330DC}"/>
          </ac:spMkLst>
        </pc:spChg>
        <pc:spChg chg="mod">
          <ac:chgData name="Mikami, Maho" userId="50612f1b-df2d-47bb-8fdd-7ddedc83fc7e" providerId="ADAL" clId="{5CBE12F2-F3C8-4DCE-AD77-5EBD7EED8DBF}" dt="2024-03-24T07:03:06.899" v="4693"/>
          <ac:spMkLst>
            <pc:docMk/>
            <pc:sldMk cId="4186158384" sldId="2147378644"/>
            <ac:spMk id="29" creationId="{702F676C-C111-4671-E273-B4CBF4905EE6}"/>
          </ac:spMkLst>
        </pc:spChg>
        <pc:spChg chg="mod">
          <ac:chgData name="Mikami, Maho" userId="50612f1b-df2d-47bb-8fdd-7ddedc83fc7e" providerId="ADAL" clId="{5CBE12F2-F3C8-4DCE-AD77-5EBD7EED8DBF}" dt="2024-03-24T07:03:06.899" v="4693"/>
          <ac:spMkLst>
            <pc:docMk/>
            <pc:sldMk cId="4186158384" sldId="2147378644"/>
            <ac:spMk id="30" creationId="{FD69D26B-368F-FEE5-E3D7-D150560A4CFD}"/>
          </ac:spMkLst>
        </pc:spChg>
        <pc:spChg chg="mod">
          <ac:chgData name="Mikami, Maho" userId="50612f1b-df2d-47bb-8fdd-7ddedc83fc7e" providerId="ADAL" clId="{5CBE12F2-F3C8-4DCE-AD77-5EBD7EED8DBF}" dt="2024-03-24T07:03:06.899" v="4693"/>
          <ac:spMkLst>
            <pc:docMk/>
            <pc:sldMk cId="4186158384" sldId="2147378644"/>
            <ac:spMk id="31" creationId="{A287243F-1291-C9CD-3A55-10FDC6966BD5}"/>
          </ac:spMkLst>
        </pc:spChg>
        <pc:spChg chg="mod">
          <ac:chgData name="Mikami, Maho" userId="50612f1b-df2d-47bb-8fdd-7ddedc83fc7e" providerId="ADAL" clId="{5CBE12F2-F3C8-4DCE-AD77-5EBD7EED8DBF}" dt="2024-03-24T07:03:06.899" v="4693"/>
          <ac:spMkLst>
            <pc:docMk/>
            <pc:sldMk cId="4186158384" sldId="2147378644"/>
            <ac:spMk id="32" creationId="{0731FFA3-D256-86D9-8483-1ABF52F4F173}"/>
          </ac:spMkLst>
        </pc:spChg>
        <pc:spChg chg="mod">
          <ac:chgData name="Mikami, Maho" userId="50612f1b-df2d-47bb-8fdd-7ddedc83fc7e" providerId="ADAL" clId="{5CBE12F2-F3C8-4DCE-AD77-5EBD7EED8DBF}" dt="2024-03-24T07:03:06.899" v="4693"/>
          <ac:spMkLst>
            <pc:docMk/>
            <pc:sldMk cId="4186158384" sldId="2147378644"/>
            <ac:spMk id="34" creationId="{0BE88BF1-065F-8F07-5EAC-D89BFD2A7D5B}"/>
          </ac:spMkLst>
        </pc:spChg>
        <pc:spChg chg="mod">
          <ac:chgData name="Mikami, Maho" userId="50612f1b-df2d-47bb-8fdd-7ddedc83fc7e" providerId="ADAL" clId="{5CBE12F2-F3C8-4DCE-AD77-5EBD7EED8DBF}" dt="2024-03-24T07:03:06.899" v="4693"/>
          <ac:spMkLst>
            <pc:docMk/>
            <pc:sldMk cId="4186158384" sldId="2147378644"/>
            <ac:spMk id="38" creationId="{80874058-AC76-1161-2B1F-03C135EE0AD0}"/>
          </ac:spMkLst>
        </pc:spChg>
        <pc:spChg chg="mod">
          <ac:chgData name="Mikami, Maho" userId="50612f1b-df2d-47bb-8fdd-7ddedc83fc7e" providerId="ADAL" clId="{5CBE12F2-F3C8-4DCE-AD77-5EBD7EED8DBF}" dt="2024-03-24T07:03:06.899" v="4693"/>
          <ac:spMkLst>
            <pc:docMk/>
            <pc:sldMk cId="4186158384" sldId="2147378644"/>
            <ac:spMk id="39" creationId="{00F46FC2-D2A3-2C19-4536-EC09EA0A1BCE}"/>
          </ac:spMkLst>
        </pc:spChg>
        <pc:spChg chg="mod">
          <ac:chgData name="Mikami, Maho" userId="50612f1b-df2d-47bb-8fdd-7ddedc83fc7e" providerId="ADAL" clId="{5CBE12F2-F3C8-4DCE-AD77-5EBD7EED8DBF}" dt="2024-03-24T07:03:06.899" v="4693"/>
          <ac:spMkLst>
            <pc:docMk/>
            <pc:sldMk cId="4186158384" sldId="2147378644"/>
            <ac:spMk id="40" creationId="{5C0659B3-9E94-7609-30C2-95D435DF5AF6}"/>
          </ac:spMkLst>
        </pc:spChg>
        <pc:spChg chg="mod">
          <ac:chgData name="Mikami, Maho" userId="50612f1b-df2d-47bb-8fdd-7ddedc83fc7e" providerId="ADAL" clId="{5CBE12F2-F3C8-4DCE-AD77-5EBD7EED8DBF}" dt="2024-03-24T07:03:06.899" v="4693"/>
          <ac:spMkLst>
            <pc:docMk/>
            <pc:sldMk cId="4186158384" sldId="2147378644"/>
            <ac:spMk id="41" creationId="{87DC25F0-C0B4-C147-1C55-DD400A977CA6}"/>
          </ac:spMkLst>
        </pc:spChg>
        <pc:spChg chg="mod">
          <ac:chgData name="Mikami, Maho" userId="50612f1b-df2d-47bb-8fdd-7ddedc83fc7e" providerId="ADAL" clId="{5CBE12F2-F3C8-4DCE-AD77-5EBD7EED8DBF}" dt="2024-03-24T07:03:06.899" v="4693"/>
          <ac:spMkLst>
            <pc:docMk/>
            <pc:sldMk cId="4186158384" sldId="2147378644"/>
            <ac:spMk id="42" creationId="{9A80B6DD-A756-1700-F53D-32CF562828DB}"/>
          </ac:spMkLst>
        </pc:spChg>
        <pc:spChg chg="mod">
          <ac:chgData name="Mikami, Maho" userId="50612f1b-df2d-47bb-8fdd-7ddedc83fc7e" providerId="ADAL" clId="{5CBE12F2-F3C8-4DCE-AD77-5EBD7EED8DBF}" dt="2024-03-24T07:03:06.899" v="4693"/>
          <ac:spMkLst>
            <pc:docMk/>
            <pc:sldMk cId="4186158384" sldId="2147378644"/>
            <ac:spMk id="43" creationId="{FE74082F-0FC1-DA4B-3D30-8EEF98D639CF}"/>
          </ac:spMkLst>
        </pc:spChg>
        <pc:spChg chg="mod">
          <ac:chgData name="Mikami, Maho" userId="50612f1b-df2d-47bb-8fdd-7ddedc83fc7e" providerId="ADAL" clId="{5CBE12F2-F3C8-4DCE-AD77-5EBD7EED8DBF}" dt="2024-03-24T07:03:06.899" v="4693"/>
          <ac:spMkLst>
            <pc:docMk/>
            <pc:sldMk cId="4186158384" sldId="2147378644"/>
            <ac:spMk id="44" creationId="{98033BDC-BE6F-2038-7B09-F76459ED7C06}"/>
          </ac:spMkLst>
        </pc:spChg>
        <pc:spChg chg="mod">
          <ac:chgData name="Mikami, Maho" userId="50612f1b-df2d-47bb-8fdd-7ddedc83fc7e" providerId="ADAL" clId="{5CBE12F2-F3C8-4DCE-AD77-5EBD7EED8DBF}" dt="2024-03-24T07:03:06.899" v="4693"/>
          <ac:spMkLst>
            <pc:docMk/>
            <pc:sldMk cId="4186158384" sldId="2147378644"/>
            <ac:spMk id="45" creationId="{E0E14667-6EBC-0917-92EC-19A4E60A83AD}"/>
          </ac:spMkLst>
        </pc:spChg>
        <pc:spChg chg="mod">
          <ac:chgData name="Mikami, Maho" userId="50612f1b-df2d-47bb-8fdd-7ddedc83fc7e" providerId="ADAL" clId="{5CBE12F2-F3C8-4DCE-AD77-5EBD7EED8DBF}" dt="2024-03-24T07:03:06.899" v="4693"/>
          <ac:spMkLst>
            <pc:docMk/>
            <pc:sldMk cId="4186158384" sldId="2147378644"/>
            <ac:spMk id="46" creationId="{8FE5E2A2-6231-8D78-098C-A0E5DA4A2342}"/>
          </ac:spMkLst>
        </pc:spChg>
        <pc:spChg chg="mod">
          <ac:chgData name="Mikami, Maho" userId="50612f1b-df2d-47bb-8fdd-7ddedc83fc7e" providerId="ADAL" clId="{5CBE12F2-F3C8-4DCE-AD77-5EBD7EED8DBF}" dt="2024-03-24T07:03:06.899" v="4693"/>
          <ac:spMkLst>
            <pc:docMk/>
            <pc:sldMk cId="4186158384" sldId="2147378644"/>
            <ac:spMk id="47" creationId="{F191A9BE-6862-72C8-289F-2E6679BEFF04}"/>
          </ac:spMkLst>
        </pc:spChg>
        <pc:spChg chg="mod">
          <ac:chgData name="Mikami, Maho" userId="50612f1b-df2d-47bb-8fdd-7ddedc83fc7e" providerId="ADAL" clId="{5CBE12F2-F3C8-4DCE-AD77-5EBD7EED8DBF}" dt="2024-03-24T07:03:06.899" v="4693"/>
          <ac:spMkLst>
            <pc:docMk/>
            <pc:sldMk cId="4186158384" sldId="2147378644"/>
            <ac:spMk id="51" creationId="{4D34E471-450A-309E-6C21-3E6208D50C70}"/>
          </ac:spMkLst>
        </pc:spChg>
        <pc:spChg chg="mod">
          <ac:chgData name="Mikami, Maho" userId="50612f1b-df2d-47bb-8fdd-7ddedc83fc7e" providerId="ADAL" clId="{5CBE12F2-F3C8-4DCE-AD77-5EBD7EED8DBF}" dt="2024-03-24T07:03:06.899" v="4693"/>
          <ac:spMkLst>
            <pc:docMk/>
            <pc:sldMk cId="4186158384" sldId="2147378644"/>
            <ac:spMk id="52" creationId="{C5ED0E6F-99CA-479B-613E-D2C1B88E3768}"/>
          </ac:spMkLst>
        </pc:spChg>
        <pc:spChg chg="mod">
          <ac:chgData name="Mikami, Maho" userId="50612f1b-df2d-47bb-8fdd-7ddedc83fc7e" providerId="ADAL" clId="{5CBE12F2-F3C8-4DCE-AD77-5EBD7EED8DBF}" dt="2024-03-24T07:03:06.899" v="4693"/>
          <ac:spMkLst>
            <pc:docMk/>
            <pc:sldMk cId="4186158384" sldId="2147378644"/>
            <ac:spMk id="53" creationId="{2DCA143F-AA89-E1FD-DFC0-B00848DA2DED}"/>
          </ac:spMkLst>
        </pc:spChg>
        <pc:spChg chg="mod">
          <ac:chgData name="Mikami, Maho" userId="50612f1b-df2d-47bb-8fdd-7ddedc83fc7e" providerId="ADAL" clId="{5CBE12F2-F3C8-4DCE-AD77-5EBD7EED8DBF}" dt="2024-03-24T07:03:06.899" v="4693"/>
          <ac:spMkLst>
            <pc:docMk/>
            <pc:sldMk cId="4186158384" sldId="2147378644"/>
            <ac:spMk id="55" creationId="{356F74A1-3963-B2F5-8399-3AA854804E48}"/>
          </ac:spMkLst>
        </pc:spChg>
        <pc:spChg chg="mod">
          <ac:chgData name="Mikami, Maho" userId="50612f1b-df2d-47bb-8fdd-7ddedc83fc7e" providerId="ADAL" clId="{5CBE12F2-F3C8-4DCE-AD77-5EBD7EED8DBF}" dt="2024-03-24T07:03:06.899" v="4693"/>
          <ac:spMkLst>
            <pc:docMk/>
            <pc:sldMk cId="4186158384" sldId="2147378644"/>
            <ac:spMk id="57" creationId="{A39926A6-0C1B-DEF1-9836-347FFFE11F06}"/>
          </ac:spMkLst>
        </pc:spChg>
        <pc:spChg chg="mod">
          <ac:chgData name="Mikami, Maho" userId="50612f1b-df2d-47bb-8fdd-7ddedc83fc7e" providerId="ADAL" clId="{5CBE12F2-F3C8-4DCE-AD77-5EBD7EED8DBF}" dt="2024-03-24T07:03:06.899" v="4693"/>
          <ac:spMkLst>
            <pc:docMk/>
            <pc:sldMk cId="4186158384" sldId="2147378644"/>
            <ac:spMk id="58" creationId="{F1EC6160-3EF0-B383-170B-B9F2573B6798}"/>
          </ac:spMkLst>
        </pc:spChg>
        <pc:spChg chg="mod">
          <ac:chgData name="Mikami, Maho" userId="50612f1b-df2d-47bb-8fdd-7ddedc83fc7e" providerId="ADAL" clId="{5CBE12F2-F3C8-4DCE-AD77-5EBD7EED8DBF}" dt="2024-03-24T07:03:06.899" v="4693"/>
          <ac:spMkLst>
            <pc:docMk/>
            <pc:sldMk cId="4186158384" sldId="2147378644"/>
            <ac:spMk id="59" creationId="{BB44516F-FCF6-BEB2-196C-DA13B212144E}"/>
          </ac:spMkLst>
        </pc:spChg>
        <pc:spChg chg="mod">
          <ac:chgData name="Mikami, Maho" userId="50612f1b-df2d-47bb-8fdd-7ddedc83fc7e" providerId="ADAL" clId="{5CBE12F2-F3C8-4DCE-AD77-5EBD7EED8DBF}" dt="2024-03-24T07:03:06.899" v="4693"/>
          <ac:spMkLst>
            <pc:docMk/>
            <pc:sldMk cId="4186158384" sldId="2147378644"/>
            <ac:spMk id="60" creationId="{FB8C6A40-F3CB-366C-79C9-DADEC7CDDEA9}"/>
          </ac:spMkLst>
        </pc:spChg>
        <pc:spChg chg="mod">
          <ac:chgData name="Mikami, Maho" userId="50612f1b-df2d-47bb-8fdd-7ddedc83fc7e" providerId="ADAL" clId="{5CBE12F2-F3C8-4DCE-AD77-5EBD7EED8DBF}" dt="2024-03-24T07:03:06.899" v="4693"/>
          <ac:spMkLst>
            <pc:docMk/>
            <pc:sldMk cId="4186158384" sldId="2147378644"/>
            <ac:spMk id="67" creationId="{AA96B6DC-5677-6B3B-4113-EAF79990ABDC}"/>
          </ac:spMkLst>
        </pc:spChg>
        <pc:spChg chg="mod">
          <ac:chgData name="Mikami, Maho" userId="50612f1b-df2d-47bb-8fdd-7ddedc83fc7e" providerId="ADAL" clId="{5CBE12F2-F3C8-4DCE-AD77-5EBD7EED8DBF}" dt="2024-03-24T07:03:06.899" v="4693"/>
          <ac:spMkLst>
            <pc:docMk/>
            <pc:sldMk cId="4186158384" sldId="2147378644"/>
            <ac:spMk id="70" creationId="{FCE4AE95-19F7-818F-F0F5-0926D79915C2}"/>
          </ac:spMkLst>
        </pc:spChg>
        <pc:spChg chg="mod">
          <ac:chgData name="Mikami, Maho" userId="50612f1b-df2d-47bb-8fdd-7ddedc83fc7e" providerId="ADAL" clId="{5CBE12F2-F3C8-4DCE-AD77-5EBD7EED8DBF}" dt="2024-03-24T07:03:06.899" v="4693"/>
          <ac:spMkLst>
            <pc:docMk/>
            <pc:sldMk cId="4186158384" sldId="2147378644"/>
            <ac:spMk id="71" creationId="{2F354C49-BBCE-D08D-70AC-3C23611C0E04}"/>
          </ac:spMkLst>
        </pc:spChg>
        <pc:spChg chg="mod">
          <ac:chgData name="Mikami, Maho" userId="50612f1b-df2d-47bb-8fdd-7ddedc83fc7e" providerId="ADAL" clId="{5CBE12F2-F3C8-4DCE-AD77-5EBD7EED8DBF}" dt="2024-03-24T07:03:06.899" v="4693"/>
          <ac:spMkLst>
            <pc:docMk/>
            <pc:sldMk cId="4186158384" sldId="2147378644"/>
            <ac:spMk id="74" creationId="{716FF46A-2368-7CFB-ED1E-C94C478B2F78}"/>
          </ac:spMkLst>
        </pc:spChg>
        <pc:spChg chg="mod">
          <ac:chgData name="Mikami, Maho" userId="50612f1b-df2d-47bb-8fdd-7ddedc83fc7e" providerId="ADAL" clId="{5CBE12F2-F3C8-4DCE-AD77-5EBD7EED8DBF}" dt="2024-03-24T07:03:06.899" v="4693"/>
          <ac:spMkLst>
            <pc:docMk/>
            <pc:sldMk cId="4186158384" sldId="2147378644"/>
            <ac:spMk id="75" creationId="{E0FDEBA9-DBDD-4F50-59BE-8EE84C39FA2D}"/>
          </ac:spMkLst>
        </pc:spChg>
        <pc:spChg chg="mod">
          <ac:chgData name="Mikami, Maho" userId="50612f1b-df2d-47bb-8fdd-7ddedc83fc7e" providerId="ADAL" clId="{5CBE12F2-F3C8-4DCE-AD77-5EBD7EED8DBF}" dt="2024-03-24T07:03:06.899" v="4693"/>
          <ac:spMkLst>
            <pc:docMk/>
            <pc:sldMk cId="4186158384" sldId="2147378644"/>
            <ac:spMk id="76" creationId="{E7F1EE3F-5B62-AF46-5952-AE86150A0D8F}"/>
          </ac:spMkLst>
        </pc:spChg>
        <pc:spChg chg="mod">
          <ac:chgData name="Mikami, Maho" userId="50612f1b-df2d-47bb-8fdd-7ddedc83fc7e" providerId="ADAL" clId="{5CBE12F2-F3C8-4DCE-AD77-5EBD7EED8DBF}" dt="2024-03-24T07:03:06.899" v="4693"/>
          <ac:spMkLst>
            <pc:docMk/>
            <pc:sldMk cId="4186158384" sldId="2147378644"/>
            <ac:spMk id="84" creationId="{0E46FC6C-9DE9-077D-3FA8-E1B969B4491D}"/>
          </ac:spMkLst>
        </pc:spChg>
        <pc:spChg chg="mod">
          <ac:chgData name="Mikami, Maho" userId="50612f1b-df2d-47bb-8fdd-7ddedc83fc7e" providerId="ADAL" clId="{5CBE12F2-F3C8-4DCE-AD77-5EBD7EED8DBF}" dt="2024-03-24T07:03:06.899" v="4693"/>
          <ac:spMkLst>
            <pc:docMk/>
            <pc:sldMk cId="4186158384" sldId="2147378644"/>
            <ac:spMk id="85" creationId="{FE370207-73F0-2E43-D2E7-80876285E12E}"/>
          </ac:spMkLst>
        </pc:spChg>
        <pc:spChg chg="mod">
          <ac:chgData name="Mikami, Maho" userId="50612f1b-df2d-47bb-8fdd-7ddedc83fc7e" providerId="ADAL" clId="{5CBE12F2-F3C8-4DCE-AD77-5EBD7EED8DBF}" dt="2024-03-24T07:03:06.899" v="4693"/>
          <ac:spMkLst>
            <pc:docMk/>
            <pc:sldMk cId="4186158384" sldId="2147378644"/>
            <ac:spMk id="87" creationId="{EDF80C7D-BC08-DF59-8C88-F593BAF91C05}"/>
          </ac:spMkLst>
        </pc:spChg>
        <pc:spChg chg="mod">
          <ac:chgData name="Mikami, Maho" userId="50612f1b-df2d-47bb-8fdd-7ddedc83fc7e" providerId="ADAL" clId="{5CBE12F2-F3C8-4DCE-AD77-5EBD7EED8DBF}" dt="2024-03-24T07:03:06.899" v="4693"/>
          <ac:spMkLst>
            <pc:docMk/>
            <pc:sldMk cId="4186158384" sldId="2147378644"/>
            <ac:spMk id="88" creationId="{4FF1DF9B-791F-3873-FAAE-5AD8A9A7330E}"/>
          </ac:spMkLst>
        </pc:spChg>
        <pc:spChg chg="mod">
          <ac:chgData name="Mikami, Maho" userId="50612f1b-df2d-47bb-8fdd-7ddedc83fc7e" providerId="ADAL" clId="{5CBE12F2-F3C8-4DCE-AD77-5EBD7EED8DBF}" dt="2024-03-24T07:03:06.899" v="4693"/>
          <ac:spMkLst>
            <pc:docMk/>
            <pc:sldMk cId="4186158384" sldId="2147378644"/>
            <ac:spMk id="89" creationId="{AD9365AB-29B7-A690-8C08-9C57DCE10B7F}"/>
          </ac:spMkLst>
        </pc:spChg>
        <pc:spChg chg="mod">
          <ac:chgData name="Mikami, Maho" userId="50612f1b-df2d-47bb-8fdd-7ddedc83fc7e" providerId="ADAL" clId="{5CBE12F2-F3C8-4DCE-AD77-5EBD7EED8DBF}" dt="2024-03-24T07:03:06.899" v="4693"/>
          <ac:spMkLst>
            <pc:docMk/>
            <pc:sldMk cId="4186158384" sldId="2147378644"/>
            <ac:spMk id="90" creationId="{C8B01E9C-AF77-D7DA-A46E-4F3A8C45045C}"/>
          </ac:spMkLst>
        </pc:spChg>
        <pc:spChg chg="mod">
          <ac:chgData name="Mikami, Maho" userId="50612f1b-df2d-47bb-8fdd-7ddedc83fc7e" providerId="ADAL" clId="{5CBE12F2-F3C8-4DCE-AD77-5EBD7EED8DBF}" dt="2024-03-24T07:03:06.899" v="4693"/>
          <ac:spMkLst>
            <pc:docMk/>
            <pc:sldMk cId="4186158384" sldId="2147378644"/>
            <ac:spMk id="91" creationId="{F7F1F30C-0760-4D3F-B0D1-75B96A35347B}"/>
          </ac:spMkLst>
        </pc:spChg>
        <pc:spChg chg="mod">
          <ac:chgData name="Mikami, Maho" userId="50612f1b-df2d-47bb-8fdd-7ddedc83fc7e" providerId="ADAL" clId="{5CBE12F2-F3C8-4DCE-AD77-5EBD7EED8DBF}" dt="2024-03-24T07:03:06.899" v="4693"/>
          <ac:spMkLst>
            <pc:docMk/>
            <pc:sldMk cId="4186158384" sldId="2147378644"/>
            <ac:spMk id="92" creationId="{0FC20338-25FE-E622-2BA4-A9368897694E}"/>
          </ac:spMkLst>
        </pc:spChg>
        <pc:spChg chg="mod">
          <ac:chgData name="Mikami, Maho" userId="50612f1b-df2d-47bb-8fdd-7ddedc83fc7e" providerId="ADAL" clId="{5CBE12F2-F3C8-4DCE-AD77-5EBD7EED8DBF}" dt="2024-03-24T07:03:06.899" v="4693"/>
          <ac:spMkLst>
            <pc:docMk/>
            <pc:sldMk cId="4186158384" sldId="2147378644"/>
            <ac:spMk id="93" creationId="{0BD2C255-B921-6B03-2946-F80D818AEA35}"/>
          </ac:spMkLst>
        </pc:spChg>
        <pc:spChg chg="mod">
          <ac:chgData name="Mikami, Maho" userId="50612f1b-df2d-47bb-8fdd-7ddedc83fc7e" providerId="ADAL" clId="{5CBE12F2-F3C8-4DCE-AD77-5EBD7EED8DBF}" dt="2024-03-24T07:03:06.899" v="4693"/>
          <ac:spMkLst>
            <pc:docMk/>
            <pc:sldMk cId="4186158384" sldId="2147378644"/>
            <ac:spMk id="95" creationId="{A2EE99F2-9866-2E85-F7F4-947600AD4016}"/>
          </ac:spMkLst>
        </pc:spChg>
        <pc:spChg chg="mod">
          <ac:chgData name="Mikami, Maho" userId="50612f1b-df2d-47bb-8fdd-7ddedc83fc7e" providerId="ADAL" clId="{5CBE12F2-F3C8-4DCE-AD77-5EBD7EED8DBF}" dt="2024-03-24T07:03:06.899" v="4693"/>
          <ac:spMkLst>
            <pc:docMk/>
            <pc:sldMk cId="4186158384" sldId="2147378644"/>
            <ac:spMk id="96" creationId="{769EBA8B-3634-080E-0511-494BFBA9B954}"/>
          </ac:spMkLst>
        </pc:spChg>
        <pc:spChg chg="mod">
          <ac:chgData name="Mikami, Maho" userId="50612f1b-df2d-47bb-8fdd-7ddedc83fc7e" providerId="ADAL" clId="{5CBE12F2-F3C8-4DCE-AD77-5EBD7EED8DBF}" dt="2024-03-24T07:03:06.899" v="4693"/>
          <ac:spMkLst>
            <pc:docMk/>
            <pc:sldMk cId="4186158384" sldId="2147378644"/>
            <ac:spMk id="97" creationId="{FB04CA4F-0EC8-0A49-3E50-E4932F397FBB}"/>
          </ac:spMkLst>
        </pc:spChg>
        <pc:spChg chg="mod">
          <ac:chgData name="Mikami, Maho" userId="50612f1b-df2d-47bb-8fdd-7ddedc83fc7e" providerId="ADAL" clId="{5CBE12F2-F3C8-4DCE-AD77-5EBD7EED8DBF}" dt="2024-03-24T07:03:06.899" v="4693"/>
          <ac:spMkLst>
            <pc:docMk/>
            <pc:sldMk cId="4186158384" sldId="2147378644"/>
            <ac:spMk id="98" creationId="{66C300D3-FF14-59EE-B119-795D9B7AE9A1}"/>
          </ac:spMkLst>
        </pc:spChg>
        <pc:spChg chg="mod">
          <ac:chgData name="Mikami, Maho" userId="50612f1b-df2d-47bb-8fdd-7ddedc83fc7e" providerId="ADAL" clId="{5CBE12F2-F3C8-4DCE-AD77-5EBD7EED8DBF}" dt="2024-03-24T07:03:06.899" v="4693"/>
          <ac:spMkLst>
            <pc:docMk/>
            <pc:sldMk cId="4186158384" sldId="2147378644"/>
            <ac:spMk id="99" creationId="{6D43C934-8869-569A-26F5-B1F1B3475747}"/>
          </ac:spMkLst>
        </pc:spChg>
        <pc:spChg chg="mod">
          <ac:chgData name="Mikami, Maho" userId="50612f1b-df2d-47bb-8fdd-7ddedc83fc7e" providerId="ADAL" clId="{5CBE12F2-F3C8-4DCE-AD77-5EBD7EED8DBF}" dt="2024-03-24T07:03:36.110" v="4699" actId="255"/>
          <ac:spMkLst>
            <pc:docMk/>
            <pc:sldMk cId="4186158384" sldId="2147378644"/>
            <ac:spMk id="101" creationId="{C2645F1F-9DB7-94AC-C2F6-29FC346E70C4}"/>
          </ac:spMkLst>
        </pc:spChg>
        <pc:spChg chg="mod">
          <ac:chgData name="Mikami, Maho" userId="50612f1b-df2d-47bb-8fdd-7ddedc83fc7e" providerId="ADAL" clId="{5CBE12F2-F3C8-4DCE-AD77-5EBD7EED8DBF}" dt="2024-03-24T07:03:36.110" v="4699" actId="255"/>
          <ac:spMkLst>
            <pc:docMk/>
            <pc:sldMk cId="4186158384" sldId="2147378644"/>
            <ac:spMk id="102" creationId="{3D777A0B-7A30-DA19-EE2A-2F61B975995A}"/>
          </ac:spMkLst>
        </pc:spChg>
        <pc:spChg chg="mod">
          <ac:chgData name="Mikami, Maho" userId="50612f1b-df2d-47bb-8fdd-7ddedc83fc7e" providerId="ADAL" clId="{5CBE12F2-F3C8-4DCE-AD77-5EBD7EED8DBF}" dt="2024-03-24T07:03:36.110" v="4699" actId="255"/>
          <ac:spMkLst>
            <pc:docMk/>
            <pc:sldMk cId="4186158384" sldId="2147378644"/>
            <ac:spMk id="103" creationId="{496EA881-A8EC-F430-65F8-AC05A644BE7E}"/>
          </ac:spMkLst>
        </pc:spChg>
        <pc:spChg chg="mod">
          <ac:chgData name="Mikami, Maho" userId="50612f1b-df2d-47bb-8fdd-7ddedc83fc7e" providerId="ADAL" clId="{5CBE12F2-F3C8-4DCE-AD77-5EBD7EED8DBF}" dt="2024-03-24T07:03:36.110" v="4699" actId="255"/>
          <ac:spMkLst>
            <pc:docMk/>
            <pc:sldMk cId="4186158384" sldId="2147378644"/>
            <ac:spMk id="104" creationId="{79555C27-B582-5B65-DBD2-A7E7702A955B}"/>
          </ac:spMkLst>
        </pc:spChg>
        <pc:spChg chg="mod">
          <ac:chgData name="Mikami, Maho" userId="50612f1b-df2d-47bb-8fdd-7ddedc83fc7e" providerId="ADAL" clId="{5CBE12F2-F3C8-4DCE-AD77-5EBD7EED8DBF}" dt="2024-03-24T07:03:36.110" v="4699" actId="255"/>
          <ac:spMkLst>
            <pc:docMk/>
            <pc:sldMk cId="4186158384" sldId="2147378644"/>
            <ac:spMk id="105" creationId="{039D9CC5-4C57-25F4-F446-AF1413EB40F9}"/>
          </ac:spMkLst>
        </pc:spChg>
        <pc:spChg chg="mod">
          <ac:chgData name="Mikami, Maho" userId="50612f1b-df2d-47bb-8fdd-7ddedc83fc7e" providerId="ADAL" clId="{5CBE12F2-F3C8-4DCE-AD77-5EBD7EED8DBF}" dt="2024-03-24T07:03:36.110" v="4699" actId="255"/>
          <ac:spMkLst>
            <pc:docMk/>
            <pc:sldMk cId="4186158384" sldId="2147378644"/>
            <ac:spMk id="106" creationId="{0CC34DE8-D1BB-A24D-B165-8C6D562F6257}"/>
          </ac:spMkLst>
        </pc:spChg>
        <pc:spChg chg="mod">
          <ac:chgData name="Mikami, Maho" userId="50612f1b-df2d-47bb-8fdd-7ddedc83fc7e" providerId="ADAL" clId="{5CBE12F2-F3C8-4DCE-AD77-5EBD7EED8DBF}" dt="2024-03-24T07:03:36.110" v="4699" actId="255"/>
          <ac:spMkLst>
            <pc:docMk/>
            <pc:sldMk cId="4186158384" sldId="2147378644"/>
            <ac:spMk id="107" creationId="{3821D49F-6E95-6653-DF9E-5B716D26E1FE}"/>
          </ac:spMkLst>
        </pc:spChg>
        <pc:spChg chg="mod">
          <ac:chgData name="Mikami, Maho" userId="50612f1b-df2d-47bb-8fdd-7ddedc83fc7e" providerId="ADAL" clId="{5CBE12F2-F3C8-4DCE-AD77-5EBD7EED8DBF}" dt="2024-03-24T07:03:36.110" v="4699" actId="255"/>
          <ac:spMkLst>
            <pc:docMk/>
            <pc:sldMk cId="4186158384" sldId="2147378644"/>
            <ac:spMk id="108" creationId="{D64426CC-502B-F6B8-AB39-1A8C1DA95E11}"/>
          </ac:spMkLst>
        </pc:spChg>
        <pc:spChg chg="mod">
          <ac:chgData name="Mikami, Maho" userId="50612f1b-df2d-47bb-8fdd-7ddedc83fc7e" providerId="ADAL" clId="{5CBE12F2-F3C8-4DCE-AD77-5EBD7EED8DBF}" dt="2024-03-24T07:03:36.110" v="4699" actId="255"/>
          <ac:spMkLst>
            <pc:docMk/>
            <pc:sldMk cId="4186158384" sldId="2147378644"/>
            <ac:spMk id="109" creationId="{692FEFFF-B1AA-6AFD-51AD-20053F70869A}"/>
          </ac:spMkLst>
        </pc:spChg>
        <pc:spChg chg="mod">
          <ac:chgData name="Mikami, Maho" userId="50612f1b-df2d-47bb-8fdd-7ddedc83fc7e" providerId="ADAL" clId="{5CBE12F2-F3C8-4DCE-AD77-5EBD7EED8DBF}" dt="2024-03-24T07:03:36.110" v="4699" actId="255"/>
          <ac:spMkLst>
            <pc:docMk/>
            <pc:sldMk cId="4186158384" sldId="2147378644"/>
            <ac:spMk id="110" creationId="{70CB168C-A788-BFBF-4844-E6527B3DCB74}"/>
          </ac:spMkLst>
        </pc:spChg>
        <pc:spChg chg="mod">
          <ac:chgData name="Mikami, Maho" userId="50612f1b-df2d-47bb-8fdd-7ddedc83fc7e" providerId="ADAL" clId="{5CBE12F2-F3C8-4DCE-AD77-5EBD7EED8DBF}" dt="2024-03-24T07:03:36.110" v="4699" actId="255"/>
          <ac:spMkLst>
            <pc:docMk/>
            <pc:sldMk cId="4186158384" sldId="2147378644"/>
            <ac:spMk id="111" creationId="{4DDFAA5D-1319-D0C4-08AD-E0007D834D4E}"/>
          </ac:spMkLst>
        </pc:spChg>
        <pc:spChg chg="mod">
          <ac:chgData name="Mikami, Maho" userId="50612f1b-df2d-47bb-8fdd-7ddedc83fc7e" providerId="ADAL" clId="{5CBE12F2-F3C8-4DCE-AD77-5EBD7EED8DBF}" dt="2024-03-24T07:03:36.110" v="4699" actId="255"/>
          <ac:spMkLst>
            <pc:docMk/>
            <pc:sldMk cId="4186158384" sldId="2147378644"/>
            <ac:spMk id="113" creationId="{30A3234C-9F78-744A-D4FD-CC09591E87CF}"/>
          </ac:spMkLst>
        </pc:spChg>
        <pc:spChg chg="mod">
          <ac:chgData name="Mikami, Maho" userId="50612f1b-df2d-47bb-8fdd-7ddedc83fc7e" providerId="ADAL" clId="{5CBE12F2-F3C8-4DCE-AD77-5EBD7EED8DBF}" dt="2024-03-24T07:03:36.110" v="4699" actId="255"/>
          <ac:spMkLst>
            <pc:docMk/>
            <pc:sldMk cId="4186158384" sldId="2147378644"/>
            <ac:spMk id="117" creationId="{173C319B-1FEB-1109-4A2B-2BE3BB2EDC36}"/>
          </ac:spMkLst>
        </pc:spChg>
        <pc:spChg chg="mod">
          <ac:chgData name="Mikami, Maho" userId="50612f1b-df2d-47bb-8fdd-7ddedc83fc7e" providerId="ADAL" clId="{5CBE12F2-F3C8-4DCE-AD77-5EBD7EED8DBF}" dt="2024-03-24T07:03:36.110" v="4699" actId="255"/>
          <ac:spMkLst>
            <pc:docMk/>
            <pc:sldMk cId="4186158384" sldId="2147378644"/>
            <ac:spMk id="118" creationId="{474EC7FD-813F-5652-CD6A-A7759843EE89}"/>
          </ac:spMkLst>
        </pc:spChg>
        <pc:spChg chg="mod">
          <ac:chgData name="Mikami, Maho" userId="50612f1b-df2d-47bb-8fdd-7ddedc83fc7e" providerId="ADAL" clId="{5CBE12F2-F3C8-4DCE-AD77-5EBD7EED8DBF}" dt="2024-03-24T07:03:36.110" v="4699" actId="255"/>
          <ac:spMkLst>
            <pc:docMk/>
            <pc:sldMk cId="4186158384" sldId="2147378644"/>
            <ac:spMk id="119" creationId="{90A28747-4832-F999-F02C-FD2DCE5C6A7F}"/>
          </ac:spMkLst>
        </pc:spChg>
        <pc:spChg chg="mod">
          <ac:chgData name="Mikami, Maho" userId="50612f1b-df2d-47bb-8fdd-7ddedc83fc7e" providerId="ADAL" clId="{5CBE12F2-F3C8-4DCE-AD77-5EBD7EED8DBF}" dt="2024-03-24T07:03:36.110" v="4699" actId="255"/>
          <ac:spMkLst>
            <pc:docMk/>
            <pc:sldMk cId="4186158384" sldId="2147378644"/>
            <ac:spMk id="120" creationId="{4AD82941-858C-5329-2317-A682B7E611FE}"/>
          </ac:spMkLst>
        </pc:spChg>
        <pc:spChg chg="mod">
          <ac:chgData name="Mikami, Maho" userId="50612f1b-df2d-47bb-8fdd-7ddedc83fc7e" providerId="ADAL" clId="{5CBE12F2-F3C8-4DCE-AD77-5EBD7EED8DBF}" dt="2024-03-24T07:03:36.110" v="4699" actId="255"/>
          <ac:spMkLst>
            <pc:docMk/>
            <pc:sldMk cId="4186158384" sldId="2147378644"/>
            <ac:spMk id="121" creationId="{78CA1DEF-2235-0BA9-ADB3-01FCBCFF5921}"/>
          </ac:spMkLst>
        </pc:spChg>
        <pc:spChg chg="mod">
          <ac:chgData name="Mikami, Maho" userId="50612f1b-df2d-47bb-8fdd-7ddedc83fc7e" providerId="ADAL" clId="{5CBE12F2-F3C8-4DCE-AD77-5EBD7EED8DBF}" dt="2024-03-24T07:03:36.110" v="4699" actId="255"/>
          <ac:spMkLst>
            <pc:docMk/>
            <pc:sldMk cId="4186158384" sldId="2147378644"/>
            <ac:spMk id="122" creationId="{81898300-7B44-2BE6-A27B-C91169EC6146}"/>
          </ac:spMkLst>
        </pc:spChg>
        <pc:spChg chg="mod">
          <ac:chgData name="Mikami, Maho" userId="50612f1b-df2d-47bb-8fdd-7ddedc83fc7e" providerId="ADAL" clId="{5CBE12F2-F3C8-4DCE-AD77-5EBD7EED8DBF}" dt="2024-03-24T07:03:36.110" v="4699" actId="255"/>
          <ac:spMkLst>
            <pc:docMk/>
            <pc:sldMk cId="4186158384" sldId="2147378644"/>
            <ac:spMk id="123" creationId="{639C6E7D-5FC0-8669-5E63-9AF58CF00F1A}"/>
          </ac:spMkLst>
        </pc:spChg>
        <pc:spChg chg="mod">
          <ac:chgData name="Mikami, Maho" userId="50612f1b-df2d-47bb-8fdd-7ddedc83fc7e" providerId="ADAL" clId="{5CBE12F2-F3C8-4DCE-AD77-5EBD7EED8DBF}" dt="2024-03-24T07:03:36.110" v="4699" actId="255"/>
          <ac:spMkLst>
            <pc:docMk/>
            <pc:sldMk cId="4186158384" sldId="2147378644"/>
            <ac:spMk id="124" creationId="{60D90DF3-27D4-F61E-B67C-8318FFF3D8CD}"/>
          </ac:spMkLst>
        </pc:spChg>
        <pc:spChg chg="mod">
          <ac:chgData name="Mikami, Maho" userId="50612f1b-df2d-47bb-8fdd-7ddedc83fc7e" providerId="ADAL" clId="{5CBE12F2-F3C8-4DCE-AD77-5EBD7EED8DBF}" dt="2024-03-24T07:03:36.110" v="4699" actId="255"/>
          <ac:spMkLst>
            <pc:docMk/>
            <pc:sldMk cId="4186158384" sldId="2147378644"/>
            <ac:spMk id="125" creationId="{AE8D7497-1A51-03B9-F1EF-4CC2CA56BD1B}"/>
          </ac:spMkLst>
        </pc:spChg>
        <pc:spChg chg="mod">
          <ac:chgData name="Mikami, Maho" userId="50612f1b-df2d-47bb-8fdd-7ddedc83fc7e" providerId="ADAL" clId="{5CBE12F2-F3C8-4DCE-AD77-5EBD7EED8DBF}" dt="2024-03-24T07:03:36.110" v="4699" actId="255"/>
          <ac:spMkLst>
            <pc:docMk/>
            <pc:sldMk cId="4186158384" sldId="2147378644"/>
            <ac:spMk id="126" creationId="{0D11A4AB-CD2E-D4BA-1287-D92DC45D77EF}"/>
          </ac:spMkLst>
        </pc:spChg>
        <pc:spChg chg="mod">
          <ac:chgData name="Mikami, Maho" userId="50612f1b-df2d-47bb-8fdd-7ddedc83fc7e" providerId="ADAL" clId="{5CBE12F2-F3C8-4DCE-AD77-5EBD7EED8DBF}" dt="2024-03-24T07:03:36.110" v="4699" actId="255"/>
          <ac:spMkLst>
            <pc:docMk/>
            <pc:sldMk cId="4186158384" sldId="2147378644"/>
            <ac:spMk id="130" creationId="{699F8769-EBBE-4ACD-65C6-0E85978CD364}"/>
          </ac:spMkLst>
        </pc:spChg>
        <pc:spChg chg="mod">
          <ac:chgData name="Mikami, Maho" userId="50612f1b-df2d-47bb-8fdd-7ddedc83fc7e" providerId="ADAL" clId="{5CBE12F2-F3C8-4DCE-AD77-5EBD7EED8DBF}" dt="2024-03-24T07:03:36.110" v="4699" actId="255"/>
          <ac:spMkLst>
            <pc:docMk/>
            <pc:sldMk cId="4186158384" sldId="2147378644"/>
            <ac:spMk id="131" creationId="{D9FC0991-0184-4F34-8E58-3DA5717C7623}"/>
          </ac:spMkLst>
        </pc:spChg>
        <pc:spChg chg="mod">
          <ac:chgData name="Mikami, Maho" userId="50612f1b-df2d-47bb-8fdd-7ddedc83fc7e" providerId="ADAL" clId="{5CBE12F2-F3C8-4DCE-AD77-5EBD7EED8DBF}" dt="2024-03-24T07:03:36.110" v="4699" actId="255"/>
          <ac:spMkLst>
            <pc:docMk/>
            <pc:sldMk cId="4186158384" sldId="2147378644"/>
            <ac:spMk id="132" creationId="{5DF89AC3-26F5-6F6C-CD43-B53840AAD1B1}"/>
          </ac:spMkLst>
        </pc:spChg>
        <pc:spChg chg="mod">
          <ac:chgData name="Mikami, Maho" userId="50612f1b-df2d-47bb-8fdd-7ddedc83fc7e" providerId="ADAL" clId="{5CBE12F2-F3C8-4DCE-AD77-5EBD7EED8DBF}" dt="2024-03-24T07:03:36.110" v="4699" actId="255"/>
          <ac:spMkLst>
            <pc:docMk/>
            <pc:sldMk cId="4186158384" sldId="2147378644"/>
            <ac:spMk id="134" creationId="{A962DFF3-CB8F-559A-D874-66A7EF9487BE}"/>
          </ac:spMkLst>
        </pc:spChg>
        <pc:spChg chg="mod">
          <ac:chgData name="Mikami, Maho" userId="50612f1b-df2d-47bb-8fdd-7ddedc83fc7e" providerId="ADAL" clId="{5CBE12F2-F3C8-4DCE-AD77-5EBD7EED8DBF}" dt="2024-03-24T07:03:36.110" v="4699" actId="255"/>
          <ac:spMkLst>
            <pc:docMk/>
            <pc:sldMk cId="4186158384" sldId="2147378644"/>
            <ac:spMk id="136" creationId="{0216B5F6-CEBC-BF01-E67B-B83E326703FD}"/>
          </ac:spMkLst>
        </pc:spChg>
        <pc:spChg chg="mod">
          <ac:chgData name="Mikami, Maho" userId="50612f1b-df2d-47bb-8fdd-7ddedc83fc7e" providerId="ADAL" clId="{5CBE12F2-F3C8-4DCE-AD77-5EBD7EED8DBF}" dt="2024-03-24T07:03:36.110" v="4699" actId="255"/>
          <ac:spMkLst>
            <pc:docMk/>
            <pc:sldMk cId="4186158384" sldId="2147378644"/>
            <ac:spMk id="137" creationId="{DC0F81F6-6740-5955-5F4B-1AB09B43E0F6}"/>
          </ac:spMkLst>
        </pc:spChg>
        <pc:spChg chg="mod">
          <ac:chgData name="Mikami, Maho" userId="50612f1b-df2d-47bb-8fdd-7ddedc83fc7e" providerId="ADAL" clId="{5CBE12F2-F3C8-4DCE-AD77-5EBD7EED8DBF}" dt="2024-03-24T07:03:36.110" v="4699" actId="255"/>
          <ac:spMkLst>
            <pc:docMk/>
            <pc:sldMk cId="4186158384" sldId="2147378644"/>
            <ac:spMk id="138" creationId="{5D10962D-8C56-309C-67A8-6E868B270F78}"/>
          </ac:spMkLst>
        </pc:spChg>
        <pc:spChg chg="mod">
          <ac:chgData name="Mikami, Maho" userId="50612f1b-df2d-47bb-8fdd-7ddedc83fc7e" providerId="ADAL" clId="{5CBE12F2-F3C8-4DCE-AD77-5EBD7EED8DBF}" dt="2024-03-24T07:03:36.110" v="4699" actId="255"/>
          <ac:spMkLst>
            <pc:docMk/>
            <pc:sldMk cId="4186158384" sldId="2147378644"/>
            <ac:spMk id="139" creationId="{2EE2F2EE-E8C1-7447-0BD2-5257201F8662}"/>
          </ac:spMkLst>
        </pc:spChg>
        <pc:spChg chg="mod">
          <ac:chgData name="Mikami, Maho" userId="50612f1b-df2d-47bb-8fdd-7ddedc83fc7e" providerId="ADAL" clId="{5CBE12F2-F3C8-4DCE-AD77-5EBD7EED8DBF}" dt="2024-03-24T07:03:36.110" v="4699" actId="255"/>
          <ac:spMkLst>
            <pc:docMk/>
            <pc:sldMk cId="4186158384" sldId="2147378644"/>
            <ac:spMk id="146" creationId="{51AE1A12-3284-3E05-8BF1-D2D75D1BB8C4}"/>
          </ac:spMkLst>
        </pc:spChg>
        <pc:spChg chg="mod">
          <ac:chgData name="Mikami, Maho" userId="50612f1b-df2d-47bb-8fdd-7ddedc83fc7e" providerId="ADAL" clId="{5CBE12F2-F3C8-4DCE-AD77-5EBD7EED8DBF}" dt="2024-03-24T07:03:36.110" v="4699" actId="255"/>
          <ac:spMkLst>
            <pc:docMk/>
            <pc:sldMk cId="4186158384" sldId="2147378644"/>
            <ac:spMk id="149" creationId="{13D1E651-062B-B84C-550C-4FF8739BCB68}"/>
          </ac:spMkLst>
        </pc:spChg>
        <pc:spChg chg="mod">
          <ac:chgData name="Mikami, Maho" userId="50612f1b-df2d-47bb-8fdd-7ddedc83fc7e" providerId="ADAL" clId="{5CBE12F2-F3C8-4DCE-AD77-5EBD7EED8DBF}" dt="2024-03-24T07:03:36.110" v="4699" actId="255"/>
          <ac:spMkLst>
            <pc:docMk/>
            <pc:sldMk cId="4186158384" sldId="2147378644"/>
            <ac:spMk id="150" creationId="{D33CC146-AA89-2EDA-0A85-EAAC3B05CCF0}"/>
          </ac:spMkLst>
        </pc:spChg>
        <pc:spChg chg="mod">
          <ac:chgData name="Mikami, Maho" userId="50612f1b-df2d-47bb-8fdd-7ddedc83fc7e" providerId="ADAL" clId="{5CBE12F2-F3C8-4DCE-AD77-5EBD7EED8DBF}" dt="2024-03-24T07:03:36.110" v="4699" actId="255"/>
          <ac:spMkLst>
            <pc:docMk/>
            <pc:sldMk cId="4186158384" sldId="2147378644"/>
            <ac:spMk id="153" creationId="{B3DBBF75-755E-B62A-7EB1-3959DAAAFAB4}"/>
          </ac:spMkLst>
        </pc:spChg>
        <pc:spChg chg="mod">
          <ac:chgData name="Mikami, Maho" userId="50612f1b-df2d-47bb-8fdd-7ddedc83fc7e" providerId="ADAL" clId="{5CBE12F2-F3C8-4DCE-AD77-5EBD7EED8DBF}" dt="2024-03-24T07:03:36.110" v="4699" actId="255"/>
          <ac:spMkLst>
            <pc:docMk/>
            <pc:sldMk cId="4186158384" sldId="2147378644"/>
            <ac:spMk id="154" creationId="{3C277AC6-2ABC-F44C-AB76-B1B8EF209FE2}"/>
          </ac:spMkLst>
        </pc:spChg>
        <pc:spChg chg="mod">
          <ac:chgData name="Mikami, Maho" userId="50612f1b-df2d-47bb-8fdd-7ddedc83fc7e" providerId="ADAL" clId="{5CBE12F2-F3C8-4DCE-AD77-5EBD7EED8DBF}" dt="2024-03-24T07:03:36.110" v="4699" actId="255"/>
          <ac:spMkLst>
            <pc:docMk/>
            <pc:sldMk cId="4186158384" sldId="2147378644"/>
            <ac:spMk id="155" creationId="{A164AA63-9EA3-AE53-F2E3-71E53992D170}"/>
          </ac:spMkLst>
        </pc:spChg>
        <pc:spChg chg="mod">
          <ac:chgData name="Mikami, Maho" userId="50612f1b-df2d-47bb-8fdd-7ddedc83fc7e" providerId="ADAL" clId="{5CBE12F2-F3C8-4DCE-AD77-5EBD7EED8DBF}" dt="2024-03-24T07:03:36.110" v="4699" actId="255"/>
          <ac:spMkLst>
            <pc:docMk/>
            <pc:sldMk cId="4186158384" sldId="2147378644"/>
            <ac:spMk id="163" creationId="{545E9CA6-CCEC-8575-A349-1AB35E7AC741}"/>
          </ac:spMkLst>
        </pc:spChg>
        <pc:spChg chg="mod">
          <ac:chgData name="Mikami, Maho" userId="50612f1b-df2d-47bb-8fdd-7ddedc83fc7e" providerId="ADAL" clId="{5CBE12F2-F3C8-4DCE-AD77-5EBD7EED8DBF}" dt="2024-03-24T07:03:36.110" v="4699" actId="255"/>
          <ac:spMkLst>
            <pc:docMk/>
            <pc:sldMk cId="4186158384" sldId="2147378644"/>
            <ac:spMk id="164" creationId="{E11F8876-A7DF-A26C-0800-C268C374BB59}"/>
          </ac:spMkLst>
        </pc:spChg>
        <pc:spChg chg="mod">
          <ac:chgData name="Mikami, Maho" userId="50612f1b-df2d-47bb-8fdd-7ddedc83fc7e" providerId="ADAL" clId="{5CBE12F2-F3C8-4DCE-AD77-5EBD7EED8DBF}" dt="2024-03-24T07:03:36.110" v="4699" actId="255"/>
          <ac:spMkLst>
            <pc:docMk/>
            <pc:sldMk cId="4186158384" sldId="2147378644"/>
            <ac:spMk id="166" creationId="{ACBBA1F8-9590-1B9C-472E-2E409A3006D3}"/>
          </ac:spMkLst>
        </pc:spChg>
        <pc:spChg chg="mod">
          <ac:chgData name="Mikami, Maho" userId="50612f1b-df2d-47bb-8fdd-7ddedc83fc7e" providerId="ADAL" clId="{5CBE12F2-F3C8-4DCE-AD77-5EBD7EED8DBF}" dt="2024-03-24T07:03:36.110" v="4699" actId="255"/>
          <ac:spMkLst>
            <pc:docMk/>
            <pc:sldMk cId="4186158384" sldId="2147378644"/>
            <ac:spMk id="167" creationId="{E85C04D6-27DE-1254-1BE0-8BFC994BDA31}"/>
          </ac:spMkLst>
        </pc:spChg>
        <pc:spChg chg="mod">
          <ac:chgData name="Mikami, Maho" userId="50612f1b-df2d-47bb-8fdd-7ddedc83fc7e" providerId="ADAL" clId="{5CBE12F2-F3C8-4DCE-AD77-5EBD7EED8DBF}" dt="2024-03-24T07:03:36.110" v="4699" actId="255"/>
          <ac:spMkLst>
            <pc:docMk/>
            <pc:sldMk cId="4186158384" sldId="2147378644"/>
            <ac:spMk id="168" creationId="{1C3A73BD-621A-CCD6-E5AA-DACB58A220B6}"/>
          </ac:spMkLst>
        </pc:spChg>
        <pc:spChg chg="mod">
          <ac:chgData name="Mikami, Maho" userId="50612f1b-df2d-47bb-8fdd-7ddedc83fc7e" providerId="ADAL" clId="{5CBE12F2-F3C8-4DCE-AD77-5EBD7EED8DBF}" dt="2024-03-24T07:03:36.110" v="4699" actId="255"/>
          <ac:spMkLst>
            <pc:docMk/>
            <pc:sldMk cId="4186158384" sldId="2147378644"/>
            <ac:spMk id="169" creationId="{989F6C55-FC78-CA70-4836-FCBC9CC01AF5}"/>
          </ac:spMkLst>
        </pc:spChg>
        <pc:spChg chg="mod">
          <ac:chgData name="Mikami, Maho" userId="50612f1b-df2d-47bb-8fdd-7ddedc83fc7e" providerId="ADAL" clId="{5CBE12F2-F3C8-4DCE-AD77-5EBD7EED8DBF}" dt="2024-03-24T07:03:36.110" v="4699" actId="255"/>
          <ac:spMkLst>
            <pc:docMk/>
            <pc:sldMk cId="4186158384" sldId="2147378644"/>
            <ac:spMk id="170" creationId="{95DBC30C-4FF2-60AF-7429-A1E92E5F4D33}"/>
          </ac:spMkLst>
        </pc:spChg>
        <pc:spChg chg="mod">
          <ac:chgData name="Mikami, Maho" userId="50612f1b-df2d-47bb-8fdd-7ddedc83fc7e" providerId="ADAL" clId="{5CBE12F2-F3C8-4DCE-AD77-5EBD7EED8DBF}" dt="2024-03-24T07:03:36.110" v="4699" actId="255"/>
          <ac:spMkLst>
            <pc:docMk/>
            <pc:sldMk cId="4186158384" sldId="2147378644"/>
            <ac:spMk id="171" creationId="{76C60C28-D422-A320-E2C5-31F236E648B4}"/>
          </ac:spMkLst>
        </pc:spChg>
        <pc:spChg chg="mod">
          <ac:chgData name="Mikami, Maho" userId="50612f1b-df2d-47bb-8fdd-7ddedc83fc7e" providerId="ADAL" clId="{5CBE12F2-F3C8-4DCE-AD77-5EBD7EED8DBF}" dt="2024-03-24T07:03:36.110" v="4699" actId="255"/>
          <ac:spMkLst>
            <pc:docMk/>
            <pc:sldMk cId="4186158384" sldId="2147378644"/>
            <ac:spMk id="172" creationId="{DC1D339E-2399-8968-6E32-8CD71F00A6A3}"/>
          </ac:spMkLst>
        </pc:spChg>
        <pc:spChg chg="mod">
          <ac:chgData name="Mikami, Maho" userId="50612f1b-df2d-47bb-8fdd-7ddedc83fc7e" providerId="ADAL" clId="{5CBE12F2-F3C8-4DCE-AD77-5EBD7EED8DBF}" dt="2024-03-24T07:03:36.110" v="4699" actId="255"/>
          <ac:spMkLst>
            <pc:docMk/>
            <pc:sldMk cId="4186158384" sldId="2147378644"/>
            <ac:spMk id="174" creationId="{BF2366A1-7AA0-7510-7040-1FA93BA7FD9A}"/>
          </ac:spMkLst>
        </pc:spChg>
        <pc:spChg chg="mod">
          <ac:chgData name="Mikami, Maho" userId="50612f1b-df2d-47bb-8fdd-7ddedc83fc7e" providerId="ADAL" clId="{5CBE12F2-F3C8-4DCE-AD77-5EBD7EED8DBF}" dt="2024-03-24T07:03:36.110" v="4699" actId="255"/>
          <ac:spMkLst>
            <pc:docMk/>
            <pc:sldMk cId="4186158384" sldId="2147378644"/>
            <ac:spMk id="175" creationId="{89223AA0-CF2B-5A87-88A1-51B3ED7D671B}"/>
          </ac:spMkLst>
        </pc:spChg>
        <pc:spChg chg="mod">
          <ac:chgData name="Mikami, Maho" userId="50612f1b-df2d-47bb-8fdd-7ddedc83fc7e" providerId="ADAL" clId="{5CBE12F2-F3C8-4DCE-AD77-5EBD7EED8DBF}" dt="2024-03-24T07:03:36.110" v="4699" actId="255"/>
          <ac:spMkLst>
            <pc:docMk/>
            <pc:sldMk cId="4186158384" sldId="2147378644"/>
            <ac:spMk id="176" creationId="{A4CBF70C-CE3B-E946-1081-D185B364818A}"/>
          </ac:spMkLst>
        </pc:spChg>
        <pc:spChg chg="mod">
          <ac:chgData name="Mikami, Maho" userId="50612f1b-df2d-47bb-8fdd-7ddedc83fc7e" providerId="ADAL" clId="{5CBE12F2-F3C8-4DCE-AD77-5EBD7EED8DBF}" dt="2024-03-24T07:03:36.110" v="4699" actId="255"/>
          <ac:spMkLst>
            <pc:docMk/>
            <pc:sldMk cId="4186158384" sldId="2147378644"/>
            <ac:spMk id="177" creationId="{DA833005-53EE-F55B-A571-7C316E7097C3}"/>
          </ac:spMkLst>
        </pc:spChg>
        <pc:spChg chg="mod">
          <ac:chgData name="Mikami, Maho" userId="50612f1b-df2d-47bb-8fdd-7ddedc83fc7e" providerId="ADAL" clId="{5CBE12F2-F3C8-4DCE-AD77-5EBD7EED8DBF}" dt="2024-03-24T07:03:36.110" v="4699" actId="255"/>
          <ac:spMkLst>
            <pc:docMk/>
            <pc:sldMk cId="4186158384" sldId="2147378644"/>
            <ac:spMk id="178" creationId="{77A9A2CA-6C95-E607-1499-283954F4C219}"/>
          </ac:spMkLst>
        </pc:spChg>
        <pc:spChg chg="add mod">
          <ac:chgData name="Mikami, Maho" userId="50612f1b-df2d-47bb-8fdd-7ddedc83fc7e" providerId="ADAL" clId="{5CBE12F2-F3C8-4DCE-AD77-5EBD7EED8DBF}" dt="2024-03-24T07:31:03.695" v="6707" actId="1035"/>
          <ac:spMkLst>
            <pc:docMk/>
            <pc:sldMk cId="4186158384" sldId="2147378644"/>
            <ac:spMk id="179" creationId="{CF64EC44-CFE5-A1DF-86FD-4B44650CDF89}"/>
          </ac:spMkLst>
        </pc:spChg>
        <pc:spChg chg="add mod">
          <ac:chgData name="Mikami, Maho" userId="50612f1b-df2d-47bb-8fdd-7ddedc83fc7e" providerId="ADAL" clId="{5CBE12F2-F3C8-4DCE-AD77-5EBD7EED8DBF}" dt="2024-03-24T07:08:21.845" v="5070"/>
          <ac:spMkLst>
            <pc:docMk/>
            <pc:sldMk cId="4186158384" sldId="2147378644"/>
            <ac:spMk id="180" creationId="{46C0EAB9-0A7D-E06A-0909-58A3537554E7}"/>
          </ac:spMkLst>
        </pc:spChg>
        <pc:spChg chg="add mod">
          <ac:chgData name="Mikami, Maho" userId="50612f1b-df2d-47bb-8fdd-7ddedc83fc7e" providerId="ADAL" clId="{5CBE12F2-F3C8-4DCE-AD77-5EBD7EED8DBF}" dt="2024-03-24T07:08:13.667" v="5042" actId="20577"/>
          <ac:spMkLst>
            <pc:docMk/>
            <pc:sldMk cId="4186158384" sldId="2147378644"/>
            <ac:spMk id="181" creationId="{85C28915-DF8F-2B32-E4E3-D2C19CC8C51E}"/>
          </ac:spMkLst>
        </pc:spChg>
        <pc:spChg chg="add mod">
          <ac:chgData name="Mikami, Maho" userId="50612f1b-df2d-47bb-8fdd-7ddedc83fc7e" providerId="ADAL" clId="{5CBE12F2-F3C8-4DCE-AD77-5EBD7EED8DBF}" dt="2024-03-24T07:30:57.352" v="6686"/>
          <ac:spMkLst>
            <pc:docMk/>
            <pc:sldMk cId="4186158384" sldId="2147378644"/>
            <ac:spMk id="182" creationId="{A9206EFB-3D1A-5DB3-D4E8-4A0CBDC06C78}"/>
          </ac:spMkLst>
        </pc:spChg>
        <pc:grpChg chg="add del mod">
          <ac:chgData name="Mikami, Maho" userId="50612f1b-df2d-47bb-8fdd-7ddedc83fc7e" providerId="ADAL" clId="{5CBE12F2-F3C8-4DCE-AD77-5EBD7EED8DBF}" dt="2024-03-24T04:57:27.432" v="2803" actId="165"/>
          <ac:grpSpMkLst>
            <pc:docMk/>
            <pc:sldMk cId="4186158384" sldId="2147378644"/>
            <ac:grpSpMk id="6" creationId="{CC7812BE-31FB-0B8A-54F6-C5F374424722}"/>
          </ac:grpSpMkLst>
        </pc:grpChg>
        <pc:grpChg chg="mod topLvl">
          <ac:chgData name="Mikami, Maho" userId="50612f1b-df2d-47bb-8fdd-7ddedc83fc7e" providerId="ADAL" clId="{5CBE12F2-F3C8-4DCE-AD77-5EBD7EED8DBF}" dt="2024-03-24T07:07:36.519" v="4973" actId="1035"/>
          <ac:grpSpMkLst>
            <pc:docMk/>
            <pc:sldMk cId="4186158384" sldId="2147378644"/>
            <ac:grpSpMk id="8" creationId="{838224B0-6750-1F07-DAF4-38330ADCF9FE}"/>
          </ac:grpSpMkLst>
        </pc:grpChg>
        <pc:grpChg chg="del mod topLvl">
          <ac:chgData name="Mikami, Maho" userId="50612f1b-df2d-47bb-8fdd-7ddedc83fc7e" providerId="ADAL" clId="{5CBE12F2-F3C8-4DCE-AD77-5EBD7EED8DBF}" dt="2024-03-24T07:06:41.916" v="4949" actId="478"/>
          <ac:grpSpMkLst>
            <pc:docMk/>
            <pc:sldMk cId="4186158384" sldId="2147378644"/>
            <ac:grpSpMk id="9" creationId="{EBFD8DD9-4CD6-9BC2-4C3A-96A087D177E8}"/>
          </ac:grpSpMkLst>
        </pc:grpChg>
        <pc:grpChg chg="add mod">
          <ac:chgData name="Mikami, Maho" userId="50612f1b-df2d-47bb-8fdd-7ddedc83fc7e" providerId="ADAL" clId="{5CBE12F2-F3C8-4DCE-AD77-5EBD7EED8DBF}" dt="2024-03-24T07:03:06.899" v="4693"/>
          <ac:grpSpMkLst>
            <pc:docMk/>
            <pc:sldMk cId="4186158384" sldId="2147378644"/>
            <ac:grpSpMk id="18" creationId="{DCDFDFA4-D018-CCE2-1FAB-FB5E777D1E76}"/>
          </ac:grpSpMkLst>
        </pc:grpChg>
        <pc:grpChg chg="mod">
          <ac:chgData name="Mikami, Maho" userId="50612f1b-df2d-47bb-8fdd-7ddedc83fc7e" providerId="ADAL" clId="{5CBE12F2-F3C8-4DCE-AD77-5EBD7EED8DBF}" dt="2024-03-24T07:03:06.899" v="4693"/>
          <ac:grpSpMkLst>
            <pc:docMk/>
            <pc:sldMk cId="4186158384" sldId="2147378644"/>
            <ac:grpSpMk id="77" creationId="{05145EFD-67C3-B58E-95B8-BE9E9D6A1048}"/>
          </ac:grpSpMkLst>
        </pc:grpChg>
        <pc:grpChg chg="mod">
          <ac:chgData name="Mikami, Maho" userId="50612f1b-df2d-47bb-8fdd-7ddedc83fc7e" providerId="ADAL" clId="{5CBE12F2-F3C8-4DCE-AD77-5EBD7EED8DBF}" dt="2024-03-24T07:03:06.899" v="4693"/>
          <ac:grpSpMkLst>
            <pc:docMk/>
            <pc:sldMk cId="4186158384" sldId="2147378644"/>
            <ac:grpSpMk id="78" creationId="{F7D94CF3-818A-1080-F054-EE3C7307B526}"/>
          </ac:grpSpMkLst>
        </pc:grpChg>
        <pc:grpChg chg="add mod">
          <ac:chgData name="Mikami, Maho" userId="50612f1b-df2d-47bb-8fdd-7ddedc83fc7e" providerId="ADAL" clId="{5CBE12F2-F3C8-4DCE-AD77-5EBD7EED8DBF}" dt="2024-03-24T07:07:03.494" v="4954" actId="1076"/>
          <ac:grpSpMkLst>
            <pc:docMk/>
            <pc:sldMk cId="4186158384" sldId="2147378644"/>
            <ac:grpSpMk id="100" creationId="{FD5F49C2-EF5C-3155-A87C-1507B1B4E36F}"/>
          </ac:grpSpMkLst>
        </pc:grpChg>
        <pc:grpChg chg="mod">
          <ac:chgData name="Mikami, Maho" userId="50612f1b-df2d-47bb-8fdd-7ddedc83fc7e" providerId="ADAL" clId="{5CBE12F2-F3C8-4DCE-AD77-5EBD7EED8DBF}" dt="2024-03-24T07:03:09.569" v="4694"/>
          <ac:grpSpMkLst>
            <pc:docMk/>
            <pc:sldMk cId="4186158384" sldId="2147378644"/>
            <ac:grpSpMk id="156" creationId="{6A4981F4-ECF8-2803-D80C-A682CE9B7B82}"/>
          </ac:grpSpMkLst>
        </pc:grpChg>
        <pc:grpChg chg="mod">
          <ac:chgData name="Mikami, Maho" userId="50612f1b-df2d-47bb-8fdd-7ddedc83fc7e" providerId="ADAL" clId="{5CBE12F2-F3C8-4DCE-AD77-5EBD7EED8DBF}" dt="2024-03-24T07:03:09.569" v="4694"/>
          <ac:grpSpMkLst>
            <pc:docMk/>
            <pc:sldMk cId="4186158384" sldId="2147378644"/>
            <ac:grpSpMk id="157" creationId="{B03D428E-2254-F267-D09A-17F27CB53B10}"/>
          </ac:grpSpMkLst>
        </pc:grpChg>
        <pc:graphicFrameChg chg="add mod ord modVis replST">
          <ac:chgData name="Mikami, Maho" userId="50612f1b-df2d-47bb-8fdd-7ddedc83fc7e" providerId="ADAL" clId="{5CBE12F2-F3C8-4DCE-AD77-5EBD7EED8DBF}" dt="2024-03-24T04:55:53.734" v="2728"/>
          <ac:graphicFrameMkLst>
            <pc:docMk/>
            <pc:sldMk cId="4186158384" sldId="2147378644"/>
            <ac:graphicFrameMk id="15" creationId="{2D8B9F62-5640-DA60-72EA-D3AA0A3EC839}"/>
          </ac:graphicFrameMkLst>
        </pc:graphicFrameChg>
        <pc:picChg chg="add del mod">
          <ac:chgData name="Mikami, Maho" userId="50612f1b-df2d-47bb-8fdd-7ddedc83fc7e" providerId="ADAL" clId="{5CBE12F2-F3C8-4DCE-AD77-5EBD7EED8DBF}" dt="2024-03-24T04:02:27.564" v="1780" actId="478"/>
          <ac:picMkLst>
            <pc:docMk/>
            <pc:sldMk cId="4186158384" sldId="2147378644"/>
            <ac:picMk id="14" creationId="{C1A33EC1-A348-B8F9-8553-6AD63679EFF9}"/>
          </ac:picMkLst>
        </pc:picChg>
        <pc:cxnChg chg="mod">
          <ac:chgData name="Mikami, Maho" userId="50612f1b-df2d-47bb-8fdd-7ddedc83fc7e" providerId="ADAL" clId="{5CBE12F2-F3C8-4DCE-AD77-5EBD7EED8DBF}" dt="2024-03-24T07:06:31.301" v="4946" actId="1035"/>
          <ac:cxnSpMkLst>
            <pc:docMk/>
            <pc:sldMk cId="4186158384" sldId="2147378644"/>
            <ac:cxnSpMk id="11" creationId="{16C08C3D-008A-D138-C4A4-8813DFDB0A5A}"/>
          </ac:cxnSpMkLst>
        </pc:cxnChg>
        <pc:cxnChg chg="mod">
          <ac:chgData name="Mikami, Maho" userId="50612f1b-df2d-47bb-8fdd-7ddedc83fc7e" providerId="ADAL" clId="{5CBE12F2-F3C8-4DCE-AD77-5EBD7EED8DBF}" dt="2024-03-24T07:07:36.519" v="4973" actId="1035"/>
          <ac:cxnSpMkLst>
            <pc:docMk/>
            <pc:sldMk cId="4186158384" sldId="2147378644"/>
            <ac:cxnSpMk id="13" creationId="{2222F0FB-A4D8-8B17-A5F9-5C85F5FE3E22}"/>
          </ac:cxnSpMkLst>
        </pc:cxnChg>
        <pc:cxnChg chg="mod">
          <ac:chgData name="Mikami, Maho" userId="50612f1b-df2d-47bb-8fdd-7ddedc83fc7e" providerId="ADAL" clId="{5CBE12F2-F3C8-4DCE-AD77-5EBD7EED8DBF}" dt="2024-03-24T07:03:06.899" v="4693"/>
          <ac:cxnSpMkLst>
            <pc:docMk/>
            <pc:sldMk cId="4186158384" sldId="2147378644"/>
            <ac:cxnSpMk id="33" creationId="{C65CB21E-13FC-F00F-C224-045436EC7A46}"/>
          </ac:cxnSpMkLst>
        </pc:cxnChg>
        <pc:cxnChg chg="mod">
          <ac:chgData name="Mikami, Maho" userId="50612f1b-df2d-47bb-8fdd-7ddedc83fc7e" providerId="ADAL" clId="{5CBE12F2-F3C8-4DCE-AD77-5EBD7EED8DBF}" dt="2024-03-24T07:03:06.899" v="4693"/>
          <ac:cxnSpMkLst>
            <pc:docMk/>
            <pc:sldMk cId="4186158384" sldId="2147378644"/>
            <ac:cxnSpMk id="35" creationId="{43E70E4B-21B6-BBE8-B3C6-CAB7AF890C47}"/>
          </ac:cxnSpMkLst>
        </pc:cxnChg>
        <pc:cxnChg chg="mod">
          <ac:chgData name="Mikami, Maho" userId="50612f1b-df2d-47bb-8fdd-7ddedc83fc7e" providerId="ADAL" clId="{5CBE12F2-F3C8-4DCE-AD77-5EBD7EED8DBF}" dt="2024-03-24T07:03:06.899" v="4693"/>
          <ac:cxnSpMkLst>
            <pc:docMk/>
            <pc:sldMk cId="4186158384" sldId="2147378644"/>
            <ac:cxnSpMk id="36" creationId="{7B49A2B3-9007-ABB9-2E9B-EA4D25BDB507}"/>
          </ac:cxnSpMkLst>
        </pc:cxnChg>
        <pc:cxnChg chg="mod">
          <ac:chgData name="Mikami, Maho" userId="50612f1b-df2d-47bb-8fdd-7ddedc83fc7e" providerId="ADAL" clId="{5CBE12F2-F3C8-4DCE-AD77-5EBD7EED8DBF}" dt="2024-03-24T07:03:06.899" v="4693"/>
          <ac:cxnSpMkLst>
            <pc:docMk/>
            <pc:sldMk cId="4186158384" sldId="2147378644"/>
            <ac:cxnSpMk id="37" creationId="{61FE0AC8-BE01-5B09-D78D-5F9ACCC48FAD}"/>
          </ac:cxnSpMkLst>
        </pc:cxnChg>
        <pc:cxnChg chg="mod">
          <ac:chgData name="Mikami, Maho" userId="50612f1b-df2d-47bb-8fdd-7ddedc83fc7e" providerId="ADAL" clId="{5CBE12F2-F3C8-4DCE-AD77-5EBD7EED8DBF}" dt="2024-03-24T07:03:06.899" v="4693"/>
          <ac:cxnSpMkLst>
            <pc:docMk/>
            <pc:sldMk cId="4186158384" sldId="2147378644"/>
            <ac:cxnSpMk id="48" creationId="{6FC5E497-43FF-9045-6A66-21D71862A14A}"/>
          </ac:cxnSpMkLst>
        </pc:cxnChg>
        <pc:cxnChg chg="mod">
          <ac:chgData name="Mikami, Maho" userId="50612f1b-df2d-47bb-8fdd-7ddedc83fc7e" providerId="ADAL" clId="{5CBE12F2-F3C8-4DCE-AD77-5EBD7EED8DBF}" dt="2024-03-24T07:03:06.899" v="4693"/>
          <ac:cxnSpMkLst>
            <pc:docMk/>
            <pc:sldMk cId="4186158384" sldId="2147378644"/>
            <ac:cxnSpMk id="49" creationId="{B7E9B8E5-A53C-E33B-28AD-8E81410C2581}"/>
          </ac:cxnSpMkLst>
        </pc:cxnChg>
        <pc:cxnChg chg="mod">
          <ac:chgData name="Mikami, Maho" userId="50612f1b-df2d-47bb-8fdd-7ddedc83fc7e" providerId="ADAL" clId="{5CBE12F2-F3C8-4DCE-AD77-5EBD7EED8DBF}" dt="2024-03-24T07:03:06.899" v="4693"/>
          <ac:cxnSpMkLst>
            <pc:docMk/>
            <pc:sldMk cId="4186158384" sldId="2147378644"/>
            <ac:cxnSpMk id="50" creationId="{14BDF555-D798-806B-9995-48525FB0BA0E}"/>
          </ac:cxnSpMkLst>
        </pc:cxnChg>
        <pc:cxnChg chg="mod">
          <ac:chgData name="Mikami, Maho" userId="50612f1b-df2d-47bb-8fdd-7ddedc83fc7e" providerId="ADAL" clId="{5CBE12F2-F3C8-4DCE-AD77-5EBD7EED8DBF}" dt="2024-03-24T07:03:06.899" v="4693"/>
          <ac:cxnSpMkLst>
            <pc:docMk/>
            <pc:sldMk cId="4186158384" sldId="2147378644"/>
            <ac:cxnSpMk id="54" creationId="{474881C1-1260-287F-C0E2-740E9EEA473F}"/>
          </ac:cxnSpMkLst>
        </pc:cxnChg>
        <pc:cxnChg chg="mod">
          <ac:chgData name="Mikami, Maho" userId="50612f1b-df2d-47bb-8fdd-7ddedc83fc7e" providerId="ADAL" clId="{5CBE12F2-F3C8-4DCE-AD77-5EBD7EED8DBF}" dt="2024-03-24T07:03:06.899" v="4693"/>
          <ac:cxnSpMkLst>
            <pc:docMk/>
            <pc:sldMk cId="4186158384" sldId="2147378644"/>
            <ac:cxnSpMk id="56" creationId="{B4A6BAF4-4BD0-896A-B57C-CA7F93215FE5}"/>
          </ac:cxnSpMkLst>
        </pc:cxnChg>
        <pc:cxnChg chg="mod">
          <ac:chgData name="Mikami, Maho" userId="50612f1b-df2d-47bb-8fdd-7ddedc83fc7e" providerId="ADAL" clId="{5CBE12F2-F3C8-4DCE-AD77-5EBD7EED8DBF}" dt="2024-03-24T07:03:06.899" v="4693"/>
          <ac:cxnSpMkLst>
            <pc:docMk/>
            <pc:sldMk cId="4186158384" sldId="2147378644"/>
            <ac:cxnSpMk id="61" creationId="{EBAD64FC-DB3C-E59F-230D-2C2745B2C9B7}"/>
          </ac:cxnSpMkLst>
        </pc:cxnChg>
        <pc:cxnChg chg="mod">
          <ac:chgData name="Mikami, Maho" userId="50612f1b-df2d-47bb-8fdd-7ddedc83fc7e" providerId="ADAL" clId="{5CBE12F2-F3C8-4DCE-AD77-5EBD7EED8DBF}" dt="2024-03-24T07:03:06.899" v="4693"/>
          <ac:cxnSpMkLst>
            <pc:docMk/>
            <pc:sldMk cId="4186158384" sldId="2147378644"/>
            <ac:cxnSpMk id="62" creationId="{492FE2E8-8FDF-C05C-2004-75110008E3E7}"/>
          </ac:cxnSpMkLst>
        </pc:cxnChg>
        <pc:cxnChg chg="mod">
          <ac:chgData name="Mikami, Maho" userId="50612f1b-df2d-47bb-8fdd-7ddedc83fc7e" providerId="ADAL" clId="{5CBE12F2-F3C8-4DCE-AD77-5EBD7EED8DBF}" dt="2024-03-24T07:03:06.899" v="4693"/>
          <ac:cxnSpMkLst>
            <pc:docMk/>
            <pc:sldMk cId="4186158384" sldId="2147378644"/>
            <ac:cxnSpMk id="63" creationId="{373C74A7-BAF8-1369-3AC8-7079E22FD82D}"/>
          </ac:cxnSpMkLst>
        </pc:cxnChg>
        <pc:cxnChg chg="mod">
          <ac:chgData name="Mikami, Maho" userId="50612f1b-df2d-47bb-8fdd-7ddedc83fc7e" providerId="ADAL" clId="{5CBE12F2-F3C8-4DCE-AD77-5EBD7EED8DBF}" dt="2024-03-24T07:03:06.899" v="4693"/>
          <ac:cxnSpMkLst>
            <pc:docMk/>
            <pc:sldMk cId="4186158384" sldId="2147378644"/>
            <ac:cxnSpMk id="64" creationId="{21B27F10-F831-512C-9FB5-38C1AB5B7B95}"/>
          </ac:cxnSpMkLst>
        </pc:cxnChg>
        <pc:cxnChg chg="mod">
          <ac:chgData name="Mikami, Maho" userId="50612f1b-df2d-47bb-8fdd-7ddedc83fc7e" providerId="ADAL" clId="{5CBE12F2-F3C8-4DCE-AD77-5EBD7EED8DBF}" dt="2024-03-24T07:03:06.899" v="4693"/>
          <ac:cxnSpMkLst>
            <pc:docMk/>
            <pc:sldMk cId="4186158384" sldId="2147378644"/>
            <ac:cxnSpMk id="65" creationId="{C77BF5DB-E501-FECD-13F3-F7DEC8B4B062}"/>
          </ac:cxnSpMkLst>
        </pc:cxnChg>
        <pc:cxnChg chg="mod">
          <ac:chgData name="Mikami, Maho" userId="50612f1b-df2d-47bb-8fdd-7ddedc83fc7e" providerId="ADAL" clId="{5CBE12F2-F3C8-4DCE-AD77-5EBD7EED8DBF}" dt="2024-03-24T07:03:06.899" v="4693"/>
          <ac:cxnSpMkLst>
            <pc:docMk/>
            <pc:sldMk cId="4186158384" sldId="2147378644"/>
            <ac:cxnSpMk id="66" creationId="{1B05E114-D631-D05B-F252-828BC4CBFF57}"/>
          </ac:cxnSpMkLst>
        </pc:cxnChg>
        <pc:cxnChg chg="mod">
          <ac:chgData name="Mikami, Maho" userId="50612f1b-df2d-47bb-8fdd-7ddedc83fc7e" providerId="ADAL" clId="{5CBE12F2-F3C8-4DCE-AD77-5EBD7EED8DBF}" dt="2024-03-24T07:03:06.899" v="4693"/>
          <ac:cxnSpMkLst>
            <pc:docMk/>
            <pc:sldMk cId="4186158384" sldId="2147378644"/>
            <ac:cxnSpMk id="68" creationId="{543981D0-3A08-9078-27F9-AF1E4EC262F1}"/>
          </ac:cxnSpMkLst>
        </pc:cxnChg>
        <pc:cxnChg chg="mod">
          <ac:chgData name="Mikami, Maho" userId="50612f1b-df2d-47bb-8fdd-7ddedc83fc7e" providerId="ADAL" clId="{5CBE12F2-F3C8-4DCE-AD77-5EBD7EED8DBF}" dt="2024-03-24T07:03:06.899" v="4693"/>
          <ac:cxnSpMkLst>
            <pc:docMk/>
            <pc:sldMk cId="4186158384" sldId="2147378644"/>
            <ac:cxnSpMk id="69" creationId="{E4D30B1E-C601-264C-8298-DB2396B19026}"/>
          </ac:cxnSpMkLst>
        </pc:cxnChg>
        <pc:cxnChg chg="mod">
          <ac:chgData name="Mikami, Maho" userId="50612f1b-df2d-47bb-8fdd-7ddedc83fc7e" providerId="ADAL" clId="{5CBE12F2-F3C8-4DCE-AD77-5EBD7EED8DBF}" dt="2024-03-24T07:03:06.899" v="4693"/>
          <ac:cxnSpMkLst>
            <pc:docMk/>
            <pc:sldMk cId="4186158384" sldId="2147378644"/>
            <ac:cxnSpMk id="72" creationId="{2282A5A2-3995-2BD9-5948-6EF39DD80E41}"/>
          </ac:cxnSpMkLst>
        </pc:cxnChg>
        <pc:cxnChg chg="mod">
          <ac:chgData name="Mikami, Maho" userId="50612f1b-df2d-47bb-8fdd-7ddedc83fc7e" providerId="ADAL" clId="{5CBE12F2-F3C8-4DCE-AD77-5EBD7EED8DBF}" dt="2024-03-24T07:03:06.899" v="4693"/>
          <ac:cxnSpMkLst>
            <pc:docMk/>
            <pc:sldMk cId="4186158384" sldId="2147378644"/>
            <ac:cxnSpMk id="73" creationId="{DB9C5D95-E5F5-E71C-D8CD-4B3BA765FA03}"/>
          </ac:cxnSpMkLst>
        </pc:cxnChg>
        <pc:cxnChg chg="mod">
          <ac:chgData name="Mikami, Maho" userId="50612f1b-df2d-47bb-8fdd-7ddedc83fc7e" providerId="ADAL" clId="{5CBE12F2-F3C8-4DCE-AD77-5EBD7EED8DBF}" dt="2024-03-24T07:03:06.899" v="4693"/>
          <ac:cxnSpMkLst>
            <pc:docMk/>
            <pc:sldMk cId="4186158384" sldId="2147378644"/>
            <ac:cxnSpMk id="79" creationId="{DA988BAA-7298-2998-CE36-D4A23324BA56}"/>
          </ac:cxnSpMkLst>
        </pc:cxnChg>
        <pc:cxnChg chg="mod">
          <ac:chgData name="Mikami, Maho" userId="50612f1b-df2d-47bb-8fdd-7ddedc83fc7e" providerId="ADAL" clId="{5CBE12F2-F3C8-4DCE-AD77-5EBD7EED8DBF}" dt="2024-03-24T07:03:06.899" v="4693"/>
          <ac:cxnSpMkLst>
            <pc:docMk/>
            <pc:sldMk cId="4186158384" sldId="2147378644"/>
            <ac:cxnSpMk id="80" creationId="{F5BA45B7-323E-9D22-A46F-CA5854C3AA66}"/>
          </ac:cxnSpMkLst>
        </pc:cxnChg>
        <pc:cxnChg chg="mod">
          <ac:chgData name="Mikami, Maho" userId="50612f1b-df2d-47bb-8fdd-7ddedc83fc7e" providerId="ADAL" clId="{5CBE12F2-F3C8-4DCE-AD77-5EBD7EED8DBF}" dt="2024-03-24T07:03:06.899" v="4693"/>
          <ac:cxnSpMkLst>
            <pc:docMk/>
            <pc:sldMk cId="4186158384" sldId="2147378644"/>
            <ac:cxnSpMk id="81" creationId="{14BD9890-A583-0332-4012-0FDCA82975B9}"/>
          </ac:cxnSpMkLst>
        </pc:cxnChg>
        <pc:cxnChg chg="mod">
          <ac:chgData name="Mikami, Maho" userId="50612f1b-df2d-47bb-8fdd-7ddedc83fc7e" providerId="ADAL" clId="{5CBE12F2-F3C8-4DCE-AD77-5EBD7EED8DBF}" dt="2024-03-24T07:03:06.899" v="4693"/>
          <ac:cxnSpMkLst>
            <pc:docMk/>
            <pc:sldMk cId="4186158384" sldId="2147378644"/>
            <ac:cxnSpMk id="82" creationId="{69D6C4E7-4859-F983-F8B4-CCD4D71CC5CC}"/>
          </ac:cxnSpMkLst>
        </pc:cxnChg>
        <pc:cxnChg chg="mod">
          <ac:chgData name="Mikami, Maho" userId="50612f1b-df2d-47bb-8fdd-7ddedc83fc7e" providerId="ADAL" clId="{5CBE12F2-F3C8-4DCE-AD77-5EBD7EED8DBF}" dt="2024-03-24T07:03:06.899" v="4693"/>
          <ac:cxnSpMkLst>
            <pc:docMk/>
            <pc:sldMk cId="4186158384" sldId="2147378644"/>
            <ac:cxnSpMk id="83" creationId="{709E948E-8693-38FF-FEC4-637E94DBA50E}"/>
          </ac:cxnSpMkLst>
        </pc:cxnChg>
        <pc:cxnChg chg="mod">
          <ac:chgData name="Mikami, Maho" userId="50612f1b-df2d-47bb-8fdd-7ddedc83fc7e" providerId="ADAL" clId="{5CBE12F2-F3C8-4DCE-AD77-5EBD7EED8DBF}" dt="2024-03-24T07:03:06.899" v="4693"/>
          <ac:cxnSpMkLst>
            <pc:docMk/>
            <pc:sldMk cId="4186158384" sldId="2147378644"/>
            <ac:cxnSpMk id="86" creationId="{6B426EBF-21EC-E583-58C3-501F59E42D1B}"/>
          </ac:cxnSpMkLst>
        </pc:cxnChg>
        <pc:cxnChg chg="mod">
          <ac:chgData name="Mikami, Maho" userId="50612f1b-df2d-47bb-8fdd-7ddedc83fc7e" providerId="ADAL" clId="{5CBE12F2-F3C8-4DCE-AD77-5EBD7EED8DBF}" dt="2024-03-24T07:03:06.899" v="4693"/>
          <ac:cxnSpMkLst>
            <pc:docMk/>
            <pc:sldMk cId="4186158384" sldId="2147378644"/>
            <ac:cxnSpMk id="94" creationId="{50C5E50E-FD8D-C84F-29CF-CAF084952DC1}"/>
          </ac:cxnSpMkLst>
        </pc:cxnChg>
        <pc:cxnChg chg="mod">
          <ac:chgData name="Mikami, Maho" userId="50612f1b-df2d-47bb-8fdd-7ddedc83fc7e" providerId="ADAL" clId="{5CBE12F2-F3C8-4DCE-AD77-5EBD7EED8DBF}" dt="2024-03-24T07:03:09.569" v="4694"/>
          <ac:cxnSpMkLst>
            <pc:docMk/>
            <pc:sldMk cId="4186158384" sldId="2147378644"/>
            <ac:cxnSpMk id="112" creationId="{28D914FE-2DD6-862F-AB8B-8339288C17A1}"/>
          </ac:cxnSpMkLst>
        </pc:cxnChg>
        <pc:cxnChg chg="mod">
          <ac:chgData name="Mikami, Maho" userId="50612f1b-df2d-47bb-8fdd-7ddedc83fc7e" providerId="ADAL" clId="{5CBE12F2-F3C8-4DCE-AD77-5EBD7EED8DBF}" dt="2024-03-24T07:03:09.569" v="4694"/>
          <ac:cxnSpMkLst>
            <pc:docMk/>
            <pc:sldMk cId="4186158384" sldId="2147378644"/>
            <ac:cxnSpMk id="114" creationId="{76C17139-59FA-EBB4-7245-A4D05240CA35}"/>
          </ac:cxnSpMkLst>
        </pc:cxnChg>
        <pc:cxnChg chg="mod">
          <ac:chgData name="Mikami, Maho" userId="50612f1b-df2d-47bb-8fdd-7ddedc83fc7e" providerId="ADAL" clId="{5CBE12F2-F3C8-4DCE-AD77-5EBD7EED8DBF}" dt="2024-03-24T07:03:09.569" v="4694"/>
          <ac:cxnSpMkLst>
            <pc:docMk/>
            <pc:sldMk cId="4186158384" sldId="2147378644"/>
            <ac:cxnSpMk id="115" creationId="{541CAD55-8663-4896-13EF-838097773D57}"/>
          </ac:cxnSpMkLst>
        </pc:cxnChg>
        <pc:cxnChg chg="mod">
          <ac:chgData name="Mikami, Maho" userId="50612f1b-df2d-47bb-8fdd-7ddedc83fc7e" providerId="ADAL" clId="{5CBE12F2-F3C8-4DCE-AD77-5EBD7EED8DBF}" dt="2024-03-24T07:03:09.569" v="4694"/>
          <ac:cxnSpMkLst>
            <pc:docMk/>
            <pc:sldMk cId="4186158384" sldId="2147378644"/>
            <ac:cxnSpMk id="116" creationId="{766D5174-F995-2088-C500-4159CB122E5F}"/>
          </ac:cxnSpMkLst>
        </pc:cxnChg>
        <pc:cxnChg chg="mod">
          <ac:chgData name="Mikami, Maho" userId="50612f1b-df2d-47bb-8fdd-7ddedc83fc7e" providerId="ADAL" clId="{5CBE12F2-F3C8-4DCE-AD77-5EBD7EED8DBF}" dt="2024-03-24T07:03:09.569" v="4694"/>
          <ac:cxnSpMkLst>
            <pc:docMk/>
            <pc:sldMk cId="4186158384" sldId="2147378644"/>
            <ac:cxnSpMk id="127" creationId="{674A3D0D-A6F1-D803-0DCF-BBF9836BD745}"/>
          </ac:cxnSpMkLst>
        </pc:cxnChg>
        <pc:cxnChg chg="mod">
          <ac:chgData name="Mikami, Maho" userId="50612f1b-df2d-47bb-8fdd-7ddedc83fc7e" providerId="ADAL" clId="{5CBE12F2-F3C8-4DCE-AD77-5EBD7EED8DBF}" dt="2024-03-24T07:03:09.569" v="4694"/>
          <ac:cxnSpMkLst>
            <pc:docMk/>
            <pc:sldMk cId="4186158384" sldId="2147378644"/>
            <ac:cxnSpMk id="128" creationId="{7AF59539-30A6-9F60-0FB0-EE0810CCC19D}"/>
          </ac:cxnSpMkLst>
        </pc:cxnChg>
        <pc:cxnChg chg="mod">
          <ac:chgData name="Mikami, Maho" userId="50612f1b-df2d-47bb-8fdd-7ddedc83fc7e" providerId="ADAL" clId="{5CBE12F2-F3C8-4DCE-AD77-5EBD7EED8DBF}" dt="2024-03-24T07:03:09.569" v="4694"/>
          <ac:cxnSpMkLst>
            <pc:docMk/>
            <pc:sldMk cId="4186158384" sldId="2147378644"/>
            <ac:cxnSpMk id="129" creationId="{2693CB02-4D19-C6C5-9126-0B5B3A61C9F0}"/>
          </ac:cxnSpMkLst>
        </pc:cxnChg>
        <pc:cxnChg chg="mod">
          <ac:chgData name="Mikami, Maho" userId="50612f1b-df2d-47bb-8fdd-7ddedc83fc7e" providerId="ADAL" clId="{5CBE12F2-F3C8-4DCE-AD77-5EBD7EED8DBF}" dt="2024-03-24T07:03:09.569" v="4694"/>
          <ac:cxnSpMkLst>
            <pc:docMk/>
            <pc:sldMk cId="4186158384" sldId="2147378644"/>
            <ac:cxnSpMk id="133" creationId="{15F348B4-4593-655C-57D3-D0321E4F5EA4}"/>
          </ac:cxnSpMkLst>
        </pc:cxnChg>
        <pc:cxnChg chg="mod">
          <ac:chgData name="Mikami, Maho" userId="50612f1b-df2d-47bb-8fdd-7ddedc83fc7e" providerId="ADAL" clId="{5CBE12F2-F3C8-4DCE-AD77-5EBD7EED8DBF}" dt="2024-03-24T07:03:09.569" v="4694"/>
          <ac:cxnSpMkLst>
            <pc:docMk/>
            <pc:sldMk cId="4186158384" sldId="2147378644"/>
            <ac:cxnSpMk id="135" creationId="{3E1D42F8-85D9-6C24-6593-8EC4A28ED2C0}"/>
          </ac:cxnSpMkLst>
        </pc:cxnChg>
        <pc:cxnChg chg="mod">
          <ac:chgData name="Mikami, Maho" userId="50612f1b-df2d-47bb-8fdd-7ddedc83fc7e" providerId="ADAL" clId="{5CBE12F2-F3C8-4DCE-AD77-5EBD7EED8DBF}" dt="2024-03-24T07:03:09.569" v="4694"/>
          <ac:cxnSpMkLst>
            <pc:docMk/>
            <pc:sldMk cId="4186158384" sldId="2147378644"/>
            <ac:cxnSpMk id="140" creationId="{7DAB4361-A95C-2B94-7844-39CB7A7AEDEF}"/>
          </ac:cxnSpMkLst>
        </pc:cxnChg>
        <pc:cxnChg chg="mod">
          <ac:chgData name="Mikami, Maho" userId="50612f1b-df2d-47bb-8fdd-7ddedc83fc7e" providerId="ADAL" clId="{5CBE12F2-F3C8-4DCE-AD77-5EBD7EED8DBF}" dt="2024-03-24T07:03:09.569" v="4694"/>
          <ac:cxnSpMkLst>
            <pc:docMk/>
            <pc:sldMk cId="4186158384" sldId="2147378644"/>
            <ac:cxnSpMk id="141" creationId="{E36D1FC0-9417-4EAF-72E2-DD1C495D94E7}"/>
          </ac:cxnSpMkLst>
        </pc:cxnChg>
        <pc:cxnChg chg="mod">
          <ac:chgData name="Mikami, Maho" userId="50612f1b-df2d-47bb-8fdd-7ddedc83fc7e" providerId="ADAL" clId="{5CBE12F2-F3C8-4DCE-AD77-5EBD7EED8DBF}" dt="2024-03-24T07:03:09.569" v="4694"/>
          <ac:cxnSpMkLst>
            <pc:docMk/>
            <pc:sldMk cId="4186158384" sldId="2147378644"/>
            <ac:cxnSpMk id="142" creationId="{FE2226C5-05E8-DD05-785A-D52DB7E62F62}"/>
          </ac:cxnSpMkLst>
        </pc:cxnChg>
        <pc:cxnChg chg="mod">
          <ac:chgData name="Mikami, Maho" userId="50612f1b-df2d-47bb-8fdd-7ddedc83fc7e" providerId="ADAL" clId="{5CBE12F2-F3C8-4DCE-AD77-5EBD7EED8DBF}" dt="2024-03-24T07:03:09.569" v="4694"/>
          <ac:cxnSpMkLst>
            <pc:docMk/>
            <pc:sldMk cId="4186158384" sldId="2147378644"/>
            <ac:cxnSpMk id="143" creationId="{B3F613E3-9B52-8BD2-080F-2E6A52DA3CF0}"/>
          </ac:cxnSpMkLst>
        </pc:cxnChg>
        <pc:cxnChg chg="mod">
          <ac:chgData name="Mikami, Maho" userId="50612f1b-df2d-47bb-8fdd-7ddedc83fc7e" providerId="ADAL" clId="{5CBE12F2-F3C8-4DCE-AD77-5EBD7EED8DBF}" dt="2024-03-24T07:03:09.569" v="4694"/>
          <ac:cxnSpMkLst>
            <pc:docMk/>
            <pc:sldMk cId="4186158384" sldId="2147378644"/>
            <ac:cxnSpMk id="144" creationId="{FA74C2B0-4294-7F23-24F4-572825D386D5}"/>
          </ac:cxnSpMkLst>
        </pc:cxnChg>
        <pc:cxnChg chg="mod">
          <ac:chgData name="Mikami, Maho" userId="50612f1b-df2d-47bb-8fdd-7ddedc83fc7e" providerId="ADAL" clId="{5CBE12F2-F3C8-4DCE-AD77-5EBD7EED8DBF}" dt="2024-03-24T07:03:09.569" v="4694"/>
          <ac:cxnSpMkLst>
            <pc:docMk/>
            <pc:sldMk cId="4186158384" sldId="2147378644"/>
            <ac:cxnSpMk id="145" creationId="{DA53EB03-E866-6F38-E9E4-B3C3919FCE03}"/>
          </ac:cxnSpMkLst>
        </pc:cxnChg>
        <pc:cxnChg chg="mod">
          <ac:chgData name="Mikami, Maho" userId="50612f1b-df2d-47bb-8fdd-7ddedc83fc7e" providerId="ADAL" clId="{5CBE12F2-F3C8-4DCE-AD77-5EBD7EED8DBF}" dt="2024-03-24T07:03:09.569" v="4694"/>
          <ac:cxnSpMkLst>
            <pc:docMk/>
            <pc:sldMk cId="4186158384" sldId="2147378644"/>
            <ac:cxnSpMk id="147" creationId="{05A1C710-A17E-58B7-E6B1-199253160D35}"/>
          </ac:cxnSpMkLst>
        </pc:cxnChg>
        <pc:cxnChg chg="mod">
          <ac:chgData name="Mikami, Maho" userId="50612f1b-df2d-47bb-8fdd-7ddedc83fc7e" providerId="ADAL" clId="{5CBE12F2-F3C8-4DCE-AD77-5EBD7EED8DBF}" dt="2024-03-24T07:03:09.569" v="4694"/>
          <ac:cxnSpMkLst>
            <pc:docMk/>
            <pc:sldMk cId="4186158384" sldId="2147378644"/>
            <ac:cxnSpMk id="148" creationId="{30A79981-44DD-387B-6BE5-88B04775E6A3}"/>
          </ac:cxnSpMkLst>
        </pc:cxnChg>
        <pc:cxnChg chg="mod">
          <ac:chgData name="Mikami, Maho" userId="50612f1b-df2d-47bb-8fdd-7ddedc83fc7e" providerId="ADAL" clId="{5CBE12F2-F3C8-4DCE-AD77-5EBD7EED8DBF}" dt="2024-03-24T07:03:09.569" v="4694"/>
          <ac:cxnSpMkLst>
            <pc:docMk/>
            <pc:sldMk cId="4186158384" sldId="2147378644"/>
            <ac:cxnSpMk id="151" creationId="{217152CE-F357-E97E-412C-4A622BA3A9A7}"/>
          </ac:cxnSpMkLst>
        </pc:cxnChg>
        <pc:cxnChg chg="mod">
          <ac:chgData name="Mikami, Maho" userId="50612f1b-df2d-47bb-8fdd-7ddedc83fc7e" providerId="ADAL" clId="{5CBE12F2-F3C8-4DCE-AD77-5EBD7EED8DBF}" dt="2024-03-24T07:03:09.569" v="4694"/>
          <ac:cxnSpMkLst>
            <pc:docMk/>
            <pc:sldMk cId="4186158384" sldId="2147378644"/>
            <ac:cxnSpMk id="152" creationId="{E25130E5-7B3A-ACDF-0C41-DE08CCFFD2AF}"/>
          </ac:cxnSpMkLst>
        </pc:cxnChg>
        <pc:cxnChg chg="mod">
          <ac:chgData name="Mikami, Maho" userId="50612f1b-df2d-47bb-8fdd-7ddedc83fc7e" providerId="ADAL" clId="{5CBE12F2-F3C8-4DCE-AD77-5EBD7EED8DBF}" dt="2024-03-24T07:03:09.569" v="4694"/>
          <ac:cxnSpMkLst>
            <pc:docMk/>
            <pc:sldMk cId="4186158384" sldId="2147378644"/>
            <ac:cxnSpMk id="158" creationId="{CAEB06BE-80FD-9F6B-4930-0EB6F2135BB7}"/>
          </ac:cxnSpMkLst>
        </pc:cxnChg>
        <pc:cxnChg chg="mod">
          <ac:chgData name="Mikami, Maho" userId="50612f1b-df2d-47bb-8fdd-7ddedc83fc7e" providerId="ADAL" clId="{5CBE12F2-F3C8-4DCE-AD77-5EBD7EED8DBF}" dt="2024-03-24T07:03:09.569" v="4694"/>
          <ac:cxnSpMkLst>
            <pc:docMk/>
            <pc:sldMk cId="4186158384" sldId="2147378644"/>
            <ac:cxnSpMk id="159" creationId="{50CFC198-50C6-4929-FE7D-21DCBBAF826D}"/>
          </ac:cxnSpMkLst>
        </pc:cxnChg>
        <pc:cxnChg chg="mod">
          <ac:chgData name="Mikami, Maho" userId="50612f1b-df2d-47bb-8fdd-7ddedc83fc7e" providerId="ADAL" clId="{5CBE12F2-F3C8-4DCE-AD77-5EBD7EED8DBF}" dt="2024-03-24T07:03:09.569" v="4694"/>
          <ac:cxnSpMkLst>
            <pc:docMk/>
            <pc:sldMk cId="4186158384" sldId="2147378644"/>
            <ac:cxnSpMk id="160" creationId="{3E07286B-5318-EBBB-0329-CD7823F69E7B}"/>
          </ac:cxnSpMkLst>
        </pc:cxnChg>
        <pc:cxnChg chg="mod">
          <ac:chgData name="Mikami, Maho" userId="50612f1b-df2d-47bb-8fdd-7ddedc83fc7e" providerId="ADAL" clId="{5CBE12F2-F3C8-4DCE-AD77-5EBD7EED8DBF}" dt="2024-03-24T07:03:09.569" v="4694"/>
          <ac:cxnSpMkLst>
            <pc:docMk/>
            <pc:sldMk cId="4186158384" sldId="2147378644"/>
            <ac:cxnSpMk id="161" creationId="{DD4BCE11-D490-FE81-519D-D5DE8F6E7AD5}"/>
          </ac:cxnSpMkLst>
        </pc:cxnChg>
        <pc:cxnChg chg="mod">
          <ac:chgData name="Mikami, Maho" userId="50612f1b-df2d-47bb-8fdd-7ddedc83fc7e" providerId="ADAL" clId="{5CBE12F2-F3C8-4DCE-AD77-5EBD7EED8DBF}" dt="2024-03-24T07:03:09.569" v="4694"/>
          <ac:cxnSpMkLst>
            <pc:docMk/>
            <pc:sldMk cId="4186158384" sldId="2147378644"/>
            <ac:cxnSpMk id="162" creationId="{92BDC4FD-9248-C777-843E-CD3CC3AD4549}"/>
          </ac:cxnSpMkLst>
        </pc:cxnChg>
        <pc:cxnChg chg="mod">
          <ac:chgData name="Mikami, Maho" userId="50612f1b-df2d-47bb-8fdd-7ddedc83fc7e" providerId="ADAL" clId="{5CBE12F2-F3C8-4DCE-AD77-5EBD7EED8DBF}" dt="2024-03-24T07:03:09.569" v="4694"/>
          <ac:cxnSpMkLst>
            <pc:docMk/>
            <pc:sldMk cId="4186158384" sldId="2147378644"/>
            <ac:cxnSpMk id="165" creationId="{AE7C1A0E-B193-C584-876E-12460FFA001B}"/>
          </ac:cxnSpMkLst>
        </pc:cxnChg>
        <pc:cxnChg chg="mod">
          <ac:chgData name="Mikami, Maho" userId="50612f1b-df2d-47bb-8fdd-7ddedc83fc7e" providerId="ADAL" clId="{5CBE12F2-F3C8-4DCE-AD77-5EBD7EED8DBF}" dt="2024-03-24T07:03:09.569" v="4694"/>
          <ac:cxnSpMkLst>
            <pc:docMk/>
            <pc:sldMk cId="4186158384" sldId="2147378644"/>
            <ac:cxnSpMk id="173" creationId="{B7ECF557-2F3B-2E52-0EFC-E4C7658827B2}"/>
          </ac:cxnSpMkLst>
        </pc:cxnChg>
      </pc:sldChg>
      <pc:sldChg chg="addSp delSp modSp mod">
        <pc:chgData name="Mikami, Maho" userId="50612f1b-df2d-47bb-8fdd-7ddedc83fc7e" providerId="ADAL" clId="{5CBE12F2-F3C8-4DCE-AD77-5EBD7EED8DBF}" dt="2024-03-24T07:07:27.928" v="4970" actId="20577"/>
        <pc:sldMkLst>
          <pc:docMk/>
          <pc:sldMk cId="2061620207" sldId="2147378645"/>
        </pc:sldMkLst>
        <pc:spChg chg="mod">
          <ac:chgData name="Mikami, Maho" userId="50612f1b-df2d-47bb-8fdd-7ddedc83fc7e" providerId="ADAL" clId="{5CBE12F2-F3C8-4DCE-AD77-5EBD7EED8DBF}" dt="2024-03-24T03:54:49.281" v="815" actId="20577"/>
          <ac:spMkLst>
            <pc:docMk/>
            <pc:sldMk cId="2061620207" sldId="2147378645"/>
            <ac:spMk id="2" creationId="{1C1AA4DE-85E5-437E-8ACE-411E6DF3710F}"/>
          </ac:spMkLst>
        </pc:spChg>
        <pc:spChg chg="mod">
          <ac:chgData name="Mikami, Maho" userId="50612f1b-df2d-47bb-8fdd-7ddedc83fc7e" providerId="ADAL" clId="{5CBE12F2-F3C8-4DCE-AD77-5EBD7EED8DBF}" dt="2024-03-24T03:54:32.079" v="737"/>
          <ac:spMkLst>
            <pc:docMk/>
            <pc:sldMk cId="2061620207" sldId="2147378645"/>
            <ac:spMk id="3" creationId="{A4EB7737-022C-9B62-1DB5-A6CCBA35ABE6}"/>
          </ac:spMkLst>
        </pc:spChg>
        <pc:spChg chg="mod">
          <ac:chgData name="Mikami, Maho" userId="50612f1b-df2d-47bb-8fdd-7ddedc83fc7e" providerId="ADAL" clId="{5CBE12F2-F3C8-4DCE-AD77-5EBD7EED8DBF}" dt="2024-03-24T07:04:28.841" v="4750" actId="948"/>
          <ac:spMkLst>
            <pc:docMk/>
            <pc:sldMk cId="2061620207" sldId="2147378645"/>
            <ac:spMk id="4" creationId="{E9E7DA87-C4F6-99F2-3840-1A895A4014C5}"/>
          </ac:spMkLst>
        </pc:spChg>
        <pc:spChg chg="del mod">
          <ac:chgData name="Mikami, Maho" userId="50612f1b-df2d-47bb-8fdd-7ddedc83fc7e" providerId="ADAL" clId="{5CBE12F2-F3C8-4DCE-AD77-5EBD7EED8DBF}" dt="2024-03-24T03:56:04.046" v="959" actId="478"/>
          <ac:spMkLst>
            <pc:docMk/>
            <pc:sldMk cId="2061620207" sldId="2147378645"/>
            <ac:spMk id="7" creationId="{8BB312B7-7ECB-4407-2E77-9D084C0D0C8D}"/>
          </ac:spMkLst>
        </pc:spChg>
        <pc:spChg chg="mod">
          <ac:chgData name="Mikami, Maho" userId="50612f1b-df2d-47bb-8fdd-7ddedc83fc7e" providerId="ADAL" clId="{5CBE12F2-F3C8-4DCE-AD77-5EBD7EED8DBF}" dt="2024-03-24T03:54:08.734" v="650" actId="553"/>
          <ac:spMkLst>
            <pc:docMk/>
            <pc:sldMk cId="2061620207" sldId="2147378645"/>
            <ac:spMk id="9" creationId="{9150E280-E928-52E2-4B63-0B75D186581B}"/>
          </ac:spMkLst>
        </pc:spChg>
        <pc:spChg chg="mod">
          <ac:chgData name="Mikami, Maho" userId="50612f1b-df2d-47bb-8fdd-7ddedc83fc7e" providerId="ADAL" clId="{5CBE12F2-F3C8-4DCE-AD77-5EBD7EED8DBF}" dt="2024-03-24T03:54:08.734" v="650" actId="553"/>
          <ac:spMkLst>
            <pc:docMk/>
            <pc:sldMk cId="2061620207" sldId="2147378645"/>
            <ac:spMk id="11" creationId="{38BD8558-5375-2020-7867-EE5542490BA7}"/>
          </ac:spMkLst>
        </pc:spChg>
        <pc:spChg chg="add mod">
          <ac:chgData name="Mikami, Maho" userId="50612f1b-df2d-47bb-8fdd-7ddedc83fc7e" providerId="ADAL" clId="{5CBE12F2-F3C8-4DCE-AD77-5EBD7EED8DBF}" dt="2024-03-24T03:54:20.019" v="690" actId="20577"/>
          <ac:spMkLst>
            <pc:docMk/>
            <pc:sldMk cId="2061620207" sldId="2147378645"/>
            <ac:spMk id="13" creationId="{A92A3A09-3BCC-92D1-ECDC-F93E23DAC4C6}"/>
          </ac:spMkLst>
        </pc:spChg>
        <pc:spChg chg="add mod">
          <ac:chgData name="Mikami, Maho" userId="50612f1b-df2d-47bb-8fdd-7ddedc83fc7e" providerId="ADAL" clId="{5CBE12F2-F3C8-4DCE-AD77-5EBD7EED8DBF}" dt="2024-03-24T03:54:25.106" v="703" actId="20577"/>
          <ac:spMkLst>
            <pc:docMk/>
            <pc:sldMk cId="2061620207" sldId="2147378645"/>
            <ac:spMk id="14" creationId="{F7F3E2D2-67C9-3151-1D14-2FB373DF5AFE}"/>
          </ac:spMkLst>
        </pc:spChg>
        <pc:spChg chg="add mod">
          <ac:chgData name="Mikami, Maho" userId="50612f1b-df2d-47bb-8fdd-7ddedc83fc7e" providerId="ADAL" clId="{5CBE12F2-F3C8-4DCE-AD77-5EBD7EED8DBF}" dt="2024-03-24T07:07:27.928" v="4970" actId="20577"/>
          <ac:spMkLst>
            <pc:docMk/>
            <pc:sldMk cId="2061620207" sldId="2147378645"/>
            <ac:spMk id="16" creationId="{9DE690ED-9E49-0925-CE48-EAF06D6B1920}"/>
          </ac:spMkLst>
        </pc:spChg>
        <pc:spChg chg="add mod">
          <ac:chgData name="Mikami, Maho" userId="50612f1b-df2d-47bb-8fdd-7ddedc83fc7e" providerId="ADAL" clId="{5CBE12F2-F3C8-4DCE-AD77-5EBD7EED8DBF}" dt="2024-03-24T03:56:07.882" v="960" actId="20577"/>
          <ac:spMkLst>
            <pc:docMk/>
            <pc:sldMk cId="2061620207" sldId="2147378645"/>
            <ac:spMk id="17" creationId="{61AC53C0-2671-6B8D-B098-1B06ADFC149A}"/>
          </ac:spMkLst>
        </pc:spChg>
        <pc:spChg chg="add del mod">
          <ac:chgData name="Mikami, Maho" userId="50612f1b-df2d-47bb-8fdd-7ddedc83fc7e" providerId="ADAL" clId="{5CBE12F2-F3C8-4DCE-AD77-5EBD7EED8DBF}" dt="2024-03-24T07:04:03.375" v="4702" actId="478"/>
          <ac:spMkLst>
            <pc:docMk/>
            <pc:sldMk cId="2061620207" sldId="2147378645"/>
            <ac:spMk id="18" creationId="{2066A584-E0F6-5844-1677-31E9CE7AA514}"/>
          </ac:spMkLst>
        </pc:spChg>
        <pc:grpChg chg="add mod">
          <ac:chgData name="Mikami, Maho" userId="50612f1b-df2d-47bb-8fdd-7ddedc83fc7e" providerId="ADAL" clId="{5CBE12F2-F3C8-4DCE-AD77-5EBD7EED8DBF}" dt="2024-03-24T03:54:08.734" v="650" actId="553"/>
          <ac:grpSpMkLst>
            <pc:docMk/>
            <pc:sldMk cId="2061620207" sldId="2147378645"/>
            <ac:grpSpMk id="5" creationId="{85705A4D-8D39-1EC8-FD76-0A4E1AC80EDF}"/>
          </ac:grpSpMkLst>
        </pc:grpChg>
        <pc:grpChg chg="mod">
          <ac:chgData name="Mikami, Maho" userId="50612f1b-df2d-47bb-8fdd-7ddedc83fc7e" providerId="ADAL" clId="{5CBE12F2-F3C8-4DCE-AD77-5EBD7EED8DBF}" dt="2024-03-24T03:54:08.734" v="650" actId="553"/>
          <ac:grpSpMkLst>
            <pc:docMk/>
            <pc:sldMk cId="2061620207" sldId="2147378645"/>
            <ac:grpSpMk id="6" creationId="{A7028E05-DFDA-ED43-8BF2-6A4F437D7CD2}"/>
          </ac:grpSpMkLst>
        </pc:grpChg>
        <pc:grpChg chg="mod">
          <ac:chgData name="Mikami, Maho" userId="50612f1b-df2d-47bb-8fdd-7ddedc83fc7e" providerId="ADAL" clId="{5CBE12F2-F3C8-4DCE-AD77-5EBD7EED8DBF}" dt="2024-03-24T03:54:08.734" v="650" actId="553"/>
          <ac:grpSpMkLst>
            <pc:docMk/>
            <pc:sldMk cId="2061620207" sldId="2147378645"/>
            <ac:grpSpMk id="8" creationId="{92D62AEA-4990-51FE-5773-177F4B1D0B34}"/>
          </ac:grpSpMkLst>
        </pc:grpChg>
        <pc:graphicFrameChg chg="add mod ord modVis replST">
          <ac:chgData name="Mikami, Maho" userId="50612f1b-df2d-47bb-8fdd-7ddedc83fc7e" providerId="ADAL" clId="{5CBE12F2-F3C8-4DCE-AD77-5EBD7EED8DBF}" dt="2024-03-24T07:04:28.848" v="4754"/>
          <ac:graphicFrameMkLst>
            <pc:docMk/>
            <pc:sldMk cId="2061620207" sldId="2147378645"/>
            <ac:graphicFrameMk id="15" creationId="{5AC2F319-4482-EB49-9D9F-36AA76046970}"/>
          </ac:graphicFrameMkLst>
        </pc:graphicFrameChg>
        <pc:cxnChg chg="mod">
          <ac:chgData name="Mikami, Maho" userId="50612f1b-df2d-47bb-8fdd-7ddedc83fc7e" providerId="ADAL" clId="{5CBE12F2-F3C8-4DCE-AD77-5EBD7EED8DBF}" dt="2024-03-24T03:54:08.734" v="650" actId="553"/>
          <ac:cxnSpMkLst>
            <pc:docMk/>
            <pc:sldMk cId="2061620207" sldId="2147378645"/>
            <ac:cxnSpMk id="10" creationId="{F3002201-FED7-B609-0EFE-B0A723677E49}"/>
          </ac:cxnSpMkLst>
        </pc:cxnChg>
        <pc:cxnChg chg="mod">
          <ac:chgData name="Mikami, Maho" userId="50612f1b-df2d-47bb-8fdd-7ddedc83fc7e" providerId="ADAL" clId="{5CBE12F2-F3C8-4DCE-AD77-5EBD7EED8DBF}" dt="2024-03-24T03:54:08.734" v="650" actId="553"/>
          <ac:cxnSpMkLst>
            <pc:docMk/>
            <pc:sldMk cId="2061620207" sldId="2147378645"/>
            <ac:cxnSpMk id="12" creationId="{A91ACEAA-4AA1-E7B9-26AD-A7762131885B}"/>
          </ac:cxnSpMkLst>
        </pc:cxnChg>
      </pc:sldChg>
      <pc:sldChg chg="addSp delSp modSp del mod">
        <pc:chgData name="Mikami, Maho" userId="50612f1b-df2d-47bb-8fdd-7ddedc83fc7e" providerId="ADAL" clId="{5CBE12F2-F3C8-4DCE-AD77-5EBD7EED8DBF}" dt="2024-03-24T06:10:18.704" v="3137" actId="47"/>
        <pc:sldMkLst>
          <pc:docMk/>
          <pc:sldMk cId="3796097863" sldId="2147378646"/>
        </pc:sldMkLst>
        <pc:spChg chg="mod">
          <ac:chgData name="Mikami, Maho" userId="50612f1b-df2d-47bb-8fdd-7ddedc83fc7e" providerId="ADAL" clId="{5CBE12F2-F3C8-4DCE-AD77-5EBD7EED8DBF}" dt="2024-03-24T03:30:14.869" v="296" actId="14100"/>
          <ac:spMkLst>
            <pc:docMk/>
            <pc:sldMk cId="3796097863" sldId="2147378646"/>
            <ac:spMk id="3" creationId="{ECBB1B18-6E48-A741-52DD-AE2FF2CF5F79}"/>
          </ac:spMkLst>
        </pc:spChg>
        <pc:spChg chg="add mod topLvl">
          <ac:chgData name="Mikami, Maho" userId="50612f1b-df2d-47bb-8fdd-7ddedc83fc7e" providerId="ADAL" clId="{5CBE12F2-F3C8-4DCE-AD77-5EBD7EED8DBF}" dt="2024-03-24T03:50:12.734" v="575" actId="14100"/>
          <ac:spMkLst>
            <pc:docMk/>
            <pc:sldMk cId="3796097863" sldId="2147378646"/>
            <ac:spMk id="4" creationId="{594626DE-097B-2B8D-D986-53F295198D7C}"/>
          </ac:spMkLst>
        </pc:spChg>
        <pc:spChg chg="add mod topLvl">
          <ac:chgData name="Mikami, Maho" userId="50612f1b-df2d-47bb-8fdd-7ddedc83fc7e" providerId="ADAL" clId="{5CBE12F2-F3C8-4DCE-AD77-5EBD7EED8DBF}" dt="2024-03-24T03:50:05.485" v="573" actId="164"/>
          <ac:spMkLst>
            <pc:docMk/>
            <pc:sldMk cId="3796097863" sldId="2147378646"/>
            <ac:spMk id="7" creationId="{DAE7232C-13EE-7DD3-6DB8-034E58A856F2}"/>
          </ac:spMkLst>
        </pc:spChg>
        <pc:spChg chg="add mod topLvl">
          <ac:chgData name="Mikami, Maho" userId="50612f1b-df2d-47bb-8fdd-7ddedc83fc7e" providerId="ADAL" clId="{5CBE12F2-F3C8-4DCE-AD77-5EBD7EED8DBF}" dt="2024-03-24T03:50:05.485" v="573" actId="164"/>
          <ac:spMkLst>
            <pc:docMk/>
            <pc:sldMk cId="3796097863" sldId="2147378646"/>
            <ac:spMk id="8" creationId="{92A853E6-7034-5EEF-C0BC-1567877AFDDD}"/>
          </ac:spMkLst>
        </pc:spChg>
        <pc:spChg chg="add mod topLvl">
          <ac:chgData name="Mikami, Maho" userId="50612f1b-df2d-47bb-8fdd-7ddedc83fc7e" providerId="ADAL" clId="{5CBE12F2-F3C8-4DCE-AD77-5EBD7EED8DBF}" dt="2024-03-24T03:50:12.734" v="575" actId="14100"/>
          <ac:spMkLst>
            <pc:docMk/>
            <pc:sldMk cId="3796097863" sldId="2147378646"/>
            <ac:spMk id="10" creationId="{3494E9A5-5608-3A15-FD86-A5092D3F65CB}"/>
          </ac:spMkLst>
        </pc:spChg>
        <pc:spChg chg="add mod topLvl">
          <ac:chgData name="Mikami, Maho" userId="50612f1b-df2d-47bb-8fdd-7ddedc83fc7e" providerId="ADAL" clId="{5CBE12F2-F3C8-4DCE-AD77-5EBD7EED8DBF}" dt="2024-03-24T03:50:05.485" v="573" actId="164"/>
          <ac:spMkLst>
            <pc:docMk/>
            <pc:sldMk cId="3796097863" sldId="2147378646"/>
            <ac:spMk id="11" creationId="{D925165B-55C1-9058-A124-735338D2DDB2}"/>
          </ac:spMkLst>
        </pc:spChg>
        <pc:spChg chg="add mod topLvl">
          <ac:chgData name="Mikami, Maho" userId="50612f1b-df2d-47bb-8fdd-7ddedc83fc7e" providerId="ADAL" clId="{5CBE12F2-F3C8-4DCE-AD77-5EBD7EED8DBF}" dt="2024-03-24T03:50:05.485" v="573" actId="164"/>
          <ac:spMkLst>
            <pc:docMk/>
            <pc:sldMk cId="3796097863" sldId="2147378646"/>
            <ac:spMk id="12" creationId="{09947FA2-7373-F0B3-7BF6-0420CC8F699B}"/>
          </ac:spMkLst>
        </pc:spChg>
        <pc:spChg chg="add mod topLvl">
          <ac:chgData name="Mikami, Maho" userId="50612f1b-df2d-47bb-8fdd-7ddedc83fc7e" providerId="ADAL" clId="{5CBE12F2-F3C8-4DCE-AD77-5EBD7EED8DBF}" dt="2024-03-24T03:50:12.734" v="575" actId="14100"/>
          <ac:spMkLst>
            <pc:docMk/>
            <pc:sldMk cId="3796097863" sldId="2147378646"/>
            <ac:spMk id="13" creationId="{1008BA8B-C24C-50EA-CAE3-BFD5F74C6359}"/>
          </ac:spMkLst>
        </pc:spChg>
        <pc:spChg chg="add mod topLvl">
          <ac:chgData name="Mikami, Maho" userId="50612f1b-df2d-47bb-8fdd-7ddedc83fc7e" providerId="ADAL" clId="{5CBE12F2-F3C8-4DCE-AD77-5EBD7EED8DBF}" dt="2024-03-24T03:50:12.734" v="575" actId="14100"/>
          <ac:spMkLst>
            <pc:docMk/>
            <pc:sldMk cId="3796097863" sldId="2147378646"/>
            <ac:spMk id="14" creationId="{07161296-BB3A-ED46-9CBB-D75FA6066CEF}"/>
          </ac:spMkLst>
        </pc:spChg>
        <pc:spChg chg="add mod topLvl">
          <ac:chgData name="Mikami, Maho" userId="50612f1b-df2d-47bb-8fdd-7ddedc83fc7e" providerId="ADAL" clId="{5CBE12F2-F3C8-4DCE-AD77-5EBD7EED8DBF}" dt="2024-03-24T03:50:12.734" v="575" actId="14100"/>
          <ac:spMkLst>
            <pc:docMk/>
            <pc:sldMk cId="3796097863" sldId="2147378646"/>
            <ac:spMk id="15" creationId="{6D2927F4-EBA5-D461-D520-73C5151257F0}"/>
          </ac:spMkLst>
        </pc:spChg>
        <pc:spChg chg="add mod topLvl">
          <ac:chgData name="Mikami, Maho" userId="50612f1b-df2d-47bb-8fdd-7ddedc83fc7e" providerId="ADAL" clId="{5CBE12F2-F3C8-4DCE-AD77-5EBD7EED8DBF}" dt="2024-03-24T03:50:12.734" v="575" actId="14100"/>
          <ac:spMkLst>
            <pc:docMk/>
            <pc:sldMk cId="3796097863" sldId="2147378646"/>
            <ac:spMk id="16" creationId="{83AA740C-FC09-CC54-D91F-82014C46C4A2}"/>
          </ac:spMkLst>
        </pc:spChg>
        <pc:spChg chg="add mod topLvl">
          <ac:chgData name="Mikami, Maho" userId="50612f1b-df2d-47bb-8fdd-7ddedc83fc7e" providerId="ADAL" clId="{5CBE12F2-F3C8-4DCE-AD77-5EBD7EED8DBF}" dt="2024-03-24T03:50:05.485" v="573" actId="164"/>
          <ac:spMkLst>
            <pc:docMk/>
            <pc:sldMk cId="3796097863" sldId="2147378646"/>
            <ac:spMk id="20" creationId="{F87F34E9-DA59-7FBD-CF4B-F228741F556F}"/>
          </ac:spMkLst>
        </pc:spChg>
        <pc:spChg chg="add mod topLvl">
          <ac:chgData name="Mikami, Maho" userId="50612f1b-df2d-47bb-8fdd-7ddedc83fc7e" providerId="ADAL" clId="{5CBE12F2-F3C8-4DCE-AD77-5EBD7EED8DBF}" dt="2024-03-24T03:50:05.485" v="573" actId="164"/>
          <ac:spMkLst>
            <pc:docMk/>
            <pc:sldMk cId="3796097863" sldId="2147378646"/>
            <ac:spMk id="21" creationId="{2BFBA36B-7938-2FA0-4087-492AED3019B4}"/>
          </ac:spMkLst>
        </pc:spChg>
        <pc:spChg chg="add mod topLvl">
          <ac:chgData name="Mikami, Maho" userId="50612f1b-df2d-47bb-8fdd-7ddedc83fc7e" providerId="ADAL" clId="{5CBE12F2-F3C8-4DCE-AD77-5EBD7EED8DBF}" dt="2024-03-24T03:50:05.485" v="573" actId="164"/>
          <ac:spMkLst>
            <pc:docMk/>
            <pc:sldMk cId="3796097863" sldId="2147378646"/>
            <ac:spMk id="22" creationId="{641919CE-8D99-1DF7-7827-547C055A4CA9}"/>
          </ac:spMkLst>
        </pc:spChg>
        <pc:spChg chg="add mod topLvl">
          <ac:chgData name="Mikami, Maho" userId="50612f1b-df2d-47bb-8fdd-7ddedc83fc7e" providerId="ADAL" clId="{5CBE12F2-F3C8-4DCE-AD77-5EBD7EED8DBF}" dt="2024-03-24T03:50:05.485" v="573" actId="164"/>
          <ac:spMkLst>
            <pc:docMk/>
            <pc:sldMk cId="3796097863" sldId="2147378646"/>
            <ac:spMk id="23" creationId="{106FD82B-0BE2-BDD1-9984-AE1ECBB123F9}"/>
          </ac:spMkLst>
        </pc:spChg>
        <pc:spChg chg="add mod topLvl">
          <ac:chgData name="Mikami, Maho" userId="50612f1b-df2d-47bb-8fdd-7ddedc83fc7e" providerId="ADAL" clId="{5CBE12F2-F3C8-4DCE-AD77-5EBD7EED8DBF}" dt="2024-03-24T03:50:05.485" v="573" actId="164"/>
          <ac:spMkLst>
            <pc:docMk/>
            <pc:sldMk cId="3796097863" sldId="2147378646"/>
            <ac:spMk id="25" creationId="{ACE4F0CA-0694-F911-5AFE-A7947667132B}"/>
          </ac:spMkLst>
        </pc:spChg>
        <pc:spChg chg="add mod topLvl">
          <ac:chgData name="Mikami, Maho" userId="50612f1b-df2d-47bb-8fdd-7ddedc83fc7e" providerId="ADAL" clId="{5CBE12F2-F3C8-4DCE-AD77-5EBD7EED8DBF}" dt="2024-03-24T03:50:05.485" v="573" actId="164"/>
          <ac:spMkLst>
            <pc:docMk/>
            <pc:sldMk cId="3796097863" sldId="2147378646"/>
            <ac:spMk id="26" creationId="{FC7BD0C8-51DF-147F-8DDA-DCC53754185F}"/>
          </ac:spMkLst>
        </pc:spChg>
        <pc:spChg chg="add mod topLvl">
          <ac:chgData name="Mikami, Maho" userId="50612f1b-df2d-47bb-8fdd-7ddedc83fc7e" providerId="ADAL" clId="{5CBE12F2-F3C8-4DCE-AD77-5EBD7EED8DBF}" dt="2024-03-24T03:50:05.485" v="573" actId="164"/>
          <ac:spMkLst>
            <pc:docMk/>
            <pc:sldMk cId="3796097863" sldId="2147378646"/>
            <ac:spMk id="27" creationId="{C6186138-1F5F-A28A-1B21-046711B26490}"/>
          </ac:spMkLst>
        </pc:spChg>
        <pc:spChg chg="add mod topLvl">
          <ac:chgData name="Mikami, Maho" userId="50612f1b-df2d-47bb-8fdd-7ddedc83fc7e" providerId="ADAL" clId="{5CBE12F2-F3C8-4DCE-AD77-5EBD7EED8DBF}" dt="2024-03-24T03:50:05.485" v="573" actId="164"/>
          <ac:spMkLst>
            <pc:docMk/>
            <pc:sldMk cId="3796097863" sldId="2147378646"/>
            <ac:spMk id="28" creationId="{024C4B06-6F45-A810-E104-A761924E3297}"/>
          </ac:spMkLst>
        </pc:spChg>
        <pc:spChg chg="add del mod">
          <ac:chgData name="Mikami, Maho" userId="50612f1b-df2d-47bb-8fdd-7ddedc83fc7e" providerId="ADAL" clId="{5CBE12F2-F3C8-4DCE-AD77-5EBD7EED8DBF}" dt="2024-03-24T03:49:08.352" v="453" actId="478"/>
          <ac:spMkLst>
            <pc:docMk/>
            <pc:sldMk cId="3796097863" sldId="2147378646"/>
            <ac:spMk id="39" creationId="{BE276D39-DCD4-55FD-F9E5-53CD9AC9F939}"/>
          </ac:spMkLst>
        </pc:spChg>
        <pc:spChg chg="add del mod">
          <ac:chgData name="Mikami, Maho" userId="50612f1b-df2d-47bb-8fdd-7ddedc83fc7e" providerId="ADAL" clId="{5CBE12F2-F3C8-4DCE-AD77-5EBD7EED8DBF}" dt="2024-03-24T03:49:08.352" v="453" actId="478"/>
          <ac:spMkLst>
            <pc:docMk/>
            <pc:sldMk cId="3796097863" sldId="2147378646"/>
            <ac:spMk id="41" creationId="{A167B3C7-57BF-15CD-315E-9A3C66F57C4A}"/>
          </ac:spMkLst>
        </pc:spChg>
        <pc:grpChg chg="add del mod topLvl">
          <ac:chgData name="Mikami, Maho" userId="50612f1b-df2d-47bb-8fdd-7ddedc83fc7e" providerId="ADAL" clId="{5CBE12F2-F3C8-4DCE-AD77-5EBD7EED8DBF}" dt="2024-03-24T03:26:16.725" v="131" actId="165"/>
          <ac:grpSpMkLst>
            <pc:docMk/>
            <pc:sldMk cId="3796097863" sldId="2147378646"/>
            <ac:grpSpMk id="17" creationId="{22C4ACB0-F77A-11BB-BD84-D1CF0E1DD0FB}"/>
          </ac:grpSpMkLst>
        </pc:grpChg>
        <pc:grpChg chg="add del mod">
          <ac:chgData name="Mikami, Maho" userId="50612f1b-df2d-47bb-8fdd-7ddedc83fc7e" providerId="ADAL" clId="{5CBE12F2-F3C8-4DCE-AD77-5EBD7EED8DBF}" dt="2024-03-24T03:26:14.222" v="130" actId="165"/>
          <ac:grpSpMkLst>
            <pc:docMk/>
            <pc:sldMk cId="3796097863" sldId="2147378646"/>
            <ac:grpSpMk id="18" creationId="{337AC4C3-21A2-339A-56DE-A9135085B3D4}"/>
          </ac:grpSpMkLst>
        </pc:grpChg>
        <pc:grpChg chg="add del mod">
          <ac:chgData name="Mikami, Maho" userId="50612f1b-df2d-47bb-8fdd-7ddedc83fc7e" providerId="ADAL" clId="{5CBE12F2-F3C8-4DCE-AD77-5EBD7EED8DBF}" dt="2024-03-24T03:26:35.600" v="154" actId="165"/>
          <ac:grpSpMkLst>
            <pc:docMk/>
            <pc:sldMk cId="3796097863" sldId="2147378646"/>
            <ac:grpSpMk id="19" creationId="{2448B5B8-9CD6-B487-D7CF-B0019759BBBF}"/>
          </ac:grpSpMkLst>
        </pc:grpChg>
        <pc:grpChg chg="add del mod">
          <ac:chgData name="Mikami, Maho" userId="50612f1b-df2d-47bb-8fdd-7ddedc83fc7e" providerId="ADAL" clId="{5CBE12F2-F3C8-4DCE-AD77-5EBD7EED8DBF}" dt="2024-03-24T03:27:44.682" v="192" actId="165"/>
          <ac:grpSpMkLst>
            <pc:docMk/>
            <pc:sldMk cId="3796097863" sldId="2147378646"/>
            <ac:grpSpMk id="24" creationId="{ECC7C014-4248-8009-D320-A8CD6628336E}"/>
          </ac:grpSpMkLst>
        </pc:grpChg>
        <pc:grpChg chg="add del mod">
          <ac:chgData name="Mikami, Maho" userId="50612f1b-df2d-47bb-8fdd-7ddedc83fc7e" providerId="ADAL" clId="{5CBE12F2-F3C8-4DCE-AD77-5EBD7EED8DBF}" dt="2024-03-24T03:27:44.682" v="192" actId="165"/>
          <ac:grpSpMkLst>
            <pc:docMk/>
            <pc:sldMk cId="3796097863" sldId="2147378646"/>
            <ac:grpSpMk id="29" creationId="{78BF23A2-29B0-B625-CF9F-D81DEA8C09EB}"/>
          </ac:grpSpMkLst>
        </pc:grpChg>
        <pc:grpChg chg="add del mod">
          <ac:chgData name="Mikami, Maho" userId="50612f1b-df2d-47bb-8fdd-7ddedc83fc7e" providerId="ADAL" clId="{5CBE12F2-F3C8-4DCE-AD77-5EBD7EED8DBF}" dt="2024-03-24T03:27:44.682" v="192" actId="165"/>
          <ac:grpSpMkLst>
            <pc:docMk/>
            <pc:sldMk cId="3796097863" sldId="2147378646"/>
            <ac:grpSpMk id="30" creationId="{18138821-0317-B037-A88D-3A212E127133}"/>
          </ac:grpSpMkLst>
        </pc:grpChg>
        <pc:grpChg chg="add del mod">
          <ac:chgData name="Mikami, Maho" userId="50612f1b-df2d-47bb-8fdd-7ddedc83fc7e" providerId="ADAL" clId="{5CBE12F2-F3C8-4DCE-AD77-5EBD7EED8DBF}" dt="2024-03-24T03:28:48.489" v="258" actId="165"/>
          <ac:grpSpMkLst>
            <pc:docMk/>
            <pc:sldMk cId="3796097863" sldId="2147378646"/>
            <ac:grpSpMk id="31" creationId="{564F93FD-4B00-E701-D395-584FE7188AEF}"/>
          </ac:grpSpMkLst>
        </pc:grpChg>
        <pc:grpChg chg="add mod topLvl">
          <ac:chgData name="Mikami, Maho" userId="50612f1b-df2d-47bb-8fdd-7ddedc83fc7e" providerId="ADAL" clId="{5CBE12F2-F3C8-4DCE-AD77-5EBD7EED8DBF}" dt="2024-03-24T03:49:52.346" v="560" actId="165"/>
          <ac:grpSpMkLst>
            <pc:docMk/>
            <pc:sldMk cId="3796097863" sldId="2147378646"/>
            <ac:grpSpMk id="36" creationId="{1C5AC786-5D1A-A26D-AA38-2486BE7BB0CC}"/>
          </ac:grpSpMkLst>
        </pc:grpChg>
        <pc:grpChg chg="add mod">
          <ac:chgData name="Mikami, Maho" userId="50612f1b-df2d-47bb-8fdd-7ddedc83fc7e" providerId="ADAL" clId="{5CBE12F2-F3C8-4DCE-AD77-5EBD7EED8DBF}" dt="2024-03-24T03:43:08.416" v="372" actId="164"/>
          <ac:grpSpMkLst>
            <pc:docMk/>
            <pc:sldMk cId="3796097863" sldId="2147378646"/>
            <ac:grpSpMk id="37" creationId="{7DB234BF-5C2E-33D2-831E-F86B1B9CCC60}"/>
          </ac:grpSpMkLst>
        </pc:grpChg>
        <pc:grpChg chg="add del mod">
          <ac:chgData name="Mikami, Maho" userId="50612f1b-df2d-47bb-8fdd-7ddedc83fc7e" providerId="ADAL" clId="{5CBE12F2-F3C8-4DCE-AD77-5EBD7EED8DBF}" dt="2024-03-24T03:44:44.854" v="382" actId="165"/>
          <ac:grpSpMkLst>
            <pc:docMk/>
            <pc:sldMk cId="3796097863" sldId="2147378646"/>
            <ac:grpSpMk id="38" creationId="{81E8D335-C51F-6192-0B6E-98BF5F90F334}"/>
          </ac:grpSpMkLst>
        </pc:grpChg>
        <pc:grpChg chg="add del mod">
          <ac:chgData name="Mikami, Maho" userId="50612f1b-df2d-47bb-8fdd-7ddedc83fc7e" providerId="ADAL" clId="{5CBE12F2-F3C8-4DCE-AD77-5EBD7EED8DBF}" dt="2024-03-24T03:49:52.346" v="560" actId="165"/>
          <ac:grpSpMkLst>
            <pc:docMk/>
            <pc:sldMk cId="3796097863" sldId="2147378646"/>
            <ac:grpSpMk id="40" creationId="{0A72E091-6ABC-F415-863F-85350F31A97E}"/>
          </ac:grpSpMkLst>
        </pc:grpChg>
        <pc:grpChg chg="add mod">
          <ac:chgData name="Mikami, Maho" userId="50612f1b-df2d-47bb-8fdd-7ddedc83fc7e" providerId="ADAL" clId="{5CBE12F2-F3C8-4DCE-AD77-5EBD7EED8DBF}" dt="2024-03-24T03:50:07.026" v="574" actId="14100"/>
          <ac:grpSpMkLst>
            <pc:docMk/>
            <pc:sldMk cId="3796097863" sldId="2147378646"/>
            <ac:grpSpMk id="42" creationId="{648F8DF0-2D0F-422A-11C7-C19983C8861A}"/>
          </ac:grpSpMkLst>
        </pc:grpChg>
        <pc:cxnChg chg="add mod">
          <ac:chgData name="Mikami, Maho" userId="50612f1b-df2d-47bb-8fdd-7ddedc83fc7e" providerId="ADAL" clId="{5CBE12F2-F3C8-4DCE-AD77-5EBD7EED8DBF}" dt="2024-03-24T03:49:52.346" v="560" actId="165"/>
          <ac:cxnSpMkLst>
            <pc:docMk/>
            <pc:sldMk cId="3796097863" sldId="2147378646"/>
            <ac:cxnSpMk id="32" creationId="{DAC800B1-1C02-D2EF-4C67-A830FEAF831F}"/>
          </ac:cxnSpMkLst>
        </pc:cxnChg>
        <pc:cxnChg chg="add mod">
          <ac:chgData name="Mikami, Maho" userId="50612f1b-df2d-47bb-8fdd-7ddedc83fc7e" providerId="ADAL" clId="{5CBE12F2-F3C8-4DCE-AD77-5EBD7EED8DBF}" dt="2024-03-24T03:49:52.346" v="560" actId="165"/>
          <ac:cxnSpMkLst>
            <pc:docMk/>
            <pc:sldMk cId="3796097863" sldId="2147378646"/>
            <ac:cxnSpMk id="33" creationId="{2140C6BC-6D55-2DF8-4D25-AF66678F5567}"/>
          </ac:cxnSpMkLst>
        </pc:cxnChg>
        <pc:cxnChg chg="add mod">
          <ac:chgData name="Mikami, Maho" userId="50612f1b-df2d-47bb-8fdd-7ddedc83fc7e" providerId="ADAL" clId="{5CBE12F2-F3C8-4DCE-AD77-5EBD7EED8DBF}" dt="2024-03-24T03:49:52.346" v="560" actId="165"/>
          <ac:cxnSpMkLst>
            <pc:docMk/>
            <pc:sldMk cId="3796097863" sldId="2147378646"/>
            <ac:cxnSpMk id="34" creationId="{D5079E88-C5ED-3A1D-B37D-59731E128665}"/>
          </ac:cxnSpMkLst>
        </pc:cxnChg>
        <pc:cxnChg chg="add mod">
          <ac:chgData name="Mikami, Maho" userId="50612f1b-df2d-47bb-8fdd-7ddedc83fc7e" providerId="ADAL" clId="{5CBE12F2-F3C8-4DCE-AD77-5EBD7EED8DBF}" dt="2024-03-24T03:49:52.346" v="560" actId="165"/>
          <ac:cxnSpMkLst>
            <pc:docMk/>
            <pc:sldMk cId="3796097863" sldId="2147378646"/>
            <ac:cxnSpMk id="35" creationId="{731BB6B3-E039-7DC1-5DCC-70F2B5646099}"/>
          </ac:cxnSpMkLst>
        </pc:cxnChg>
      </pc:sldChg>
      <pc:sldChg chg="add del">
        <pc:chgData name="Mikami, Maho" userId="50612f1b-df2d-47bb-8fdd-7ddedc83fc7e" providerId="ADAL" clId="{5CBE12F2-F3C8-4DCE-AD77-5EBD7EED8DBF}" dt="2024-03-24T04:43:01.333" v="2231" actId="2696"/>
        <pc:sldMkLst>
          <pc:docMk/>
          <pc:sldMk cId="391542801" sldId="2147378647"/>
        </pc:sldMkLst>
      </pc:sldChg>
      <pc:sldChg chg="del">
        <pc:chgData name="Mikami, Maho" userId="50612f1b-df2d-47bb-8fdd-7ddedc83fc7e" providerId="ADAL" clId="{5CBE12F2-F3C8-4DCE-AD77-5EBD7EED8DBF}" dt="2024-03-24T04:42:49.755" v="2229" actId="2696"/>
        <pc:sldMkLst>
          <pc:docMk/>
          <pc:sldMk cId="873808501" sldId="2147378647"/>
        </pc:sldMkLst>
      </pc:sldChg>
      <pc:sldChg chg="addSp delSp modSp add mod">
        <pc:chgData name="Mikami, Maho" userId="50612f1b-df2d-47bb-8fdd-7ddedc83fc7e" providerId="ADAL" clId="{5CBE12F2-F3C8-4DCE-AD77-5EBD7EED8DBF}" dt="2024-03-24T07:31:38.608" v="6783"/>
        <pc:sldMkLst>
          <pc:docMk/>
          <pc:sldMk cId="2529991948" sldId="2147378647"/>
        </pc:sldMkLst>
        <pc:spChg chg="add del mod">
          <ac:chgData name="Mikami, Maho" userId="50612f1b-df2d-47bb-8fdd-7ddedc83fc7e" providerId="ADAL" clId="{5CBE12F2-F3C8-4DCE-AD77-5EBD7EED8DBF}" dt="2024-03-24T06:31:23.190" v="4469" actId="478"/>
          <ac:spMkLst>
            <pc:docMk/>
            <pc:sldMk cId="2529991948" sldId="2147378647"/>
            <ac:spMk id="2" creationId="{7FE1A601-E3B8-3EE3-A219-54B9F3F328EA}"/>
          </ac:spMkLst>
        </pc:spChg>
        <pc:spChg chg="add mod">
          <ac:chgData name="Mikami, Maho" userId="50612f1b-df2d-47bb-8fdd-7ddedc83fc7e" providerId="ADAL" clId="{5CBE12F2-F3C8-4DCE-AD77-5EBD7EED8DBF}" dt="2024-03-24T07:31:38.608" v="6783"/>
          <ac:spMkLst>
            <pc:docMk/>
            <pc:sldMk cId="2529991948" sldId="2147378647"/>
            <ac:spMk id="4" creationId="{0098F668-8CD3-7DC3-437C-C5271E7613B5}"/>
          </ac:spMkLst>
        </pc:spChg>
        <pc:spChg chg="mod">
          <ac:chgData name="Mikami, Maho" userId="50612f1b-df2d-47bb-8fdd-7ddedc83fc7e" providerId="ADAL" clId="{5CBE12F2-F3C8-4DCE-AD77-5EBD7EED8DBF}" dt="2024-03-24T06:31:25.959" v="4484" actId="20577"/>
          <ac:spMkLst>
            <pc:docMk/>
            <pc:sldMk cId="2529991948" sldId="2147378647"/>
            <ac:spMk id="7" creationId="{23C63C62-DC2B-8867-EB20-198C399BC75D}"/>
          </ac:spMkLst>
        </pc:spChg>
        <pc:spChg chg="mod">
          <ac:chgData name="Mikami, Maho" userId="50612f1b-df2d-47bb-8fdd-7ddedc83fc7e" providerId="ADAL" clId="{5CBE12F2-F3C8-4DCE-AD77-5EBD7EED8DBF}" dt="2024-03-24T05:01:53.630" v="3054" actId="948"/>
          <ac:spMkLst>
            <pc:docMk/>
            <pc:sldMk cId="2529991948" sldId="2147378647"/>
            <ac:spMk id="9" creationId="{D3BB9B10-88A8-6E41-AA2B-3D445C868D70}"/>
          </ac:spMkLst>
        </pc:spChg>
        <pc:graphicFrameChg chg="mod">
          <ac:chgData name="Mikami, Maho" userId="50612f1b-df2d-47bb-8fdd-7ddedc83fc7e" providerId="ADAL" clId="{5CBE12F2-F3C8-4DCE-AD77-5EBD7EED8DBF}" dt="2024-03-24T05:01:53.637" v="3058"/>
          <ac:graphicFrameMkLst>
            <pc:docMk/>
            <pc:sldMk cId="2529991948" sldId="2147378647"/>
            <ac:graphicFrameMk id="5" creationId="{670953B7-7EC3-DD10-DA55-C4D22C9B339E}"/>
          </ac:graphicFrameMkLst>
        </pc:graphicFrameChg>
        <pc:graphicFrameChg chg="mod modGraphic">
          <ac:chgData name="Mikami, Maho" userId="50612f1b-df2d-47bb-8fdd-7ddedc83fc7e" providerId="ADAL" clId="{5CBE12F2-F3C8-4DCE-AD77-5EBD7EED8DBF}" dt="2024-03-24T06:31:35.672" v="4493" actId="20577"/>
          <ac:graphicFrameMkLst>
            <pc:docMk/>
            <pc:sldMk cId="2529991948" sldId="2147378647"/>
            <ac:graphicFrameMk id="6" creationId="{5E1157CD-36A0-0BE5-BA31-149195732EBE}"/>
          </ac:graphicFrameMkLst>
        </pc:graphicFrameChg>
      </pc:sldChg>
      <pc:sldChg chg="addSp delSp modSp mod">
        <pc:chgData name="Mikami, Maho" userId="50612f1b-df2d-47bb-8fdd-7ddedc83fc7e" providerId="ADAL" clId="{5CBE12F2-F3C8-4DCE-AD77-5EBD7EED8DBF}" dt="2024-03-24T07:31:36.192" v="6782"/>
        <pc:sldMkLst>
          <pc:docMk/>
          <pc:sldMk cId="2998465411" sldId="2147378648"/>
        </pc:sldMkLst>
        <pc:spChg chg="mod ord">
          <ac:chgData name="Mikami, Maho" userId="50612f1b-df2d-47bb-8fdd-7ddedc83fc7e" providerId="ADAL" clId="{5CBE12F2-F3C8-4DCE-AD77-5EBD7EED8DBF}" dt="2024-03-24T07:27:30.683" v="6560"/>
          <ac:spMkLst>
            <pc:docMk/>
            <pc:sldMk cId="2998465411" sldId="2147378648"/>
            <ac:spMk id="2" creationId="{0E5D0AD9-2BA7-E85C-4211-2AC064C1CB7E}"/>
          </ac:spMkLst>
        </pc:spChg>
        <pc:spChg chg="mod ord">
          <ac:chgData name="Mikami, Maho" userId="50612f1b-df2d-47bb-8fdd-7ddedc83fc7e" providerId="ADAL" clId="{5CBE12F2-F3C8-4DCE-AD77-5EBD7EED8DBF}" dt="2024-03-24T07:27:30.683" v="6562"/>
          <ac:spMkLst>
            <pc:docMk/>
            <pc:sldMk cId="2998465411" sldId="2147378648"/>
            <ac:spMk id="3" creationId="{417A18CA-0059-03EF-FE57-D2DBA870D210}"/>
          </ac:spMkLst>
        </pc:spChg>
        <pc:spChg chg="mod ord">
          <ac:chgData name="Mikami, Maho" userId="50612f1b-df2d-47bb-8fdd-7ddedc83fc7e" providerId="ADAL" clId="{5CBE12F2-F3C8-4DCE-AD77-5EBD7EED8DBF}" dt="2024-03-24T07:27:30.683" v="6564"/>
          <ac:spMkLst>
            <pc:docMk/>
            <pc:sldMk cId="2998465411" sldId="2147378648"/>
            <ac:spMk id="4" creationId="{4F1B8C31-A2AA-E8B5-6842-B8CA68666E37}"/>
          </ac:spMkLst>
        </pc:spChg>
        <pc:spChg chg="add del mod ord">
          <ac:chgData name="Mikami, Maho" userId="50612f1b-df2d-47bb-8fdd-7ddedc83fc7e" providerId="ADAL" clId="{5CBE12F2-F3C8-4DCE-AD77-5EBD7EED8DBF}" dt="2024-03-24T07:28:15.411" v="6663"/>
          <ac:spMkLst>
            <pc:docMk/>
            <pc:sldMk cId="2998465411" sldId="2147378648"/>
            <ac:spMk id="5" creationId="{2D5EA78A-6461-7E3B-1B64-172FF89181D2}"/>
          </ac:spMkLst>
        </pc:spChg>
        <pc:spChg chg="add del mod modVis">
          <ac:chgData name="Mikami, Maho" userId="50612f1b-df2d-47bb-8fdd-7ddedc83fc7e" providerId="ADAL" clId="{5CBE12F2-F3C8-4DCE-AD77-5EBD7EED8DBF}" dt="2024-03-24T05:01:43.553" v="3035"/>
          <ac:spMkLst>
            <pc:docMk/>
            <pc:sldMk cId="2998465411" sldId="2147378648"/>
            <ac:spMk id="7" creationId="{6ED3A2B7-22D1-A457-8BBD-F7DFFC3E0C60}"/>
          </ac:spMkLst>
        </pc:spChg>
        <pc:spChg chg="add mod">
          <ac:chgData name="Mikami, Maho" userId="50612f1b-df2d-47bb-8fdd-7ddedc83fc7e" providerId="ADAL" clId="{5CBE12F2-F3C8-4DCE-AD77-5EBD7EED8DBF}" dt="2024-03-24T07:31:36.192" v="6782"/>
          <ac:spMkLst>
            <pc:docMk/>
            <pc:sldMk cId="2998465411" sldId="2147378648"/>
            <ac:spMk id="9" creationId="{48931139-867A-5AB4-5CC9-E0E4CE42C655}"/>
          </ac:spMkLst>
        </pc:spChg>
        <pc:graphicFrameChg chg="add mod ord modVis replST">
          <ac:chgData name="Mikami, Maho" userId="50612f1b-df2d-47bb-8fdd-7ddedc83fc7e" providerId="ADAL" clId="{5CBE12F2-F3C8-4DCE-AD77-5EBD7EED8DBF}" dt="2024-03-24T07:27:30.690" v="6572"/>
          <ac:graphicFrameMkLst>
            <pc:docMk/>
            <pc:sldMk cId="2998465411" sldId="2147378648"/>
            <ac:graphicFrameMk id="6" creationId="{474E5002-D1F2-D774-C181-0B3C4AA38F51}"/>
          </ac:graphicFrameMkLst>
        </pc:graphicFrameChg>
        <pc:graphicFrameChg chg="add mod ord modGraphic">
          <ac:chgData name="Mikami, Maho" userId="50612f1b-df2d-47bb-8fdd-7ddedc83fc7e" providerId="ADAL" clId="{5CBE12F2-F3C8-4DCE-AD77-5EBD7EED8DBF}" dt="2024-03-24T07:27:41.944" v="6575" actId="1076"/>
          <ac:graphicFrameMkLst>
            <pc:docMk/>
            <pc:sldMk cId="2998465411" sldId="2147378648"/>
            <ac:graphicFrameMk id="8" creationId="{6BB7A498-4C84-2FEA-ED42-9455CEFC31A6}"/>
          </ac:graphicFrameMkLst>
        </pc:graphicFrameChg>
      </pc:sldChg>
      <pc:sldChg chg="addSp delSp modSp add mod">
        <pc:chgData name="Mikami, Maho" userId="50612f1b-df2d-47bb-8fdd-7ddedc83fc7e" providerId="ADAL" clId="{5CBE12F2-F3C8-4DCE-AD77-5EBD7EED8DBF}" dt="2024-03-24T03:52:02.517" v="611" actId="1076"/>
        <pc:sldMkLst>
          <pc:docMk/>
          <pc:sldMk cId="1802116569" sldId="2147378649"/>
        </pc:sldMkLst>
        <pc:spChg chg="del">
          <ac:chgData name="Mikami, Maho" userId="50612f1b-df2d-47bb-8fdd-7ddedc83fc7e" providerId="ADAL" clId="{5CBE12F2-F3C8-4DCE-AD77-5EBD7EED8DBF}" dt="2024-03-24T03:51:37.872" v="577" actId="478"/>
          <ac:spMkLst>
            <pc:docMk/>
            <pc:sldMk cId="1802116569" sldId="2147378649"/>
            <ac:spMk id="4" creationId="{B6181D12-DAFE-5B58-FEEF-CB004CE953C1}"/>
          </ac:spMkLst>
        </pc:spChg>
        <pc:spChg chg="del">
          <ac:chgData name="Mikami, Maho" userId="50612f1b-df2d-47bb-8fdd-7ddedc83fc7e" providerId="ADAL" clId="{5CBE12F2-F3C8-4DCE-AD77-5EBD7EED8DBF}" dt="2024-03-24T03:51:37.872" v="577" actId="478"/>
          <ac:spMkLst>
            <pc:docMk/>
            <pc:sldMk cId="1802116569" sldId="2147378649"/>
            <ac:spMk id="10" creationId="{181DCA97-405D-A75B-0405-D478EDEEDE16}"/>
          </ac:spMkLst>
        </pc:spChg>
        <pc:spChg chg="del">
          <ac:chgData name="Mikami, Maho" userId="50612f1b-df2d-47bb-8fdd-7ddedc83fc7e" providerId="ADAL" clId="{5CBE12F2-F3C8-4DCE-AD77-5EBD7EED8DBF}" dt="2024-03-24T03:51:37.872" v="577" actId="478"/>
          <ac:spMkLst>
            <pc:docMk/>
            <pc:sldMk cId="1802116569" sldId="2147378649"/>
            <ac:spMk id="13" creationId="{49A77711-C009-B9BB-1E2E-4617628A5383}"/>
          </ac:spMkLst>
        </pc:spChg>
        <pc:spChg chg="del">
          <ac:chgData name="Mikami, Maho" userId="50612f1b-df2d-47bb-8fdd-7ddedc83fc7e" providerId="ADAL" clId="{5CBE12F2-F3C8-4DCE-AD77-5EBD7EED8DBF}" dt="2024-03-24T03:51:37.872" v="577" actId="478"/>
          <ac:spMkLst>
            <pc:docMk/>
            <pc:sldMk cId="1802116569" sldId="2147378649"/>
            <ac:spMk id="14" creationId="{C3ADA840-D381-6B21-104F-28EBC84A35C0}"/>
          </ac:spMkLst>
        </pc:spChg>
        <pc:spChg chg="del">
          <ac:chgData name="Mikami, Maho" userId="50612f1b-df2d-47bb-8fdd-7ddedc83fc7e" providerId="ADAL" clId="{5CBE12F2-F3C8-4DCE-AD77-5EBD7EED8DBF}" dt="2024-03-24T03:51:37.872" v="577" actId="478"/>
          <ac:spMkLst>
            <pc:docMk/>
            <pc:sldMk cId="1802116569" sldId="2147378649"/>
            <ac:spMk id="15" creationId="{57251C2B-0110-516E-ADAE-AC618F372425}"/>
          </ac:spMkLst>
        </pc:spChg>
        <pc:spChg chg="del">
          <ac:chgData name="Mikami, Maho" userId="50612f1b-df2d-47bb-8fdd-7ddedc83fc7e" providerId="ADAL" clId="{5CBE12F2-F3C8-4DCE-AD77-5EBD7EED8DBF}" dt="2024-03-24T03:51:37.872" v="577" actId="478"/>
          <ac:spMkLst>
            <pc:docMk/>
            <pc:sldMk cId="1802116569" sldId="2147378649"/>
            <ac:spMk id="16" creationId="{ACA21518-52F8-BB5A-8F09-790DC6B44A1E}"/>
          </ac:spMkLst>
        </pc:spChg>
        <pc:grpChg chg="del">
          <ac:chgData name="Mikami, Maho" userId="50612f1b-df2d-47bb-8fdd-7ddedc83fc7e" providerId="ADAL" clId="{5CBE12F2-F3C8-4DCE-AD77-5EBD7EED8DBF}" dt="2024-03-24T03:51:37.872" v="577" actId="478"/>
          <ac:grpSpMkLst>
            <pc:docMk/>
            <pc:sldMk cId="1802116569" sldId="2147378649"/>
            <ac:grpSpMk id="36" creationId="{C29742BA-D375-4384-2D73-208BA9710E46}"/>
          </ac:grpSpMkLst>
        </pc:grpChg>
        <pc:grpChg chg="del">
          <ac:chgData name="Mikami, Maho" userId="50612f1b-df2d-47bb-8fdd-7ddedc83fc7e" providerId="ADAL" clId="{5CBE12F2-F3C8-4DCE-AD77-5EBD7EED8DBF}" dt="2024-03-24T03:51:37.872" v="577" actId="478"/>
          <ac:grpSpMkLst>
            <pc:docMk/>
            <pc:sldMk cId="1802116569" sldId="2147378649"/>
            <ac:grpSpMk id="42" creationId="{90BE4EF8-3949-9CDD-CF51-068918BB92DB}"/>
          </ac:grpSpMkLst>
        </pc:grpChg>
        <pc:graphicFrameChg chg="add mod modGraphic">
          <ac:chgData name="Mikami, Maho" userId="50612f1b-df2d-47bb-8fdd-7ddedc83fc7e" providerId="ADAL" clId="{5CBE12F2-F3C8-4DCE-AD77-5EBD7EED8DBF}" dt="2024-03-24T03:52:02.517" v="611" actId="1076"/>
          <ac:graphicFrameMkLst>
            <pc:docMk/>
            <pc:sldMk cId="1802116569" sldId="2147378649"/>
            <ac:graphicFrameMk id="17" creationId="{320F1E90-FE55-6196-E9E1-3C82C3CE23D1}"/>
          </ac:graphicFrameMkLst>
        </pc:graphicFrameChg>
      </pc:sldChg>
      <pc:sldChg chg="addSp delSp modSp del mod">
        <pc:chgData name="Mikami, Maho" userId="50612f1b-df2d-47bb-8fdd-7ddedc83fc7e" providerId="ADAL" clId="{5CBE12F2-F3C8-4DCE-AD77-5EBD7EED8DBF}" dt="2024-03-24T07:14:16.322" v="5582" actId="2696"/>
        <pc:sldMkLst>
          <pc:docMk/>
          <pc:sldMk cId="128044781" sldId="2147378650"/>
        </pc:sldMkLst>
        <pc:spChg chg="mod">
          <ac:chgData name="Mikami, Maho" userId="50612f1b-df2d-47bb-8fdd-7ddedc83fc7e" providerId="ADAL" clId="{5CBE12F2-F3C8-4DCE-AD77-5EBD7EED8DBF}" dt="2024-03-24T06:21:58.636" v="4059" actId="948"/>
          <ac:spMkLst>
            <pc:docMk/>
            <pc:sldMk cId="128044781" sldId="2147378650"/>
            <ac:spMk id="4" creationId="{EE939D36-9C1A-E1D5-9C69-61295C1D2A20}"/>
          </ac:spMkLst>
        </pc:spChg>
        <pc:spChg chg="mod">
          <ac:chgData name="Mikami, Maho" userId="50612f1b-df2d-47bb-8fdd-7ddedc83fc7e" providerId="ADAL" clId="{5CBE12F2-F3C8-4DCE-AD77-5EBD7EED8DBF}" dt="2024-03-24T07:13:45.686" v="5562" actId="164"/>
          <ac:spMkLst>
            <pc:docMk/>
            <pc:sldMk cId="128044781" sldId="2147378650"/>
            <ac:spMk id="5" creationId="{64D9EFCF-5556-C67C-43C3-1B21791BAA3B}"/>
          </ac:spMkLst>
        </pc:spChg>
        <pc:spChg chg="del">
          <ac:chgData name="Mikami, Maho" userId="50612f1b-df2d-47bb-8fdd-7ddedc83fc7e" providerId="ADAL" clId="{5CBE12F2-F3C8-4DCE-AD77-5EBD7EED8DBF}" dt="2024-03-24T06:20:35.667" v="3943" actId="478"/>
          <ac:spMkLst>
            <pc:docMk/>
            <pc:sldMk cId="128044781" sldId="2147378650"/>
            <ac:spMk id="7" creationId="{5F2F6995-ED34-BC12-C7D1-423BB0605684}"/>
          </ac:spMkLst>
        </pc:spChg>
        <pc:spChg chg="del">
          <ac:chgData name="Mikami, Maho" userId="50612f1b-df2d-47bb-8fdd-7ddedc83fc7e" providerId="ADAL" clId="{5CBE12F2-F3C8-4DCE-AD77-5EBD7EED8DBF}" dt="2024-03-24T06:20:35.667" v="3943" actId="478"/>
          <ac:spMkLst>
            <pc:docMk/>
            <pc:sldMk cId="128044781" sldId="2147378650"/>
            <ac:spMk id="8" creationId="{68F72CB9-8E09-254A-6143-095430315A93}"/>
          </ac:spMkLst>
        </pc:spChg>
        <pc:spChg chg="del">
          <ac:chgData name="Mikami, Maho" userId="50612f1b-df2d-47bb-8fdd-7ddedc83fc7e" providerId="ADAL" clId="{5CBE12F2-F3C8-4DCE-AD77-5EBD7EED8DBF}" dt="2024-03-24T06:20:35.667" v="3943" actId="478"/>
          <ac:spMkLst>
            <pc:docMk/>
            <pc:sldMk cId="128044781" sldId="2147378650"/>
            <ac:spMk id="9" creationId="{DCF1BF44-1C79-A7D2-D4EC-DF06E66AEB8B}"/>
          </ac:spMkLst>
        </pc:spChg>
        <pc:spChg chg="del">
          <ac:chgData name="Mikami, Maho" userId="50612f1b-df2d-47bb-8fdd-7ddedc83fc7e" providerId="ADAL" clId="{5CBE12F2-F3C8-4DCE-AD77-5EBD7EED8DBF}" dt="2024-03-24T06:20:35.667" v="3943" actId="478"/>
          <ac:spMkLst>
            <pc:docMk/>
            <pc:sldMk cId="128044781" sldId="2147378650"/>
            <ac:spMk id="10" creationId="{371A09B2-09AE-FD92-D602-1123981A28C2}"/>
          </ac:spMkLst>
        </pc:spChg>
        <pc:spChg chg="del">
          <ac:chgData name="Mikami, Maho" userId="50612f1b-df2d-47bb-8fdd-7ddedc83fc7e" providerId="ADAL" clId="{5CBE12F2-F3C8-4DCE-AD77-5EBD7EED8DBF}" dt="2024-03-24T06:20:35.667" v="3943" actId="478"/>
          <ac:spMkLst>
            <pc:docMk/>
            <pc:sldMk cId="128044781" sldId="2147378650"/>
            <ac:spMk id="11" creationId="{139F3379-CD7B-574E-98ED-EE839BC6FA6F}"/>
          </ac:spMkLst>
        </pc:spChg>
        <pc:spChg chg="add mod">
          <ac:chgData name="Mikami, Maho" userId="50612f1b-df2d-47bb-8fdd-7ddedc83fc7e" providerId="ADAL" clId="{5CBE12F2-F3C8-4DCE-AD77-5EBD7EED8DBF}" dt="2024-03-24T07:13:45.686" v="5562" actId="164"/>
          <ac:spMkLst>
            <pc:docMk/>
            <pc:sldMk cId="128044781" sldId="2147378650"/>
            <ac:spMk id="12" creationId="{6AB0C70C-9EED-5729-BBBE-98FB5BFED38E}"/>
          </ac:spMkLst>
        </pc:spChg>
        <pc:spChg chg="del">
          <ac:chgData name="Mikami, Maho" userId="50612f1b-df2d-47bb-8fdd-7ddedc83fc7e" providerId="ADAL" clId="{5CBE12F2-F3C8-4DCE-AD77-5EBD7EED8DBF}" dt="2024-03-24T06:20:35.667" v="3943" actId="478"/>
          <ac:spMkLst>
            <pc:docMk/>
            <pc:sldMk cId="128044781" sldId="2147378650"/>
            <ac:spMk id="17" creationId="{0C3DF9A1-8E2F-3C85-0802-186D8B052020}"/>
          </ac:spMkLst>
        </pc:spChg>
        <pc:spChg chg="del">
          <ac:chgData name="Mikami, Maho" userId="50612f1b-df2d-47bb-8fdd-7ddedc83fc7e" providerId="ADAL" clId="{5CBE12F2-F3C8-4DCE-AD77-5EBD7EED8DBF}" dt="2024-03-24T06:20:35.667" v="3943" actId="478"/>
          <ac:spMkLst>
            <pc:docMk/>
            <pc:sldMk cId="128044781" sldId="2147378650"/>
            <ac:spMk id="18" creationId="{DB143C2D-15F5-1A5C-50BC-2891DE912276}"/>
          </ac:spMkLst>
        </pc:spChg>
        <pc:spChg chg="del">
          <ac:chgData name="Mikami, Maho" userId="50612f1b-df2d-47bb-8fdd-7ddedc83fc7e" providerId="ADAL" clId="{5CBE12F2-F3C8-4DCE-AD77-5EBD7EED8DBF}" dt="2024-03-24T06:20:35.667" v="3943" actId="478"/>
          <ac:spMkLst>
            <pc:docMk/>
            <pc:sldMk cId="128044781" sldId="2147378650"/>
            <ac:spMk id="19" creationId="{D00447BF-13FE-CEB3-D3F0-DB50E0D922A3}"/>
          </ac:spMkLst>
        </pc:spChg>
        <pc:spChg chg="del">
          <ac:chgData name="Mikami, Maho" userId="50612f1b-df2d-47bb-8fdd-7ddedc83fc7e" providerId="ADAL" clId="{5CBE12F2-F3C8-4DCE-AD77-5EBD7EED8DBF}" dt="2024-03-24T06:20:35.667" v="3943" actId="478"/>
          <ac:spMkLst>
            <pc:docMk/>
            <pc:sldMk cId="128044781" sldId="2147378650"/>
            <ac:spMk id="20" creationId="{066D0BB7-1B6F-5F3F-506D-F8A459454E34}"/>
          </ac:spMkLst>
        </pc:spChg>
        <pc:spChg chg="del">
          <ac:chgData name="Mikami, Maho" userId="50612f1b-df2d-47bb-8fdd-7ddedc83fc7e" providerId="ADAL" clId="{5CBE12F2-F3C8-4DCE-AD77-5EBD7EED8DBF}" dt="2024-03-24T06:20:35.667" v="3943" actId="478"/>
          <ac:spMkLst>
            <pc:docMk/>
            <pc:sldMk cId="128044781" sldId="2147378650"/>
            <ac:spMk id="21" creationId="{7663E85C-3D68-7CBD-BB6B-9C9C62DFA17A}"/>
          </ac:spMkLst>
        </pc:spChg>
        <pc:spChg chg="del">
          <ac:chgData name="Mikami, Maho" userId="50612f1b-df2d-47bb-8fdd-7ddedc83fc7e" providerId="ADAL" clId="{5CBE12F2-F3C8-4DCE-AD77-5EBD7EED8DBF}" dt="2024-03-24T06:20:35.667" v="3943" actId="478"/>
          <ac:spMkLst>
            <pc:docMk/>
            <pc:sldMk cId="128044781" sldId="2147378650"/>
            <ac:spMk id="22" creationId="{263B637B-7094-4C9D-CB8F-5CE7473F80BF}"/>
          </ac:spMkLst>
        </pc:spChg>
        <pc:spChg chg="del">
          <ac:chgData name="Mikami, Maho" userId="50612f1b-df2d-47bb-8fdd-7ddedc83fc7e" providerId="ADAL" clId="{5CBE12F2-F3C8-4DCE-AD77-5EBD7EED8DBF}" dt="2024-03-24T06:20:35.667" v="3943" actId="478"/>
          <ac:spMkLst>
            <pc:docMk/>
            <pc:sldMk cId="128044781" sldId="2147378650"/>
            <ac:spMk id="23" creationId="{5F75D7CE-5F5C-5360-407E-8F1C92A39668}"/>
          </ac:spMkLst>
        </pc:spChg>
        <pc:spChg chg="del">
          <ac:chgData name="Mikami, Maho" userId="50612f1b-df2d-47bb-8fdd-7ddedc83fc7e" providerId="ADAL" clId="{5CBE12F2-F3C8-4DCE-AD77-5EBD7EED8DBF}" dt="2024-03-24T06:20:35.667" v="3943" actId="478"/>
          <ac:spMkLst>
            <pc:docMk/>
            <pc:sldMk cId="128044781" sldId="2147378650"/>
            <ac:spMk id="24" creationId="{1BD360EA-7E67-0F0F-FEF5-1105A4FC4957}"/>
          </ac:spMkLst>
        </pc:spChg>
        <pc:spChg chg="del">
          <ac:chgData name="Mikami, Maho" userId="50612f1b-df2d-47bb-8fdd-7ddedc83fc7e" providerId="ADAL" clId="{5CBE12F2-F3C8-4DCE-AD77-5EBD7EED8DBF}" dt="2024-03-24T06:20:35.667" v="3943" actId="478"/>
          <ac:spMkLst>
            <pc:docMk/>
            <pc:sldMk cId="128044781" sldId="2147378650"/>
            <ac:spMk id="25" creationId="{C025AC64-B653-8DF7-5567-2CCD7F5A4842}"/>
          </ac:spMkLst>
        </pc:spChg>
        <pc:spChg chg="del">
          <ac:chgData name="Mikami, Maho" userId="50612f1b-df2d-47bb-8fdd-7ddedc83fc7e" providerId="ADAL" clId="{5CBE12F2-F3C8-4DCE-AD77-5EBD7EED8DBF}" dt="2024-03-24T06:20:35.667" v="3943" actId="478"/>
          <ac:spMkLst>
            <pc:docMk/>
            <pc:sldMk cId="128044781" sldId="2147378650"/>
            <ac:spMk id="26" creationId="{F3DE1FF1-EAA5-1BF3-604D-270ED24F1227}"/>
          </ac:spMkLst>
        </pc:spChg>
        <pc:spChg chg="del">
          <ac:chgData name="Mikami, Maho" userId="50612f1b-df2d-47bb-8fdd-7ddedc83fc7e" providerId="ADAL" clId="{5CBE12F2-F3C8-4DCE-AD77-5EBD7EED8DBF}" dt="2024-03-24T06:20:35.667" v="3943" actId="478"/>
          <ac:spMkLst>
            <pc:docMk/>
            <pc:sldMk cId="128044781" sldId="2147378650"/>
            <ac:spMk id="27" creationId="{DEF20B9B-DCAB-9BD9-9E37-8531337B3E1D}"/>
          </ac:spMkLst>
        </pc:spChg>
        <pc:spChg chg="del">
          <ac:chgData name="Mikami, Maho" userId="50612f1b-df2d-47bb-8fdd-7ddedc83fc7e" providerId="ADAL" clId="{5CBE12F2-F3C8-4DCE-AD77-5EBD7EED8DBF}" dt="2024-03-24T06:20:35.667" v="3943" actId="478"/>
          <ac:spMkLst>
            <pc:docMk/>
            <pc:sldMk cId="128044781" sldId="2147378650"/>
            <ac:spMk id="28" creationId="{C5AB2DEF-58E9-FFDA-B948-85B871F01584}"/>
          </ac:spMkLst>
        </pc:spChg>
        <pc:spChg chg="del">
          <ac:chgData name="Mikami, Maho" userId="50612f1b-df2d-47bb-8fdd-7ddedc83fc7e" providerId="ADAL" clId="{5CBE12F2-F3C8-4DCE-AD77-5EBD7EED8DBF}" dt="2024-03-24T06:20:35.667" v="3943" actId="478"/>
          <ac:spMkLst>
            <pc:docMk/>
            <pc:sldMk cId="128044781" sldId="2147378650"/>
            <ac:spMk id="29" creationId="{93695E8A-6507-1A61-5830-059FFE28E338}"/>
          </ac:spMkLst>
        </pc:spChg>
        <pc:spChg chg="del">
          <ac:chgData name="Mikami, Maho" userId="50612f1b-df2d-47bb-8fdd-7ddedc83fc7e" providerId="ADAL" clId="{5CBE12F2-F3C8-4DCE-AD77-5EBD7EED8DBF}" dt="2024-03-24T06:20:35.667" v="3943" actId="478"/>
          <ac:spMkLst>
            <pc:docMk/>
            <pc:sldMk cId="128044781" sldId="2147378650"/>
            <ac:spMk id="30" creationId="{5CA9EF39-A382-637E-E690-F6E6C3E38550}"/>
          </ac:spMkLst>
        </pc:spChg>
        <pc:spChg chg="del">
          <ac:chgData name="Mikami, Maho" userId="50612f1b-df2d-47bb-8fdd-7ddedc83fc7e" providerId="ADAL" clId="{5CBE12F2-F3C8-4DCE-AD77-5EBD7EED8DBF}" dt="2024-03-24T06:20:35.667" v="3943" actId="478"/>
          <ac:spMkLst>
            <pc:docMk/>
            <pc:sldMk cId="128044781" sldId="2147378650"/>
            <ac:spMk id="31" creationId="{EC318247-48E6-6824-ECE3-A467E2DCC7A6}"/>
          </ac:spMkLst>
        </pc:spChg>
        <pc:spChg chg="mod">
          <ac:chgData name="Mikami, Maho" userId="50612f1b-df2d-47bb-8fdd-7ddedc83fc7e" providerId="ADAL" clId="{5CBE12F2-F3C8-4DCE-AD77-5EBD7EED8DBF}" dt="2024-03-24T06:20:39.173" v="3957" actId="1036"/>
          <ac:spMkLst>
            <pc:docMk/>
            <pc:sldMk cId="128044781" sldId="2147378650"/>
            <ac:spMk id="32" creationId="{FF0B8435-D959-54D8-1DF9-23C00B906D30}"/>
          </ac:spMkLst>
        </pc:spChg>
        <pc:spChg chg="del">
          <ac:chgData name="Mikami, Maho" userId="50612f1b-df2d-47bb-8fdd-7ddedc83fc7e" providerId="ADAL" clId="{5CBE12F2-F3C8-4DCE-AD77-5EBD7EED8DBF}" dt="2024-03-24T06:20:35.667" v="3943" actId="478"/>
          <ac:spMkLst>
            <pc:docMk/>
            <pc:sldMk cId="128044781" sldId="2147378650"/>
            <ac:spMk id="35" creationId="{C49DEDD9-3A61-A50F-999D-0B06234EBD4E}"/>
          </ac:spMkLst>
        </pc:spChg>
        <pc:grpChg chg="add mod">
          <ac:chgData name="Mikami, Maho" userId="50612f1b-df2d-47bb-8fdd-7ddedc83fc7e" providerId="ADAL" clId="{5CBE12F2-F3C8-4DCE-AD77-5EBD7EED8DBF}" dt="2024-03-24T07:13:49.317" v="5563" actId="14100"/>
          <ac:grpSpMkLst>
            <pc:docMk/>
            <pc:sldMk cId="128044781" sldId="2147378650"/>
            <ac:grpSpMk id="15" creationId="{4E0108A7-8262-26DB-F062-34B147F6D02B}"/>
          </ac:grpSpMkLst>
        </pc:grpChg>
        <pc:grpChg chg="del mod">
          <ac:chgData name="Mikami, Maho" userId="50612f1b-df2d-47bb-8fdd-7ddedc83fc7e" providerId="ADAL" clId="{5CBE12F2-F3C8-4DCE-AD77-5EBD7EED8DBF}" dt="2024-03-24T06:22:01.494" v="4064" actId="478"/>
          <ac:grpSpMkLst>
            <pc:docMk/>
            <pc:sldMk cId="128044781" sldId="2147378650"/>
            <ac:grpSpMk id="34" creationId="{0FA49C46-EA98-8D09-B5F8-C36CD9242961}"/>
          </ac:grpSpMkLst>
        </pc:grpChg>
        <pc:graphicFrameChg chg="mod">
          <ac:chgData name="Mikami, Maho" userId="50612f1b-df2d-47bb-8fdd-7ddedc83fc7e" providerId="ADAL" clId="{5CBE12F2-F3C8-4DCE-AD77-5EBD7EED8DBF}" dt="2024-03-24T06:21:58.652" v="4063"/>
          <ac:graphicFrameMkLst>
            <pc:docMk/>
            <pc:sldMk cId="128044781" sldId="2147378650"/>
            <ac:graphicFrameMk id="6" creationId="{5D252BC9-62AE-D737-64B4-909F97A853A3}"/>
          </ac:graphicFrameMkLst>
        </pc:graphicFrameChg>
        <pc:graphicFrameChg chg="add mod modGraphic">
          <ac:chgData name="Mikami, Maho" userId="50612f1b-df2d-47bb-8fdd-7ddedc83fc7e" providerId="ADAL" clId="{5CBE12F2-F3C8-4DCE-AD77-5EBD7EED8DBF}" dt="2024-03-24T07:14:12.361" v="5581" actId="20577"/>
          <ac:graphicFrameMkLst>
            <pc:docMk/>
            <pc:sldMk cId="128044781" sldId="2147378650"/>
            <ac:graphicFrameMk id="13" creationId="{CBE4383E-1271-57D5-0A0D-574668FBD286}"/>
          </ac:graphicFrameMkLst>
        </pc:graphicFrameChg>
        <pc:picChg chg="add del mod">
          <ac:chgData name="Mikami, Maho" userId="50612f1b-df2d-47bb-8fdd-7ddedc83fc7e" providerId="ADAL" clId="{5CBE12F2-F3C8-4DCE-AD77-5EBD7EED8DBF}" dt="2024-03-24T06:21:14.060" v="4033" actId="478"/>
          <ac:picMkLst>
            <pc:docMk/>
            <pc:sldMk cId="128044781" sldId="2147378650"/>
            <ac:picMk id="14" creationId="{C812CEF2-D6B4-57EC-B4E1-2867ECCE0D48}"/>
          </ac:picMkLst>
        </pc:picChg>
        <pc:cxnChg chg="mod">
          <ac:chgData name="Mikami, Maho" userId="50612f1b-df2d-47bb-8fdd-7ddedc83fc7e" providerId="ADAL" clId="{5CBE12F2-F3C8-4DCE-AD77-5EBD7EED8DBF}" dt="2024-03-24T06:20:39.173" v="3957" actId="1036"/>
          <ac:cxnSpMkLst>
            <pc:docMk/>
            <pc:sldMk cId="128044781" sldId="2147378650"/>
            <ac:cxnSpMk id="33" creationId="{D4D1B8DD-3F53-BB74-D7A7-EABC342A9291}"/>
          </ac:cxnSpMkLst>
        </pc:cxnChg>
      </pc:sldChg>
      <pc:sldChg chg="modSp add del mod ord">
        <pc:chgData name="Mikami, Maho" userId="50612f1b-df2d-47bb-8fdd-7ddedc83fc7e" providerId="ADAL" clId="{5CBE12F2-F3C8-4DCE-AD77-5EBD7EED8DBF}" dt="2024-03-24T07:21:36.911" v="6387" actId="2696"/>
        <pc:sldMkLst>
          <pc:docMk/>
          <pc:sldMk cId="1046357536" sldId="2147378650"/>
        </pc:sldMkLst>
        <pc:grpChg chg="mod">
          <ac:chgData name="Mikami, Maho" userId="50612f1b-df2d-47bb-8fdd-7ddedc83fc7e" providerId="ADAL" clId="{5CBE12F2-F3C8-4DCE-AD77-5EBD7EED8DBF}" dt="2024-03-24T07:15:49.622" v="5741" actId="14100"/>
          <ac:grpSpMkLst>
            <pc:docMk/>
            <pc:sldMk cId="1046357536" sldId="2147378650"/>
            <ac:grpSpMk id="15" creationId="{ACE54CCF-B0EA-E0C6-A733-C3FB524D3112}"/>
          </ac:grpSpMkLst>
        </pc:grpChg>
        <pc:graphicFrameChg chg="mod modGraphic">
          <ac:chgData name="Mikami, Maho" userId="50612f1b-df2d-47bb-8fdd-7ddedc83fc7e" providerId="ADAL" clId="{5CBE12F2-F3C8-4DCE-AD77-5EBD7EED8DBF}" dt="2024-03-24T07:21:34.742" v="6386"/>
          <ac:graphicFrameMkLst>
            <pc:docMk/>
            <pc:sldMk cId="1046357536" sldId="2147378650"/>
            <ac:graphicFrameMk id="13" creationId="{0FB555E9-C471-7A66-8002-FA85871AA1AA}"/>
          </ac:graphicFrameMkLst>
        </pc:graphicFrameChg>
      </pc:sldChg>
      <pc:sldChg chg="add">
        <pc:chgData name="Mikami, Maho" userId="50612f1b-df2d-47bb-8fdd-7ddedc83fc7e" providerId="ADAL" clId="{5CBE12F2-F3C8-4DCE-AD77-5EBD7EED8DBF}" dt="2024-03-24T07:21:40.890" v="6388"/>
        <pc:sldMkLst>
          <pc:docMk/>
          <pc:sldMk cId="3657893772" sldId="2147378650"/>
        </pc:sldMkLst>
      </pc:sldChg>
      <pc:sldChg chg="modSp add mod">
        <pc:chgData name="Mikami, Maho" userId="50612f1b-df2d-47bb-8fdd-7ddedc83fc7e" providerId="ADAL" clId="{5CBE12F2-F3C8-4DCE-AD77-5EBD7EED8DBF}" dt="2024-03-24T07:18:11.168" v="5958" actId="20577"/>
        <pc:sldMkLst>
          <pc:docMk/>
          <pc:sldMk cId="1033348287" sldId="2147378651"/>
        </pc:sldMkLst>
        <pc:spChg chg="mod">
          <ac:chgData name="Mikami, Maho" userId="50612f1b-df2d-47bb-8fdd-7ddedc83fc7e" providerId="ADAL" clId="{5CBE12F2-F3C8-4DCE-AD77-5EBD7EED8DBF}" dt="2024-03-24T07:18:11.168" v="5958" actId="20577"/>
          <ac:spMkLst>
            <pc:docMk/>
            <pc:sldMk cId="1033348287" sldId="2147378651"/>
            <ac:spMk id="7" creationId="{D1BD3CAF-05B0-0DF8-36DF-7405B22C482A}"/>
          </ac:spMkLst>
        </pc:spChg>
        <pc:spChg chg="mod">
          <ac:chgData name="Mikami, Maho" userId="50612f1b-df2d-47bb-8fdd-7ddedc83fc7e" providerId="ADAL" clId="{5CBE12F2-F3C8-4DCE-AD77-5EBD7EED8DBF}" dt="2024-03-24T04:55:04.513" v="2683" actId="948"/>
          <ac:spMkLst>
            <pc:docMk/>
            <pc:sldMk cId="1033348287" sldId="2147378651"/>
            <ac:spMk id="9" creationId="{F7DA7227-3724-60C8-1F06-5A8A2F4AF1F8}"/>
          </ac:spMkLst>
        </pc:spChg>
        <pc:graphicFrameChg chg="mod">
          <ac:chgData name="Mikami, Maho" userId="50612f1b-df2d-47bb-8fdd-7ddedc83fc7e" providerId="ADAL" clId="{5CBE12F2-F3C8-4DCE-AD77-5EBD7EED8DBF}" dt="2024-03-24T04:55:04.529" v="2687"/>
          <ac:graphicFrameMkLst>
            <pc:docMk/>
            <pc:sldMk cId="1033348287" sldId="2147378651"/>
            <ac:graphicFrameMk id="5" creationId="{84E354F3-1957-AAC3-B43F-BEDAC47C5BC8}"/>
          </ac:graphicFrameMkLst>
        </pc:graphicFrameChg>
      </pc:sldChg>
      <pc:sldChg chg="add del">
        <pc:chgData name="Mikami, Maho" userId="50612f1b-df2d-47bb-8fdd-7ddedc83fc7e" providerId="ADAL" clId="{5CBE12F2-F3C8-4DCE-AD77-5EBD7EED8DBF}" dt="2024-03-24T06:22:55.895" v="4082"/>
        <pc:sldMkLst>
          <pc:docMk/>
          <pc:sldMk cId="609977972" sldId="2147378652"/>
        </pc:sldMkLst>
      </pc:sldChg>
      <pc:sldChg chg="add del">
        <pc:chgData name="Mikami, Maho" userId="50612f1b-df2d-47bb-8fdd-7ddedc83fc7e" providerId="ADAL" clId="{5CBE12F2-F3C8-4DCE-AD77-5EBD7EED8DBF}" dt="2024-03-24T06:16:40.279" v="3262"/>
        <pc:sldMkLst>
          <pc:docMk/>
          <pc:sldMk cId="841302467" sldId="2147378652"/>
        </pc:sldMkLst>
      </pc:sldChg>
      <pc:sldChg chg="modSp add mod">
        <pc:chgData name="Mikami, Maho" userId="50612f1b-df2d-47bb-8fdd-7ddedc83fc7e" providerId="ADAL" clId="{5CBE12F2-F3C8-4DCE-AD77-5EBD7EED8DBF}" dt="2024-03-24T06:23:03.893" v="4131" actId="1036"/>
        <pc:sldMkLst>
          <pc:docMk/>
          <pc:sldMk cId="2854292604" sldId="2147378652"/>
        </pc:sldMkLst>
        <pc:spChg chg="mod">
          <ac:chgData name="Mikami, Maho" userId="50612f1b-df2d-47bb-8fdd-7ddedc83fc7e" providerId="ADAL" clId="{5CBE12F2-F3C8-4DCE-AD77-5EBD7EED8DBF}" dt="2024-03-24T06:23:03.893" v="4131" actId="1036"/>
          <ac:spMkLst>
            <pc:docMk/>
            <pc:sldMk cId="2854292604" sldId="2147378652"/>
            <ac:spMk id="9" creationId="{6DCCCEAA-508F-3EF7-C914-6C10291DD5BF}"/>
          </ac:spMkLst>
        </pc:spChg>
      </pc:sldChg>
      <pc:sldChg chg="modSp add mod">
        <pc:chgData name="Mikami, Maho" userId="50612f1b-df2d-47bb-8fdd-7ddedc83fc7e" providerId="ADAL" clId="{5CBE12F2-F3C8-4DCE-AD77-5EBD7EED8DBF}" dt="2024-03-24T06:23:19.776" v="4160" actId="1037"/>
        <pc:sldMkLst>
          <pc:docMk/>
          <pc:sldMk cId="1245055399" sldId="2147378653"/>
        </pc:sldMkLst>
        <pc:spChg chg="mod">
          <ac:chgData name="Mikami, Maho" userId="50612f1b-df2d-47bb-8fdd-7ddedc83fc7e" providerId="ADAL" clId="{5CBE12F2-F3C8-4DCE-AD77-5EBD7EED8DBF}" dt="2024-03-24T06:23:19.776" v="4160" actId="1037"/>
          <ac:spMkLst>
            <pc:docMk/>
            <pc:sldMk cId="1245055399" sldId="2147378653"/>
            <ac:spMk id="9" creationId="{B79A90FB-8F87-BD8C-CDDB-781282C516A5}"/>
          </ac:spMkLst>
        </pc:spChg>
      </pc:sldChg>
      <pc:sldChg chg="modSp add mod ord">
        <pc:chgData name="Mikami, Maho" userId="50612f1b-df2d-47bb-8fdd-7ddedc83fc7e" providerId="ADAL" clId="{5CBE12F2-F3C8-4DCE-AD77-5EBD7EED8DBF}" dt="2024-03-24T06:23:40.235" v="4220" actId="1035"/>
        <pc:sldMkLst>
          <pc:docMk/>
          <pc:sldMk cId="1786860980" sldId="2147378654"/>
        </pc:sldMkLst>
        <pc:spChg chg="mod">
          <ac:chgData name="Mikami, Maho" userId="50612f1b-df2d-47bb-8fdd-7ddedc83fc7e" providerId="ADAL" clId="{5CBE12F2-F3C8-4DCE-AD77-5EBD7EED8DBF}" dt="2024-03-24T06:23:40.235" v="4220" actId="1035"/>
          <ac:spMkLst>
            <pc:docMk/>
            <pc:sldMk cId="1786860980" sldId="2147378654"/>
            <ac:spMk id="9" creationId="{78D88DDB-A6F4-93E9-67F8-646493CF2FF7}"/>
          </ac:spMkLst>
        </pc:spChg>
      </pc:sldChg>
      <pc:sldChg chg="modSp add mod">
        <pc:chgData name="Mikami, Maho" userId="50612f1b-df2d-47bb-8fdd-7ddedc83fc7e" providerId="ADAL" clId="{5CBE12F2-F3C8-4DCE-AD77-5EBD7EED8DBF}" dt="2024-03-24T06:24:07.229" v="4277" actId="1035"/>
        <pc:sldMkLst>
          <pc:docMk/>
          <pc:sldMk cId="170465048" sldId="2147378655"/>
        </pc:sldMkLst>
        <pc:spChg chg="mod">
          <ac:chgData name="Mikami, Maho" userId="50612f1b-df2d-47bb-8fdd-7ddedc83fc7e" providerId="ADAL" clId="{5CBE12F2-F3C8-4DCE-AD77-5EBD7EED8DBF}" dt="2024-03-24T06:24:07.229" v="4277" actId="1035"/>
          <ac:spMkLst>
            <pc:docMk/>
            <pc:sldMk cId="170465048" sldId="2147378655"/>
            <ac:spMk id="9" creationId="{A8AC4875-B2F5-919B-86E8-16A48D488648}"/>
          </ac:spMkLst>
        </pc:spChg>
      </pc:sldChg>
      <pc:sldChg chg="add del">
        <pc:chgData name="Mikami, Maho" userId="50612f1b-df2d-47bb-8fdd-7ddedc83fc7e" providerId="ADAL" clId="{5CBE12F2-F3C8-4DCE-AD77-5EBD7EED8DBF}" dt="2024-03-24T06:23:50.513" v="4223" actId="2696"/>
        <pc:sldMkLst>
          <pc:docMk/>
          <pc:sldMk cId="1413898489" sldId="2147378655"/>
        </pc:sldMkLst>
      </pc:sldChg>
      <pc:sldChg chg="addSp delSp modSp add mod">
        <pc:chgData name="Mikami, Maho" userId="50612f1b-df2d-47bb-8fdd-7ddedc83fc7e" providerId="ADAL" clId="{5CBE12F2-F3C8-4DCE-AD77-5EBD7EED8DBF}" dt="2024-03-24T07:31:06.412" v="6708"/>
        <pc:sldMkLst>
          <pc:docMk/>
          <pc:sldMk cId="3951634490" sldId="2147378656"/>
        </pc:sldMkLst>
        <pc:spChg chg="mod ord">
          <ac:chgData name="Mikami, Maho" userId="50612f1b-df2d-47bb-8fdd-7ddedc83fc7e" providerId="ADAL" clId="{5CBE12F2-F3C8-4DCE-AD77-5EBD7EED8DBF}" dt="2024-03-24T07:09:47.845" v="5217"/>
          <ac:spMkLst>
            <pc:docMk/>
            <pc:sldMk cId="3951634490" sldId="2147378656"/>
            <ac:spMk id="2" creationId="{BAE1103A-8328-C41B-0D87-E9344198FC35}"/>
          </ac:spMkLst>
        </pc:spChg>
        <pc:spChg chg="mod ord">
          <ac:chgData name="Mikami, Maho" userId="50612f1b-df2d-47bb-8fdd-7ddedc83fc7e" providerId="ADAL" clId="{5CBE12F2-F3C8-4DCE-AD77-5EBD7EED8DBF}" dt="2024-03-24T07:09:47.845" v="5219"/>
          <ac:spMkLst>
            <pc:docMk/>
            <pc:sldMk cId="3951634490" sldId="2147378656"/>
            <ac:spMk id="3" creationId="{27AAFFD7-E4DE-963D-82D0-3AF3BF450E2E}"/>
          </ac:spMkLst>
        </pc:spChg>
        <pc:spChg chg="mod ord">
          <ac:chgData name="Mikami, Maho" userId="50612f1b-df2d-47bb-8fdd-7ddedc83fc7e" providerId="ADAL" clId="{5CBE12F2-F3C8-4DCE-AD77-5EBD7EED8DBF}" dt="2024-03-24T07:09:47.845" v="5221"/>
          <ac:spMkLst>
            <pc:docMk/>
            <pc:sldMk cId="3951634490" sldId="2147378656"/>
            <ac:spMk id="4" creationId="{97632C47-4E90-0A08-0330-788FC6556B77}"/>
          </ac:spMkLst>
        </pc:spChg>
        <pc:spChg chg="del">
          <ac:chgData name="Mikami, Maho" userId="50612f1b-df2d-47bb-8fdd-7ddedc83fc7e" providerId="ADAL" clId="{5CBE12F2-F3C8-4DCE-AD77-5EBD7EED8DBF}" dt="2024-03-24T07:08:34.695" v="5088" actId="478"/>
          <ac:spMkLst>
            <pc:docMk/>
            <pc:sldMk cId="3951634490" sldId="2147378656"/>
            <ac:spMk id="5" creationId="{0CECB229-4ABC-F8C0-6E6C-07AFE9445353}"/>
          </ac:spMkLst>
        </pc:spChg>
        <pc:spChg chg="add mod ord">
          <ac:chgData name="Mikami, Maho" userId="50612f1b-df2d-47bb-8fdd-7ddedc83fc7e" providerId="ADAL" clId="{5CBE12F2-F3C8-4DCE-AD77-5EBD7EED8DBF}" dt="2024-03-24T07:09:50.914" v="5239" actId="555"/>
          <ac:spMkLst>
            <pc:docMk/>
            <pc:sldMk cId="3951634490" sldId="2147378656"/>
            <ac:spMk id="6" creationId="{ECD05FEF-5BB9-2586-5D4A-E54850C0DD29}"/>
          </ac:spMkLst>
        </pc:spChg>
        <pc:spChg chg="mod">
          <ac:chgData name="Mikami, Maho" userId="50612f1b-df2d-47bb-8fdd-7ddedc83fc7e" providerId="ADAL" clId="{5CBE12F2-F3C8-4DCE-AD77-5EBD7EED8DBF}" dt="2024-03-24T07:08:43.961" v="5090" actId="14100"/>
          <ac:spMkLst>
            <pc:docMk/>
            <pc:sldMk cId="3951634490" sldId="2147378656"/>
            <ac:spMk id="10" creationId="{77A7FDF7-6ED3-EFC1-98AF-1E79F1FF95CE}"/>
          </ac:spMkLst>
        </pc:spChg>
        <pc:spChg chg="mod">
          <ac:chgData name="Mikami, Maho" userId="50612f1b-df2d-47bb-8fdd-7ddedc83fc7e" providerId="ADAL" clId="{5CBE12F2-F3C8-4DCE-AD77-5EBD7EED8DBF}" dt="2024-03-24T07:08:47.527" v="5091"/>
          <ac:spMkLst>
            <pc:docMk/>
            <pc:sldMk cId="3951634490" sldId="2147378656"/>
            <ac:spMk id="14" creationId="{60F0D597-C6DB-F131-85A0-AF9E9123CACD}"/>
          </ac:spMkLst>
        </pc:spChg>
        <pc:spChg chg="del">
          <ac:chgData name="Mikami, Maho" userId="50612f1b-df2d-47bb-8fdd-7ddedc83fc7e" providerId="ADAL" clId="{5CBE12F2-F3C8-4DCE-AD77-5EBD7EED8DBF}" dt="2024-03-24T07:09:22.985" v="5188" actId="478"/>
          <ac:spMkLst>
            <pc:docMk/>
            <pc:sldMk cId="3951634490" sldId="2147378656"/>
            <ac:spMk id="16" creationId="{B111BD59-953E-0B8B-B0B5-93E12E362194}"/>
          </ac:spMkLst>
        </pc:spChg>
        <pc:spChg chg="del">
          <ac:chgData name="Mikami, Maho" userId="50612f1b-df2d-47bb-8fdd-7ddedc83fc7e" providerId="ADAL" clId="{5CBE12F2-F3C8-4DCE-AD77-5EBD7EED8DBF}" dt="2024-03-24T07:09:19.400" v="5186" actId="478"/>
          <ac:spMkLst>
            <pc:docMk/>
            <pc:sldMk cId="3951634490" sldId="2147378656"/>
            <ac:spMk id="17" creationId="{319B48F1-54CA-B422-0434-F86118EC72EC}"/>
          </ac:spMkLst>
        </pc:spChg>
        <pc:spChg chg="mod">
          <ac:chgData name="Mikami, Maho" userId="50612f1b-df2d-47bb-8fdd-7ddedc83fc7e" providerId="ADAL" clId="{5CBE12F2-F3C8-4DCE-AD77-5EBD7EED8DBF}" dt="2024-03-24T07:08:54.724" v="5124" actId="20577"/>
          <ac:spMkLst>
            <pc:docMk/>
            <pc:sldMk cId="3951634490" sldId="2147378656"/>
            <ac:spMk id="20" creationId="{ED241F24-5994-A984-CBAB-92BC93B8B90B}"/>
          </ac:spMkLst>
        </pc:spChg>
        <pc:spChg chg="add mod ord">
          <ac:chgData name="Mikami, Maho" userId="50612f1b-df2d-47bb-8fdd-7ddedc83fc7e" providerId="ADAL" clId="{5CBE12F2-F3C8-4DCE-AD77-5EBD7EED8DBF}" dt="2024-03-24T07:09:47.843" v="5215"/>
          <ac:spMkLst>
            <pc:docMk/>
            <pc:sldMk cId="3951634490" sldId="2147378656"/>
            <ac:spMk id="22" creationId="{32403449-2C32-3F47-3E5E-4EBFAB80B6C0}"/>
          </ac:spMkLst>
        </pc:spChg>
        <pc:spChg chg="mod ord">
          <ac:chgData name="Mikami, Maho" userId="50612f1b-df2d-47bb-8fdd-7ddedc83fc7e" providerId="ADAL" clId="{5CBE12F2-F3C8-4DCE-AD77-5EBD7EED8DBF}" dt="2024-03-24T07:09:50.914" v="5239" actId="555"/>
          <ac:spMkLst>
            <pc:docMk/>
            <pc:sldMk cId="3951634490" sldId="2147378656"/>
            <ac:spMk id="23" creationId="{2DF01087-B843-3986-FC18-AF0A33A3EEB2}"/>
          </ac:spMkLst>
        </pc:spChg>
        <pc:spChg chg="del">
          <ac:chgData name="Mikami, Maho" userId="50612f1b-df2d-47bb-8fdd-7ddedc83fc7e" providerId="ADAL" clId="{5CBE12F2-F3C8-4DCE-AD77-5EBD7EED8DBF}" dt="2024-03-24T07:07:48.805" v="4976" actId="21"/>
          <ac:spMkLst>
            <pc:docMk/>
            <pc:sldMk cId="3951634490" sldId="2147378656"/>
            <ac:spMk id="24" creationId="{46C0EAB9-0A7D-E06A-0909-58A3537554E7}"/>
          </ac:spMkLst>
        </pc:spChg>
        <pc:spChg chg="del">
          <ac:chgData name="Mikami, Maho" userId="50612f1b-df2d-47bb-8fdd-7ddedc83fc7e" providerId="ADAL" clId="{5CBE12F2-F3C8-4DCE-AD77-5EBD7EED8DBF}" dt="2024-03-24T07:09:21.039" v="5187" actId="478"/>
          <ac:spMkLst>
            <pc:docMk/>
            <pc:sldMk cId="3951634490" sldId="2147378656"/>
            <ac:spMk id="25" creationId="{37CCBE52-5B92-6AA6-3FF5-71E4933DEF73}"/>
          </ac:spMkLst>
        </pc:spChg>
        <pc:spChg chg="mod">
          <ac:chgData name="Mikami, Maho" userId="50612f1b-df2d-47bb-8fdd-7ddedc83fc7e" providerId="ADAL" clId="{5CBE12F2-F3C8-4DCE-AD77-5EBD7EED8DBF}" dt="2024-03-24T07:09:35.949" v="5192"/>
          <ac:spMkLst>
            <pc:docMk/>
            <pc:sldMk cId="3951634490" sldId="2147378656"/>
            <ac:spMk id="27" creationId="{A91311BA-66D9-1457-6651-545F6CB0CD4F}"/>
          </ac:spMkLst>
        </pc:spChg>
        <pc:spChg chg="mod">
          <ac:chgData name="Mikami, Maho" userId="50612f1b-df2d-47bb-8fdd-7ddedc83fc7e" providerId="ADAL" clId="{5CBE12F2-F3C8-4DCE-AD77-5EBD7EED8DBF}" dt="2024-03-24T07:09:35.949" v="5192"/>
          <ac:spMkLst>
            <pc:docMk/>
            <pc:sldMk cId="3951634490" sldId="2147378656"/>
            <ac:spMk id="28" creationId="{66B005FB-B744-9C9E-834C-9186E1B84BEC}"/>
          </ac:spMkLst>
        </pc:spChg>
        <pc:spChg chg="mod">
          <ac:chgData name="Mikami, Maho" userId="50612f1b-df2d-47bb-8fdd-7ddedc83fc7e" providerId="ADAL" clId="{5CBE12F2-F3C8-4DCE-AD77-5EBD7EED8DBF}" dt="2024-03-24T07:09:35.949" v="5192"/>
          <ac:spMkLst>
            <pc:docMk/>
            <pc:sldMk cId="3951634490" sldId="2147378656"/>
            <ac:spMk id="29" creationId="{1471D3D3-9FEC-45BB-0954-2EF9C2EBD2C4}"/>
          </ac:spMkLst>
        </pc:spChg>
        <pc:spChg chg="mod">
          <ac:chgData name="Mikami, Maho" userId="50612f1b-df2d-47bb-8fdd-7ddedc83fc7e" providerId="ADAL" clId="{5CBE12F2-F3C8-4DCE-AD77-5EBD7EED8DBF}" dt="2024-03-24T07:09:35.949" v="5192"/>
          <ac:spMkLst>
            <pc:docMk/>
            <pc:sldMk cId="3951634490" sldId="2147378656"/>
            <ac:spMk id="30" creationId="{76DBDABF-9E8E-BC72-1FA6-42AC6B21EF08}"/>
          </ac:spMkLst>
        </pc:spChg>
        <pc:spChg chg="mod">
          <ac:chgData name="Mikami, Maho" userId="50612f1b-df2d-47bb-8fdd-7ddedc83fc7e" providerId="ADAL" clId="{5CBE12F2-F3C8-4DCE-AD77-5EBD7EED8DBF}" dt="2024-03-24T07:09:35.949" v="5192"/>
          <ac:spMkLst>
            <pc:docMk/>
            <pc:sldMk cId="3951634490" sldId="2147378656"/>
            <ac:spMk id="31" creationId="{453E6E6D-0103-7D86-B977-D8EDBD822F53}"/>
          </ac:spMkLst>
        </pc:spChg>
        <pc:spChg chg="mod">
          <ac:chgData name="Mikami, Maho" userId="50612f1b-df2d-47bb-8fdd-7ddedc83fc7e" providerId="ADAL" clId="{5CBE12F2-F3C8-4DCE-AD77-5EBD7EED8DBF}" dt="2024-03-24T07:09:35.949" v="5192"/>
          <ac:spMkLst>
            <pc:docMk/>
            <pc:sldMk cId="3951634490" sldId="2147378656"/>
            <ac:spMk id="32" creationId="{E40418D4-FC0F-442A-3084-93F02EF9AF72}"/>
          </ac:spMkLst>
        </pc:spChg>
        <pc:spChg chg="mod">
          <ac:chgData name="Mikami, Maho" userId="50612f1b-df2d-47bb-8fdd-7ddedc83fc7e" providerId="ADAL" clId="{5CBE12F2-F3C8-4DCE-AD77-5EBD7EED8DBF}" dt="2024-03-24T07:09:35.949" v="5192"/>
          <ac:spMkLst>
            <pc:docMk/>
            <pc:sldMk cId="3951634490" sldId="2147378656"/>
            <ac:spMk id="33" creationId="{C3A10B9B-D9E0-5CF3-57FC-EAE9AEAA0C56}"/>
          </ac:spMkLst>
        </pc:spChg>
        <pc:spChg chg="mod">
          <ac:chgData name="Mikami, Maho" userId="50612f1b-df2d-47bb-8fdd-7ddedc83fc7e" providerId="ADAL" clId="{5CBE12F2-F3C8-4DCE-AD77-5EBD7EED8DBF}" dt="2024-03-24T07:09:35.949" v="5192"/>
          <ac:spMkLst>
            <pc:docMk/>
            <pc:sldMk cId="3951634490" sldId="2147378656"/>
            <ac:spMk id="34" creationId="{0B1880EA-5D2B-C467-23EC-4EC6325A8F25}"/>
          </ac:spMkLst>
        </pc:spChg>
        <pc:spChg chg="mod">
          <ac:chgData name="Mikami, Maho" userId="50612f1b-df2d-47bb-8fdd-7ddedc83fc7e" providerId="ADAL" clId="{5CBE12F2-F3C8-4DCE-AD77-5EBD7EED8DBF}" dt="2024-03-24T07:09:35.949" v="5192"/>
          <ac:spMkLst>
            <pc:docMk/>
            <pc:sldMk cId="3951634490" sldId="2147378656"/>
            <ac:spMk id="35" creationId="{DB4787A0-83A8-73B8-E2CA-21D2F1AAD13F}"/>
          </ac:spMkLst>
        </pc:spChg>
        <pc:spChg chg="mod">
          <ac:chgData name="Mikami, Maho" userId="50612f1b-df2d-47bb-8fdd-7ddedc83fc7e" providerId="ADAL" clId="{5CBE12F2-F3C8-4DCE-AD77-5EBD7EED8DBF}" dt="2024-03-24T07:09:35.949" v="5192"/>
          <ac:spMkLst>
            <pc:docMk/>
            <pc:sldMk cId="3951634490" sldId="2147378656"/>
            <ac:spMk id="36" creationId="{6440A8CD-0117-2585-262A-16649961D764}"/>
          </ac:spMkLst>
        </pc:spChg>
        <pc:spChg chg="mod">
          <ac:chgData name="Mikami, Maho" userId="50612f1b-df2d-47bb-8fdd-7ddedc83fc7e" providerId="ADAL" clId="{5CBE12F2-F3C8-4DCE-AD77-5EBD7EED8DBF}" dt="2024-03-24T07:09:35.949" v="5192"/>
          <ac:spMkLst>
            <pc:docMk/>
            <pc:sldMk cId="3951634490" sldId="2147378656"/>
            <ac:spMk id="37" creationId="{7C4F103C-EF40-9206-3ACE-9206EDB8E4E2}"/>
          </ac:spMkLst>
        </pc:spChg>
        <pc:spChg chg="mod">
          <ac:chgData name="Mikami, Maho" userId="50612f1b-df2d-47bb-8fdd-7ddedc83fc7e" providerId="ADAL" clId="{5CBE12F2-F3C8-4DCE-AD77-5EBD7EED8DBF}" dt="2024-03-24T07:09:35.949" v="5192"/>
          <ac:spMkLst>
            <pc:docMk/>
            <pc:sldMk cId="3951634490" sldId="2147378656"/>
            <ac:spMk id="39" creationId="{6BFCDFF4-4FE7-75C4-BB18-FCF2FFAE1D6D}"/>
          </ac:spMkLst>
        </pc:spChg>
        <pc:spChg chg="mod">
          <ac:chgData name="Mikami, Maho" userId="50612f1b-df2d-47bb-8fdd-7ddedc83fc7e" providerId="ADAL" clId="{5CBE12F2-F3C8-4DCE-AD77-5EBD7EED8DBF}" dt="2024-03-24T07:09:35.949" v="5192"/>
          <ac:spMkLst>
            <pc:docMk/>
            <pc:sldMk cId="3951634490" sldId="2147378656"/>
            <ac:spMk id="43" creationId="{6B7A7DF3-52E5-275C-7ED0-F4296A581203}"/>
          </ac:spMkLst>
        </pc:spChg>
        <pc:spChg chg="mod">
          <ac:chgData name="Mikami, Maho" userId="50612f1b-df2d-47bb-8fdd-7ddedc83fc7e" providerId="ADAL" clId="{5CBE12F2-F3C8-4DCE-AD77-5EBD7EED8DBF}" dt="2024-03-24T07:09:35.949" v="5192"/>
          <ac:spMkLst>
            <pc:docMk/>
            <pc:sldMk cId="3951634490" sldId="2147378656"/>
            <ac:spMk id="44" creationId="{E0E2C81B-2EC6-A207-9D7A-6D7A33C2E5A6}"/>
          </ac:spMkLst>
        </pc:spChg>
        <pc:spChg chg="mod">
          <ac:chgData name="Mikami, Maho" userId="50612f1b-df2d-47bb-8fdd-7ddedc83fc7e" providerId="ADAL" clId="{5CBE12F2-F3C8-4DCE-AD77-5EBD7EED8DBF}" dt="2024-03-24T07:09:35.949" v="5192"/>
          <ac:spMkLst>
            <pc:docMk/>
            <pc:sldMk cId="3951634490" sldId="2147378656"/>
            <ac:spMk id="45" creationId="{8998237A-682E-E57A-176B-098CEC1DE8C5}"/>
          </ac:spMkLst>
        </pc:spChg>
        <pc:spChg chg="mod">
          <ac:chgData name="Mikami, Maho" userId="50612f1b-df2d-47bb-8fdd-7ddedc83fc7e" providerId="ADAL" clId="{5CBE12F2-F3C8-4DCE-AD77-5EBD7EED8DBF}" dt="2024-03-24T07:09:35.949" v="5192"/>
          <ac:spMkLst>
            <pc:docMk/>
            <pc:sldMk cId="3951634490" sldId="2147378656"/>
            <ac:spMk id="46" creationId="{2B1135C9-6E28-D5EA-5448-74B5F72E4655}"/>
          </ac:spMkLst>
        </pc:spChg>
        <pc:spChg chg="mod">
          <ac:chgData name="Mikami, Maho" userId="50612f1b-df2d-47bb-8fdd-7ddedc83fc7e" providerId="ADAL" clId="{5CBE12F2-F3C8-4DCE-AD77-5EBD7EED8DBF}" dt="2024-03-24T07:09:35.949" v="5192"/>
          <ac:spMkLst>
            <pc:docMk/>
            <pc:sldMk cId="3951634490" sldId="2147378656"/>
            <ac:spMk id="47" creationId="{2189590F-124B-055B-0E52-15D3E773C559}"/>
          </ac:spMkLst>
        </pc:spChg>
        <pc:spChg chg="mod">
          <ac:chgData name="Mikami, Maho" userId="50612f1b-df2d-47bb-8fdd-7ddedc83fc7e" providerId="ADAL" clId="{5CBE12F2-F3C8-4DCE-AD77-5EBD7EED8DBF}" dt="2024-03-24T07:09:35.949" v="5192"/>
          <ac:spMkLst>
            <pc:docMk/>
            <pc:sldMk cId="3951634490" sldId="2147378656"/>
            <ac:spMk id="48" creationId="{50651086-66EF-85A2-BE91-4B284D16F857}"/>
          </ac:spMkLst>
        </pc:spChg>
        <pc:spChg chg="mod">
          <ac:chgData name="Mikami, Maho" userId="50612f1b-df2d-47bb-8fdd-7ddedc83fc7e" providerId="ADAL" clId="{5CBE12F2-F3C8-4DCE-AD77-5EBD7EED8DBF}" dt="2024-03-24T07:09:35.949" v="5192"/>
          <ac:spMkLst>
            <pc:docMk/>
            <pc:sldMk cId="3951634490" sldId="2147378656"/>
            <ac:spMk id="49" creationId="{CFF060FB-4221-7169-8BF2-375956BA6A20}"/>
          </ac:spMkLst>
        </pc:spChg>
        <pc:spChg chg="mod">
          <ac:chgData name="Mikami, Maho" userId="50612f1b-df2d-47bb-8fdd-7ddedc83fc7e" providerId="ADAL" clId="{5CBE12F2-F3C8-4DCE-AD77-5EBD7EED8DBF}" dt="2024-03-24T07:09:35.949" v="5192"/>
          <ac:spMkLst>
            <pc:docMk/>
            <pc:sldMk cId="3951634490" sldId="2147378656"/>
            <ac:spMk id="50" creationId="{FB9131A4-F2A2-D6CC-22A9-CD194AB715A7}"/>
          </ac:spMkLst>
        </pc:spChg>
        <pc:spChg chg="mod">
          <ac:chgData name="Mikami, Maho" userId="50612f1b-df2d-47bb-8fdd-7ddedc83fc7e" providerId="ADAL" clId="{5CBE12F2-F3C8-4DCE-AD77-5EBD7EED8DBF}" dt="2024-03-24T07:09:35.949" v="5192"/>
          <ac:spMkLst>
            <pc:docMk/>
            <pc:sldMk cId="3951634490" sldId="2147378656"/>
            <ac:spMk id="51" creationId="{AABD1E9C-1810-4306-378B-B3F0BDCFF70A}"/>
          </ac:spMkLst>
        </pc:spChg>
        <pc:spChg chg="mod">
          <ac:chgData name="Mikami, Maho" userId="50612f1b-df2d-47bb-8fdd-7ddedc83fc7e" providerId="ADAL" clId="{5CBE12F2-F3C8-4DCE-AD77-5EBD7EED8DBF}" dt="2024-03-24T07:09:35.949" v="5192"/>
          <ac:spMkLst>
            <pc:docMk/>
            <pc:sldMk cId="3951634490" sldId="2147378656"/>
            <ac:spMk id="52" creationId="{01372ADA-4AD6-82BF-C4B7-B38F3387FBF2}"/>
          </ac:spMkLst>
        </pc:spChg>
        <pc:spChg chg="mod">
          <ac:chgData name="Mikami, Maho" userId="50612f1b-df2d-47bb-8fdd-7ddedc83fc7e" providerId="ADAL" clId="{5CBE12F2-F3C8-4DCE-AD77-5EBD7EED8DBF}" dt="2024-03-24T07:09:35.949" v="5192"/>
          <ac:spMkLst>
            <pc:docMk/>
            <pc:sldMk cId="3951634490" sldId="2147378656"/>
            <ac:spMk id="56" creationId="{FAF6B21A-ED81-F368-137C-460F4D1D5D68}"/>
          </ac:spMkLst>
        </pc:spChg>
        <pc:spChg chg="mod">
          <ac:chgData name="Mikami, Maho" userId="50612f1b-df2d-47bb-8fdd-7ddedc83fc7e" providerId="ADAL" clId="{5CBE12F2-F3C8-4DCE-AD77-5EBD7EED8DBF}" dt="2024-03-24T07:09:35.949" v="5192"/>
          <ac:spMkLst>
            <pc:docMk/>
            <pc:sldMk cId="3951634490" sldId="2147378656"/>
            <ac:spMk id="57" creationId="{600B1258-9D75-0661-D610-D06C2C8D0BDB}"/>
          </ac:spMkLst>
        </pc:spChg>
        <pc:spChg chg="mod">
          <ac:chgData name="Mikami, Maho" userId="50612f1b-df2d-47bb-8fdd-7ddedc83fc7e" providerId="ADAL" clId="{5CBE12F2-F3C8-4DCE-AD77-5EBD7EED8DBF}" dt="2024-03-24T07:09:35.949" v="5192"/>
          <ac:spMkLst>
            <pc:docMk/>
            <pc:sldMk cId="3951634490" sldId="2147378656"/>
            <ac:spMk id="58" creationId="{45707E55-66CC-F811-9211-48C36E1049C6}"/>
          </ac:spMkLst>
        </pc:spChg>
        <pc:spChg chg="mod">
          <ac:chgData name="Mikami, Maho" userId="50612f1b-df2d-47bb-8fdd-7ddedc83fc7e" providerId="ADAL" clId="{5CBE12F2-F3C8-4DCE-AD77-5EBD7EED8DBF}" dt="2024-03-24T07:09:35.949" v="5192"/>
          <ac:spMkLst>
            <pc:docMk/>
            <pc:sldMk cId="3951634490" sldId="2147378656"/>
            <ac:spMk id="60" creationId="{1AC4BE7E-C85B-F30B-2542-03420560F74A}"/>
          </ac:spMkLst>
        </pc:spChg>
        <pc:spChg chg="mod">
          <ac:chgData name="Mikami, Maho" userId="50612f1b-df2d-47bb-8fdd-7ddedc83fc7e" providerId="ADAL" clId="{5CBE12F2-F3C8-4DCE-AD77-5EBD7EED8DBF}" dt="2024-03-24T07:09:35.949" v="5192"/>
          <ac:spMkLst>
            <pc:docMk/>
            <pc:sldMk cId="3951634490" sldId="2147378656"/>
            <ac:spMk id="62" creationId="{52AB8D95-CC5B-10D8-D945-E99AD7D24306}"/>
          </ac:spMkLst>
        </pc:spChg>
        <pc:spChg chg="mod">
          <ac:chgData name="Mikami, Maho" userId="50612f1b-df2d-47bb-8fdd-7ddedc83fc7e" providerId="ADAL" clId="{5CBE12F2-F3C8-4DCE-AD77-5EBD7EED8DBF}" dt="2024-03-24T07:09:35.949" v="5192"/>
          <ac:spMkLst>
            <pc:docMk/>
            <pc:sldMk cId="3951634490" sldId="2147378656"/>
            <ac:spMk id="63" creationId="{6483D18F-989B-E612-63F8-818EF354484F}"/>
          </ac:spMkLst>
        </pc:spChg>
        <pc:spChg chg="mod">
          <ac:chgData name="Mikami, Maho" userId="50612f1b-df2d-47bb-8fdd-7ddedc83fc7e" providerId="ADAL" clId="{5CBE12F2-F3C8-4DCE-AD77-5EBD7EED8DBF}" dt="2024-03-24T07:09:35.949" v="5192"/>
          <ac:spMkLst>
            <pc:docMk/>
            <pc:sldMk cId="3951634490" sldId="2147378656"/>
            <ac:spMk id="64" creationId="{ED561412-0275-B43B-A8A2-4CE45E7D46BB}"/>
          </ac:spMkLst>
        </pc:spChg>
        <pc:spChg chg="mod">
          <ac:chgData name="Mikami, Maho" userId="50612f1b-df2d-47bb-8fdd-7ddedc83fc7e" providerId="ADAL" clId="{5CBE12F2-F3C8-4DCE-AD77-5EBD7EED8DBF}" dt="2024-03-24T07:09:35.949" v="5192"/>
          <ac:spMkLst>
            <pc:docMk/>
            <pc:sldMk cId="3951634490" sldId="2147378656"/>
            <ac:spMk id="65" creationId="{FD61DD0A-BBCB-E0DE-7C7F-23A282697794}"/>
          </ac:spMkLst>
        </pc:spChg>
        <pc:spChg chg="mod">
          <ac:chgData name="Mikami, Maho" userId="50612f1b-df2d-47bb-8fdd-7ddedc83fc7e" providerId="ADAL" clId="{5CBE12F2-F3C8-4DCE-AD77-5EBD7EED8DBF}" dt="2024-03-24T07:09:35.949" v="5192"/>
          <ac:spMkLst>
            <pc:docMk/>
            <pc:sldMk cId="3951634490" sldId="2147378656"/>
            <ac:spMk id="72" creationId="{C20FD228-4083-B95C-169C-824CBC763AFA}"/>
          </ac:spMkLst>
        </pc:spChg>
        <pc:spChg chg="mod">
          <ac:chgData name="Mikami, Maho" userId="50612f1b-df2d-47bb-8fdd-7ddedc83fc7e" providerId="ADAL" clId="{5CBE12F2-F3C8-4DCE-AD77-5EBD7EED8DBF}" dt="2024-03-24T07:09:35.949" v="5192"/>
          <ac:spMkLst>
            <pc:docMk/>
            <pc:sldMk cId="3951634490" sldId="2147378656"/>
            <ac:spMk id="75" creationId="{9CCD3C11-8AEA-E7D6-08D8-59CFA0D65754}"/>
          </ac:spMkLst>
        </pc:spChg>
        <pc:spChg chg="mod">
          <ac:chgData name="Mikami, Maho" userId="50612f1b-df2d-47bb-8fdd-7ddedc83fc7e" providerId="ADAL" clId="{5CBE12F2-F3C8-4DCE-AD77-5EBD7EED8DBF}" dt="2024-03-24T07:09:35.949" v="5192"/>
          <ac:spMkLst>
            <pc:docMk/>
            <pc:sldMk cId="3951634490" sldId="2147378656"/>
            <ac:spMk id="76" creationId="{F2AACB18-172E-25BA-1AC7-E4EA220F27B8}"/>
          </ac:spMkLst>
        </pc:spChg>
        <pc:spChg chg="mod">
          <ac:chgData name="Mikami, Maho" userId="50612f1b-df2d-47bb-8fdd-7ddedc83fc7e" providerId="ADAL" clId="{5CBE12F2-F3C8-4DCE-AD77-5EBD7EED8DBF}" dt="2024-03-24T07:09:35.949" v="5192"/>
          <ac:spMkLst>
            <pc:docMk/>
            <pc:sldMk cId="3951634490" sldId="2147378656"/>
            <ac:spMk id="79" creationId="{90C76530-CE44-3580-EEC2-8767634E47FC}"/>
          </ac:spMkLst>
        </pc:spChg>
        <pc:spChg chg="mod">
          <ac:chgData name="Mikami, Maho" userId="50612f1b-df2d-47bb-8fdd-7ddedc83fc7e" providerId="ADAL" clId="{5CBE12F2-F3C8-4DCE-AD77-5EBD7EED8DBF}" dt="2024-03-24T07:09:35.949" v="5192"/>
          <ac:spMkLst>
            <pc:docMk/>
            <pc:sldMk cId="3951634490" sldId="2147378656"/>
            <ac:spMk id="80" creationId="{DB0E75F1-7C8E-53BE-F69C-178E89DCA5F0}"/>
          </ac:spMkLst>
        </pc:spChg>
        <pc:spChg chg="mod">
          <ac:chgData name="Mikami, Maho" userId="50612f1b-df2d-47bb-8fdd-7ddedc83fc7e" providerId="ADAL" clId="{5CBE12F2-F3C8-4DCE-AD77-5EBD7EED8DBF}" dt="2024-03-24T07:09:35.949" v="5192"/>
          <ac:spMkLst>
            <pc:docMk/>
            <pc:sldMk cId="3951634490" sldId="2147378656"/>
            <ac:spMk id="81" creationId="{759DB322-92AC-45F1-C7F3-80D8562C0F5C}"/>
          </ac:spMkLst>
        </pc:spChg>
        <pc:spChg chg="mod">
          <ac:chgData name="Mikami, Maho" userId="50612f1b-df2d-47bb-8fdd-7ddedc83fc7e" providerId="ADAL" clId="{5CBE12F2-F3C8-4DCE-AD77-5EBD7EED8DBF}" dt="2024-03-24T07:09:35.949" v="5192"/>
          <ac:spMkLst>
            <pc:docMk/>
            <pc:sldMk cId="3951634490" sldId="2147378656"/>
            <ac:spMk id="89" creationId="{25361284-C567-9B43-DB16-8CF208437344}"/>
          </ac:spMkLst>
        </pc:spChg>
        <pc:spChg chg="mod">
          <ac:chgData name="Mikami, Maho" userId="50612f1b-df2d-47bb-8fdd-7ddedc83fc7e" providerId="ADAL" clId="{5CBE12F2-F3C8-4DCE-AD77-5EBD7EED8DBF}" dt="2024-03-24T07:09:35.949" v="5192"/>
          <ac:spMkLst>
            <pc:docMk/>
            <pc:sldMk cId="3951634490" sldId="2147378656"/>
            <ac:spMk id="90" creationId="{04BF53B3-75B7-35EF-B7E5-0DD91BABBA8D}"/>
          </ac:spMkLst>
        </pc:spChg>
        <pc:spChg chg="mod">
          <ac:chgData name="Mikami, Maho" userId="50612f1b-df2d-47bb-8fdd-7ddedc83fc7e" providerId="ADAL" clId="{5CBE12F2-F3C8-4DCE-AD77-5EBD7EED8DBF}" dt="2024-03-24T07:09:35.949" v="5192"/>
          <ac:spMkLst>
            <pc:docMk/>
            <pc:sldMk cId="3951634490" sldId="2147378656"/>
            <ac:spMk id="92" creationId="{5F9867E2-5618-67EB-FFA9-4A6F834304D5}"/>
          </ac:spMkLst>
        </pc:spChg>
        <pc:spChg chg="mod">
          <ac:chgData name="Mikami, Maho" userId="50612f1b-df2d-47bb-8fdd-7ddedc83fc7e" providerId="ADAL" clId="{5CBE12F2-F3C8-4DCE-AD77-5EBD7EED8DBF}" dt="2024-03-24T07:09:35.949" v="5192"/>
          <ac:spMkLst>
            <pc:docMk/>
            <pc:sldMk cId="3951634490" sldId="2147378656"/>
            <ac:spMk id="93" creationId="{73BF66BD-C87F-182F-39B0-98117B7E9527}"/>
          </ac:spMkLst>
        </pc:spChg>
        <pc:spChg chg="mod">
          <ac:chgData name="Mikami, Maho" userId="50612f1b-df2d-47bb-8fdd-7ddedc83fc7e" providerId="ADAL" clId="{5CBE12F2-F3C8-4DCE-AD77-5EBD7EED8DBF}" dt="2024-03-24T07:09:35.949" v="5192"/>
          <ac:spMkLst>
            <pc:docMk/>
            <pc:sldMk cId="3951634490" sldId="2147378656"/>
            <ac:spMk id="94" creationId="{6158DB6A-560F-6249-AB43-AE5E0EBE3B84}"/>
          </ac:spMkLst>
        </pc:spChg>
        <pc:spChg chg="mod">
          <ac:chgData name="Mikami, Maho" userId="50612f1b-df2d-47bb-8fdd-7ddedc83fc7e" providerId="ADAL" clId="{5CBE12F2-F3C8-4DCE-AD77-5EBD7EED8DBF}" dt="2024-03-24T07:09:35.949" v="5192"/>
          <ac:spMkLst>
            <pc:docMk/>
            <pc:sldMk cId="3951634490" sldId="2147378656"/>
            <ac:spMk id="95" creationId="{05A7BD4B-5B89-A6DD-5238-428FF043FDE4}"/>
          </ac:spMkLst>
        </pc:spChg>
        <pc:spChg chg="mod">
          <ac:chgData name="Mikami, Maho" userId="50612f1b-df2d-47bb-8fdd-7ddedc83fc7e" providerId="ADAL" clId="{5CBE12F2-F3C8-4DCE-AD77-5EBD7EED8DBF}" dt="2024-03-24T07:09:35.949" v="5192"/>
          <ac:spMkLst>
            <pc:docMk/>
            <pc:sldMk cId="3951634490" sldId="2147378656"/>
            <ac:spMk id="96" creationId="{AA0BDCC3-2308-AB87-9A34-8D2E110C6698}"/>
          </ac:spMkLst>
        </pc:spChg>
        <pc:spChg chg="mod">
          <ac:chgData name="Mikami, Maho" userId="50612f1b-df2d-47bb-8fdd-7ddedc83fc7e" providerId="ADAL" clId="{5CBE12F2-F3C8-4DCE-AD77-5EBD7EED8DBF}" dt="2024-03-24T07:09:35.949" v="5192"/>
          <ac:spMkLst>
            <pc:docMk/>
            <pc:sldMk cId="3951634490" sldId="2147378656"/>
            <ac:spMk id="97" creationId="{D170854C-E2F5-502B-CAD2-93C7D63FE6C1}"/>
          </ac:spMkLst>
        </pc:spChg>
        <pc:spChg chg="mod">
          <ac:chgData name="Mikami, Maho" userId="50612f1b-df2d-47bb-8fdd-7ddedc83fc7e" providerId="ADAL" clId="{5CBE12F2-F3C8-4DCE-AD77-5EBD7EED8DBF}" dt="2024-03-24T07:09:35.949" v="5192"/>
          <ac:spMkLst>
            <pc:docMk/>
            <pc:sldMk cId="3951634490" sldId="2147378656"/>
            <ac:spMk id="98" creationId="{78F172DE-89B2-E981-55E2-92A2D548EC4A}"/>
          </ac:spMkLst>
        </pc:spChg>
        <pc:spChg chg="mod">
          <ac:chgData name="Mikami, Maho" userId="50612f1b-df2d-47bb-8fdd-7ddedc83fc7e" providerId="ADAL" clId="{5CBE12F2-F3C8-4DCE-AD77-5EBD7EED8DBF}" dt="2024-03-24T07:09:35.949" v="5192"/>
          <ac:spMkLst>
            <pc:docMk/>
            <pc:sldMk cId="3951634490" sldId="2147378656"/>
            <ac:spMk id="179" creationId="{92EB8E11-CF98-6845-1EA5-565548819EF8}"/>
          </ac:spMkLst>
        </pc:spChg>
        <pc:spChg chg="mod">
          <ac:chgData name="Mikami, Maho" userId="50612f1b-df2d-47bb-8fdd-7ddedc83fc7e" providerId="ADAL" clId="{5CBE12F2-F3C8-4DCE-AD77-5EBD7EED8DBF}" dt="2024-03-24T07:09:35.949" v="5192"/>
          <ac:spMkLst>
            <pc:docMk/>
            <pc:sldMk cId="3951634490" sldId="2147378656"/>
            <ac:spMk id="180" creationId="{B63656EF-DFDD-EAFA-72C6-FE895D600877}"/>
          </ac:spMkLst>
        </pc:spChg>
        <pc:spChg chg="mod">
          <ac:chgData name="Mikami, Maho" userId="50612f1b-df2d-47bb-8fdd-7ddedc83fc7e" providerId="ADAL" clId="{5CBE12F2-F3C8-4DCE-AD77-5EBD7EED8DBF}" dt="2024-03-24T07:09:35.949" v="5192"/>
          <ac:spMkLst>
            <pc:docMk/>
            <pc:sldMk cId="3951634490" sldId="2147378656"/>
            <ac:spMk id="181" creationId="{C19578EA-9F00-6AC7-D25F-58F1360D56D9}"/>
          </ac:spMkLst>
        </pc:spChg>
        <pc:spChg chg="mod">
          <ac:chgData name="Mikami, Maho" userId="50612f1b-df2d-47bb-8fdd-7ddedc83fc7e" providerId="ADAL" clId="{5CBE12F2-F3C8-4DCE-AD77-5EBD7EED8DBF}" dt="2024-03-24T07:09:35.949" v="5192"/>
          <ac:spMkLst>
            <pc:docMk/>
            <pc:sldMk cId="3951634490" sldId="2147378656"/>
            <ac:spMk id="182" creationId="{DD870EE1-926E-AE22-956D-D0CC543F826D}"/>
          </ac:spMkLst>
        </pc:spChg>
        <pc:spChg chg="mod">
          <ac:chgData name="Mikami, Maho" userId="50612f1b-df2d-47bb-8fdd-7ddedc83fc7e" providerId="ADAL" clId="{5CBE12F2-F3C8-4DCE-AD77-5EBD7EED8DBF}" dt="2024-03-24T07:09:35.949" v="5192"/>
          <ac:spMkLst>
            <pc:docMk/>
            <pc:sldMk cId="3951634490" sldId="2147378656"/>
            <ac:spMk id="183" creationId="{BC1A8C55-F234-5C0E-D7FE-6256BAB4878C}"/>
          </ac:spMkLst>
        </pc:spChg>
        <pc:spChg chg="add mod">
          <ac:chgData name="Mikami, Maho" userId="50612f1b-df2d-47bb-8fdd-7ddedc83fc7e" providerId="ADAL" clId="{5CBE12F2-F3C8-4DCE-AD77-5EBD7EED8DBF}" dt="2024-03-24T07:31:06.412" v="6708"/>
          <ac:spMkLst>
            <pc:docMk/>
            <pc:sldMk cId="3951634490" sldId="2147378656"/>
            <ac:spMk id="184" creationId="{C871CBBD-DD04-92F1-70EC-CFCACF4429E5}"/>
          </ac:spMkLst>
        </pc:spChg>
        <pc:grpChg chg="add mod">
          <ac:chgData name="Mikami, Maho" userId="50612f1b-df2d-47bb-8fdd-7ddedc83fc7e" providerId="ADAL" clId="{5CBE12F2-F3C8-4DCE-AD77-5EBD7EED8DBF}" dt="2024-03-24T07:08:47.527" v="5091"/>
          <ac:grpSpMkLst>
            <pc:docMk/>
            <pc:sldMk cId="3951634490" sldId="2147378656"/>
            <ac:grpSpMk id="7" creationId="{8B0CE52F-7982-8D4C-08A5-A4C8373D303E}"/>
          </ac:grpSpMkLst>
        </pc:grpChg>
        <pc:grpChg chg="del">
          <ac:chgData name="Mikami, Maho" userId="50612f1b-df2d-47bb-8fdd-7ddedc83fc7e" providerId="ADAL" clId="{5CBE12F2-F3C8-4DCE-AD77-5EBD7EED8DBF}" dt="2024-03-24T07:08:39.045" v="5089" actId="478"/>
          <ac:grpSpMkLst>
            <pc:docMk/>
            <pc:sldMk cId="3951634490" sldId="2147378656"/>
            <ac:grpSpMk id="8" creationId="{4C91D19B-6878-5C9B-EC98-52BEFFD2B28D}"/>
          </ac:grpSpMkLst>
        </pc:grpChg>
        <pc:grpChg chg="del mod">
          <ac:chgData name="Mikami, Maho" userId="50612f1b-df2d-47bb-8fdd-7ddedc83fc7e" providerId="ADAL" clId="{5CBE12F2-F3C8-4DCE-AD77-5EBD7EED8DBF}" dt="2024-03-24T07:08:48.905" v="5092" actId="478"/>
          <ac:grpSpMkLst>
            <pc:docMk/>
            <pc:sldMk cId="3951634490" sldId="2147378656"/>
            <ac:grpSpMk id="9" creationId="{2F8E05D5-530D-1B40-FB20-6AD1DE6F8350}"/>
          </ac:grpSpMkLst>
        </pc:grpChg>
        <pc:grpChg chg="add mod">
          <ac:chgData name="Mikami, Maho" userId="50612f1b-df2d-47bb-8fdd-7ddedc83fc7e" providerId="ADAL" clId="{5CBE12F2-F3C8-4DCE-AD77-5EBD7EED8DBF}" dt="2024-03-24T07:09:47.845" v="5224"/>
          <ac:grpSpMkLst>
            <pc:docMk/>
            <pc:sldMk cId="3951634490" sldId="2147378656"/>
            <ac:grpSpMk id="19" creationId="{531FFA07-CD67-13A1-7C31-F3AEBB75109C}"/>
          </ac:grpSpMkLst>
        </pc:grpChg>
        <pc:grpChg chg="add mod ord">
          <ac:chgData name="Mikami, Maho" userId="50612f1b-df2d-47bb-8fdd-7ddedc83fc7e" providerId="ADAL" clId="{5CBE12F2-F3C8-4DCE-AD77-5EBD7EED8DBF}" dt="2024-03-24T07:09:47.845" v="5226"/>
          <ac:grpSpMkLst>
            <pc:docMk/>
            <pc:sldMk cId="3951634490" sldId="2147378656"/>
            <ac:grpSpMk id="26" creationId="{2A268C46-7CC1-1E7B-B4D8-3306515E1FE8}"/>
          </ac:grpSpMkLst>
        </pc:grpChg>
        <pc:grpChg chg="mod">
          <ac:chgData name="Mikami, Maho" userId="50612f1b-df2d-47bb-8fdd-7ddedc83fc7e" providerId="ADAL" clId="{5CBE12F2-F3C8-4DCE-AD77-5EBD7EED8DBF}" dt="2024-03-24T07:09:35.949" v="5192"/>
          <ac:grpSpMkLst>
            <pc:docMk/>
            <pc:sldMk cId="3951634490" sldId="2147378656"/>
            <ac:grpSpMk id="82" creationId="{64EAB550-CE72-0052-5C70-9F717A84C998}"/>
          </ac:grpSpMkLst>
        </pc:grpChg>
        <pc:grpChg chg="mod">
          <ac:chgData name="Mikami, Maho" userId="50612f1b-df2d-47bb-8fdd-7ddedc83fc7e" providerId="ADAL" clId="{5CBE12F2-F3C8-4DCE-AD77-5EBD7EED8DBF}" dt="2024-03-24T07:09:35.949" v="5192"/>
          <ac:grpSpMkLst>
            <pc:docMk/>
            <pc:sldMk cId="3951634490" sldId="2147378656"/>
            <ac:grpSpMk id="83" creationId="{CAC1018F-65C1-5496-06BC-C514EF9A4C0A}"/>
          </ac:grpSpMkLst>
        </pc:grpChg>
        <pc:grpChg chg="del mod">
          <ac:chgData name="Mikami, Maho" userId="50612f1b-df2d-47bb-8fdd-7ddedc83fc7e" providerId="ADAL" clId="{5CBE12F2-F3C8-4DCE-AD77-5EBD7EED8DBF}" dt="2024-03-24T07:09:35.659" v="5191" actId="478"/>
          <ac:grpSpMkLst>
            <pc:docMk/>
            <pc:sldMk cId="3951634490" sldId="2147378656"/>
            <ac:grpSpMk id="100" creationId="{3C2C579C-EF84-52EE-A2A7-31FF21F046A3}"/>
          </ac:grpSpMkLst>
        </pc:grpChg>
        <pc:graphicFrameChg chg="mod">
          <ac:chgData name="Mikami, Maho" userId="50612f1b-df2d-47bb-8fdd-7ddedc83fc7e" providerId="ADAL" clId="{5CBE12F2-F3C8-4DCE-AD77-5EBD7EED8DBF}" dt="2024-03-24T07:09:47.855" v="5232"/>
          <ac:graphicFrameMkLst>
            <pc:docMk/>
            <pc:sldMk cId="3951634490" sldId="2147378656"/>
            <ac:graphicFrameMk id="15" creationId="{497AAB72-542A-2E87-8010-C05BF225E53A}"/>
          </ac:graphicFrameMkLst>
        </pc:graphicFrameChg>
        <pc:cxnChg chg="mod">
          <ac:chgData name="Mikami, Maho" userId="50612f1b-df2d-47bb-8fdd-7ddedc83fc7e" providerId="ADAL" clId="{5CBE12F2-F3C8-4DCE-AD77-5EBD7EED8DBF}" dt="2024-03-24T07:08:43.961" v="5090" actId="14100"/>
          <ac:cxnSpMkLst>
            <pc:docMk/>
            <pc:sldMk cId="3951634490" sldId="2147378656"/>
            <ac:cxnSpMk id="11" creationId="{776D3046-FB6A-E52F-C885-17C6CC9AB992}"/>
          </ac:cxnSpMkLst>
        </pc:cxnChg>
        <pc:cxnChg chg="mod">
          <ac:chgData name="Mikami, Maho" userId="50612f1b-df2d-47bb-8fdd-7ddedc83fc7e" providerId="ADAL" clId="{5CBE12F2-F3C8-4DCE-AD77-5EBD7EED8DBF}" dt="2024-03-24T07:08:47.527" v="5091"/>
          <ac:cxnSpMkLst>
            <pc:docMk/>
            <pc:sldMk cId="3951634490" sldId="2147378656"/>
            <ac:cxnSpMk id="18" creationId="{5060BB38-8AA5-7108-171B-C62D2A85B674}"/>
          </ac:cxnSpMkLst>
        </pc:cxnChg>
        <pc:cxnChg chg="mod">
          <ac:chgData name="Mikami, Maho" userId="50612f1b-df2d-47bb-8fdd-7ddedc83fc7e" providerId="ADAL" clId="{5CBE12F2-F3C8-4DCE-AD77-5EBD7EED8DBF}" dt="2024-03-24T07:08:49.152" v="5093"/>
          <ac:cxnSpMkLst>
            <pc:docMk/>
            <pc:sldMk cId="3951634490" sldId="2147378656"/>
            <ac:cxnSpMk id="21" creationId="{C3408D4A-33CD-AA5E-9E71-BEF28C1226B7}"/>
          </ac:cxnSpMkLst>
        </pc:cxnChg>
        <pc:cxnChg chg="mod">
          <ac:chgData name="Mikami, Maho" userId="50612f1b-df2d-47bb-8fdd-7ddedc83fc7e" providerId="ADAL" clId="{5CBE12F2-F3C8-4DCE-AD77-5EBD7EED8DBF}" dt="2024-03-24T07:09:35.949" v="5192"/>
          <ac:cxnSpMkLst>
            <pc:docMk/>
            <pc:sldMk cId="3951634490" sldId="2147378656"/>
            <ac:cxnSpMk id="38" creationId="{A46AC16B-740D-BCB6-665F-39269259F4FD}"/>
          </ac:cxnSpMkLst>
        </pc:cxnChg>
        <pc:cxnChg chg="mod">
          <ac:chgData name="Mikami, Maho" userId="50612f1b-df2d-47bb-8fdd-7ddedc83fc7e" providerId="ADAL" clId="{5CBE12F2-F3C8-4DCE-AD77-5EBD7EED8DBF}" dt="2024-03-24T07:09:35.949" v="5192"/>
          <ac:cxnSpMkLst>
            <pc:docMk/>
            <pc:sldMk cId="3951634490" sldId="2147378656"/>
            <ac:cxnSpMk id="40" creationId="{27642D03-9A1B-6B2E-7867-0B27B19474C5}"/>
          </ac:cxnSpMkLst>
        </pc:cxnChg>
        <pc:cxnChg chg="mod">
          <ac:chgData name="Mikami, Maho" userId="50612f1b-df2d-47bb-8fdd-7ddedc83fc7e" providerId="ADAL" clId="{5CBE12F2-F3C8-4DCE-AD77-5EBD7EED8DBF}" dt="2024-03-24T07:09:35.949" v="5192"/>
          <ac:cxnSpMkLst>
            <pc:docMk/>
            <pc:sldMk cId="3951634490" sldId="2147378656"/>
            <ac:cxnSpMk id="41" creationId="{432587BF-B822-DD2D-3358-F5A30FC0DB44}"/>
          </ac:cxnSpMkLst>
        </pc:cxnChg>
        <pc:cxnChg chg="mod">
          <ac:chgData name="Mikami, Maho" userId="50612f1b-df2d-47bb-8fdd-7ddedc83fc7e" providerId="ADAL" clId="{5CBE12F2-F3C8-4DCE-AD77-5EBD7EED8DBF}" dt="2024-03-24T07:09:35.949" v="5192"/>
          <ac:cxnSpMkLst>
            <pc:docMk/>
            <pc:sldMk cId="3951634490" sldId="2147378656"/>
            <ac:cxnSpMk id="42" creationId="{D1773E93-6F76-6478-930B-64936732197D}"/>
          </ac:cxnSpMkLst>
        </pc:cxnChg>
        <pc:cxnChg chg="mod">
          <ac:chgData name="Mikami, Maho" userId="50612f1b-df2d-47bb-8fdd-7ddedc83fc7e" providerId="ADAL" clId="{5CBE12F2-F3C8-4DCE-AD77-5EBD7EED8DBF}" dt="2024-03-24T07:09:35.949" v="5192"/>
          <ac:cxnSpMkLst>
            <pc:docMk/>
            <pc:sldMk cId="3951634490" sldId="2147378656"/>
            <ac:cxnSpMk id="53" creationId="{3043CD6D-1236-4FC1-02F1-B88E99439BD7}"/>
          </ac:cxnSpMkLst>
        </pc:cxnChg>
        <pc:cxnChg chg="mod">
          <ac:chgData name="Mikami, Maho" userId="50612f1b-df2d-47bb-8fdd-7ddedc83fc7e" providerId="ADAL" clId="{5CBE12F2-F3C8-4DCE-AD77-5EBD7EED8DBF}" dt="2024-03-24T07:09:35.949" v="5192"/>
          <ac:cxnSpMkLst>
            <pc:docMk/>
            <pc:sldMk cId="3951634490" sldId="2147378656"/>
            <ac:cxnSpMk id="54" creationId="{6518D55F-A0E8-FEE7-37EC-1064A8AC7208}"/>
          </ac:cxnSpMkLst>
        </pc:cxnChg>
        <pc:cxnChg chg="mod">
          <ac:chgData name="Mikami, Maho" userId="50612f1b-df2d-47bb-8fdd-7ddedc83fc7e" providerId="ADAL" clId="{5CBE12F2-F3C8-4DCE-AD77-5EBD7EED8DBF}" dt="2024-03-24T07:09:35.949" v="5192"/>
          <ac:cxnSpMkLst>
            <pc:docMk/>
            <pc:sldMk cId="3951634490" sldId="2147378656"/>
            <ac:cxnSpMk id="55" creationId="{3132F686-2EC5-638E-93EF-6B9CCD3118F6}"/>
          </ac:cxnSpMkLst>
        </pc:cxnChg>
        <pc:cxnChg chg="mod">
          <ac:chgData name="Mikami, Maho" userId="50612f1b-df2d-47bb-8fdd-7ddedc83fc7e" providerId="ADAL" clId="{5CBE12F2-F3C8-4DCE-AD77-5EBD7EED8DBF}" dt="2024-03-24T07:09:35.949" v="5192"/>
          <ac:cxnSpMkLst>
            <pc:docMk/>
            <pc:sldMk cId="3951634490" sldId="2147378656"/>
            <ac:cxnSpMk id="59" creationId="{B71D87FE-5DF6-B386-0F5A-843DA8305802}"/>
          </ac:cxnSpMkLst>
        </pc:cxnChg>
        <pc:cxnChg chg="mod">
          <ac:chgData name="Mikami, Maho" userId="50612f1b-df2d-47bb-8fdd-7ddedc83fc7e" providerId="ADAL" clId="{5CBE12F2-F3C8-4DCE-AD77-5EBD7EED8DBF}" dt="2024-03-24T07:09:35.949" v="5192"/>
          <ac:cxnSpMkLst>
            <pc:docMk/>
            <pc:sldMk cId="3951634490" sldId="2147378656"/>
            <ac:cxnSpMk id="61" creationId="{7E8AEF8A-15CB-9E9E-5547-13F82DF6BD31}"/>
          </ac:cxnSpMkLst>
        </pc:cxnChg>
        <pc:cxnChg chg="mod">
          <ac:chgData name="Mikami, Maho" userId="50612f1b-df2d-47bb-8fdd-7ddedc83fc7e" providerId="ADAL" clId="{5CBE12F2-F3C8-4DCE-AD77-5EBD7EED8DBF}" dt="2024-03-24T07:09:35.949" v="5192"/>
          <ac:cxnSpMkLst>
            <pc:docMk/>
            <pc:sldMk cId="3951634490" sldId="2147378656"/>
            <ac:cxnSpMk id="66" creationId="{646798A6-A9EC-2986-1AAC-6CDF5FDE565D}"/>
          </ac:cxnSpMkLst>
        </pc:cxnChg>
        <pc:cxnChg chg="mod">
          <ac:chgData name="Mikami, Maho" userId="50612f1b-df2d-47bb-8fdd-7ddedc83fc7e" providerId="ADAL" clId="{5CBE12F2-F3C8-4DCE-AD77-5EBD7EED8DBF}" dt="2024-03-24T07:09:35.949" v="5192"/>
          <ac:cxnSpMkLst>
            <pc:docMk/>
            <pc:sldMk cId="3951634490" sldId="2147378656"/>
            <ac:cxnSpMk id="67" creationId="{DBB52986-355E-AFC5-8181-CAE6418BCF3B}"/>
          </ac:cxnSpMkLst>
        </pc:cxnChg>
        <pc:cxnChg chg="mod">
          <ac:chgData name="Mikami, Maho" userId="50612f1b-df2d-47bb-8fdd-7ddedc83fc7e" providerId="ADAL" clId="{5CBE12F2-F3C8-4DCE-AD77-5EBD7EED8DBF}" dt="2024-03-24T07:09:35.949" v="5192"/>
          <ac:cxnSpMkLst>
            <pc:docMk/>
            <pc:sldMk cId="3951634490" sldId="2147378656"/>
            <ac:cxnSpMk id="68" creationId="{DA13DE7E-935D-A1E9-0F54-1DE0A4EE725D}"/>
          </ac:cxnSpMkLst>
        </pc:cxnChg>
        <pc:cxnChg chg="mod">
          <ac:chgData name="Mikami, Maho" userId="50612f1b-df2d-47bb-8fdd-7ddedc83fc7e" providerId="ADAL" clId="{5CBE12F2-F3C8-4DCE-AD77-5EBD7EED8DBF}" dt="2024-03-24T07:09:35.949" v="5192"/>
          <ac:cxnSpMkLst>
            <pc:docMk/>
            <pc:sldMk cId="3951634490" sldId="2147378656"/>
            <ac:cxnSpMk id="69" creationId="{B8F213A3-F36B-331A-E7BE-3F543D34252B}"/>
          </ac:cxnSpMkLst>
        </pc:cxnChg>
        <pc:cxnChg chg="mod">
          <ac:chgData name="Mikami, Maho" userId="50612f1b-df2d-47bb-8fdd-7ddedc83fc7e" providerId="ADAL" clId="{5CBE12F2-F3C8-4DCE-AD77-5EBD7EED8DBF}" dt="2024-03-24T07:09:35.949" v="5192"/>
          <ac:cxnSpMkLst>
            <pc:docMk/>
            <pc:sldMk cId="3951634490" sldId="2147378656"/>
            <ac:cxnSpMk id="70" creationId="{3325AB34-CE4B-0818-4E52-577F14382E2A}"/>
          </ac:cxnSpMkLst>
        </pc:cxnChg>
        <pc:cxnChg chg="mod">
          <ac:chgData name="Mikami, Maho" userId="50612f1b-df2d-47bb-8fdd-7ddedc83fc7e" providerId="ADAL" clId="{5CBE12F2-F3C8-4DCE-AD77-5EBD7EED8DBF}" dt="2024-03-24T07:09:35.949" v="5192"/>
          <ac:cxnSpMkLst>
            <pc:docMk/>
            <pc:sldMk cId="3951634490" sldId="2147378656"/>
            <ac:cxnSpMk id="71" creationId="{4E3FE32A-6743-C9E3-6FCA-165B0D9C1788}"/>
          </ac:cxnSpMkLst>
        </pc:cxnChg>
        <pc:cxnChg chg="mod">
          <ac:chgData name="Mikami, Maho" userId="50612f1b-df2d-47bb-8fdd-7ddedc83fc7e" providerId="ADAL" clId="{5CBE12F2-F3C8-4DCE-AD77-5EBD7EED8DBF}" dt="2024-03-24T07:09:35.949" v="5192"/>
          <ac:cxnSpMkLst>
            <pc:docMk/>
            <pc:sldMk cId="3951634490" sldId="2147378656"/>
            <ac:cxnSpMk id="73" creationId="{080B3C99-B7DB-F548-5108-0940C032D1F6}"/>
          </ac:cxnSpMkLst>
        </pc:cxnChg>
        <pc:cxnChg chg="mod">
          <ac:chgData name="Mikami, Maho" userId="50612f1b-df2d-47bb-8fdd-7ddedc83fc7e" providerId="ADAL" clId="{5CBE12F2-F3C8-4DCE-AD77-5EBD7EED8DBF}" dt="2024-03-24T07:09:35.949" v="5192"/>
          <ac:cxnSpMkLst>
            <pc:docMk/>
            <pc:sldMk cId="3951634490" sldId="2147378656"/>
            <ac:cxnSpMk id="74" creationId="{44A98B03-184F-C43E-9E4F-01D9306C3E25}"/>
          </ac:cxnSpMkLst>
        </pc:cxnChg>
        <pc:cxnChg chg="mod">
          <ac:chgData name="Mikami, Maho" userId="50612f1b-df2d-47bb-8fdd-7ddedc83fc7e" providerId="ADAL" clId="{5CBE12F2-F3C8-4DCE-AD77-5EBD7EED8DBF}" dt="2024-03-24T07:09:35.949" v="5192"/>
          <ac:cxnSpMkLst>
            <pc:docMk/>
            <pc:sldMk cId="3951634490" sldId="2147378656"/>
            <ac:cxnSpMk id="77" creationId="{6B63EFF2-A85A-26EF-DC4A-122DAB553BE8}"/>
          </ac:cxnSpMkLst>
        </pc:cxnChg>
        <pc:cxnChg chg="mod">
          <ac:chgData name="Mikami, Maho" userId="50612f1b-df2d-47bb-8fdd-7ddedc83fc7e" providerId="ADAL" clId="{5CBE12F2-F3C8-4DCE-AD77-5EBD7EED8DBF}" dt="2024-03-24T07:09:35.949" v="5192"/>
          <ac:cxnSpMkLst>
            <pc:docMk/>
            <pc:sldMk cId="3951634490" sldId="2147378656"/>
            <ac:cxnSpMk id="78" creationId="{3EDB85E2-277C-4AC6-8D17-DDEEFE3861AF}"/>
          </ac:cxnSpMkLst>
        </pc:cxnChg>
        <pc:cxnChg chg="mod">
          <ac:chgData name="Mikami, Maho" userId="50612f1b-df2d-47bb-8fdd-7ddedc83fc7e" providerId="ADAL" clId="{5CBE12F2-F3C8-4DCE-AD77-5EBD7EED8DBF}" dt="2024-03-24T07:09:35.949" v="5192"/>
          <ac:cxnSpMkLst>
            <pc:docMk/>
            <pc:sldMk cId="3951634490" sldId="2147378656"/>
            <ac:cxnSpMk id="84" creationId="{3FC44261-846E-82FE-095A-7092DC1BFBAE}"/>
          </ac:cxnSpMkLst>
        </pc:cxnChg>
        <pc:cxnChg chg="mod">
          <ac:chgData name="Mikami, Maho" userId="50612f1b-df2d-47bb-8fdd-7ddedc83fc7e" providerId="ADAL" clId="{5CBE12F2-F3C8-4DCE-AD77-5EBD7EED8DBF}" dt="2024-03-24T07:09:35.949" v="5192"/>
          <ac:cxnSpMkLst>
            <pc:docMk/>
            <pc:sldMk cId="3951634490" sldId="2147378656"/>
            <ac:cxnSpMk id="85" creationId="{8FE4B113-03B8-62AA-2138-D501424F3DD1}"/>
          </ac:cxnSpMkLst>
        </pc:cxnChg>
        <pc:cxnChg chg="mod">
          <ac:chgData name="Mikami, Maho" userId="50612f1b-df2d-47bb-8fdd-7ddedc83fc7e" providerId="ADAL" clId="{5CBE12F2-F3C8-4DCE-AD77-5EBD7EED8DBF}" dt="2024-03-24T07:09:35.949" v="5192"/>
          <ac:cxnSpMkLst>
            <pc:docMk/>
            <pc:sldMk cId="3951634490" sldId="2147378656"/>
            <ac:cxnSpMk id="86" creationId="{469AAB49-8A30-1A7C-B3DD-0362C2A42850}"/>
          </ac:cxnSpMkLst>
        </pc:cxnChg>
        <pc:cxnChg chg="mod">
          <ac:chgData name="Mikami, Maho" userId="50612f1b-df2d-47bb-8fdd-7ddedc83fc7e" providerId="ADAL" clId="{5CBE12F2-F3C8-4DCE-AD77-5EBD7EED8DBF}" dt="2024-03-24T07:09:35.949" v="5192"/>
          <ac:cxnSpMkLst>
            <pc:docMk/>
            <pc:sldMk cId="3951634490" sldId="2147378656"/>
            <ac:cxnSpMk id="87" creationId="{132DE9F0-92F6-D2A0-9CC3-AA170A26F7DD}"/>
          </ac:cxnSpMkLst>
        </pc:cxnChg>
        <pc:cxnChg chg="mod">
          <ac:chgData name="Mikami, Maho" userId="50612f1b-df2d-47bb-8fdd-7ddedc83fc7e" providerId="ADAL" clId="{5CBE12F2-F3C8-4DCE-AD77-5EBD7EED8DBF}" dt="2024-03-24T07:09:35.949" v="5192"/>
          <ac:cxnSpMkLst>
            <pc:docMk/>
            <pc:sldMk cId="3951634490" sldId="2147378656"/>
            <ac:cxnSpMk id="88" creationId="{210A4FCE-F3DD-9407-338B-2121E756D46A}"/>
          </ac:cxnSpMkLst>
        </pc:cxnChg>
        <pc:cxnChg chg="mod">
          <ac:chgData name="Mikami, Maho" userId="50612f1b-df2d-47bb-8fdd-7ddedc83fc7e" providerId="ADAL" clId="{5CBE12F2-F3C8-4DCE-AD77-5EBD7EED8DBF}" dt="2024-03-24T07:09:35.949" v="5192"/>
          <ac:cxnSpMkLst>
            <pc:docMk/>
            <pc:sldMk cId="3951634490" sldId="2147378656"/>
            <ac:cxnSpMk id="91" creationId="{D8B69989-CBF5-5A4A-88AE-6EC78F982456}"/>
          </ac:cxnSpMkLst>
        </pc:cxnChg>
        <pc:cxnChg chg="mod">
          <ac:chgData name="Mikami, Maho" userId="50612f1b-df2d-47bb-8fdd-7ddedc83fc7e" providerId="ADAL" clId="{5CBE12F2-F3C8-4DCE-AD77-5EBD7EED8DBF}" dt="2024-03-24T07:09:35.949" v="5192"/>
          <ac:cxnSpMkLst>
            <pc:docMk/>
            <pc:sldMk cId="3951634490" sldId="2147378656"/>
            <ac:cxnSpMk id="99" creationId="{27EFB939-FCA2-B352-C890-BAE4701310C9}"/>
          </ac:cxnSpMkLst>
        </pc:cxnChg>
        <pc:cxnChg chg="mod">
          <ac:chgData name="Mikami, Maho" userId="50612f1b-df2d-47bb-8fdd-7ddedc83fc7e" providerId="ADAL" clId="{5CBE12F2-F3C8-4DCE-AD77-5EBD7EED8DBF}" dt="2024-03-24T07:09:35.659" v="5191" actId="478"/>
          <ac:cxnSpMkLst>
            <pc:docMk/>
            <pc:sldMk cId="3951634490" sldId="2147378656"/>
            <ac:cxnSpMk id="112" creationId="{0F67F629-9F8F-28BB-33D1-42CA13F00F71}"/>
          </ac:cxnSpMkLst>
        </pc:cxnChg>
        <pc:cxnChg chg="mod">
          <ac:chgData name="Mikami, Maho" userId="50612f1b-df2d-47bb-8fdd-7ddedc83fc7e" providerId="ADAL" clId="{5CBE12F2-F3C8-4DCE-AD77-5EBD7EED8DBF}" dt="2024-03-24T07:09:35.659" v="5191" actId="478"/>
          <ac:cxnSpMkLst>
            <pc:docMk/>
            <pc:sldMk cId="3951634490" sldId="2147378656"/>
            <ac:cxnSpMk id="114" creationId="{4C0226DF-ABFD-1899-EDAE-642E8EAC593F}"/>
          </ac:cxnSpMkLst>
        </pc:cxnChg>
        <pc:cxnChg chg="mod">
          <ac:chgData name="Mikami, Maho" userId="50612f1b-df2d-47bb-8fdd-7ddedc83fc7e" providerId="ADAL" clId="{5CBE12F2-F3C8-4DCE-AD77-5EBD7EED8DBF}" dt="2024-03-24T07:09:35.659" v="5191" actId="478"/>
          <ac:cxnSpMkLst>
            <pc:docMk/>
            <pc:sldMk cId="3951634490" sldId="2147378656"/>
            <ac:cxnSpMk id="115" creationId="{327623DB-8BB9-2476-C56F-B9CA1FCBDDB5}"/>
          </ac:cxnSpMkLst>
        </pc:cxnChg>
        <pc:cxnChg chg="mod">
          <ac:chgData name="Mikami, Maho" userId="50612f1b-df2d-47bb-8fdd-7ddedc83fc7e" providerId="ADAL" clId="{5CBE12F2-F3C8-4DCE-AD77-5EBD7EED8DBF}" dt="2024-03-24T07:09:35.659" v="5191" actId="478"/>
          <ac:cxnSpMkLst>
            <pc:docMk/>
            <pc:sldMk cId="3951634490" sldId="2147378656"/>
            <ac:cxnSpMk id="116" creationId="{32370B6C-77F1-BCD5-DCB6-D8FFC20E5059}"/>
          </ac:cxnSpMkLst>
        </pc:cxnChg>
        <pc:cxnChg chg="mod">
          <ac:chgData name="Mikami, Maho" userId="50612f1b-df2d-47bb-8fdd-7ddedc83fc7e" providerId="ADAL" clId="{5CBE12F2-F3C8-4DCE-AD77-5EBD7EED8DBF}" dt="2024-03-24T07:09:35.659" v="5191" actId="478"/>
          <ac:cxnSpMkLst>
            <pc:docMk/>
            <pc:sldMk cId="3951634490" sldId="2147378656"/>
            <ac:cxnSpMk id="127" creationId="{5BB1FE41-F439-1E9A-046C-4275DF01D8A6}"/>
          </ac:cxnSpMkLst>
        </pc:cxnChg>
        <pc:cxnChg chg="mod">
          <ac:chgData name="Mikami, Maho" userId="50612f1b-df2d-47bb-8fdd-7ddedc83fc7e" providerId="ADAL" clId="{5CBE12F2-F3C8-4DCE-AD77-5EBD7EED8DBF}" dt="2024-03-24T07:09:35.659" v="5191" actId="478"/>
          <ac:cxnSpMkLst>
            <pc:docMk/>
            <pc:sldMk cId="3951634490" sldId="2147378656"/>
            <ac:cxnSpMk id="128" creationId="{464C7858-59AE-DBEA-AA58-240844ACD8DA}"/>
          </ac:cxnSpMkLst>
        </pc:cxnChg>
        <pc:cxnChg chg="mod">
          <ac:chgData name="Mikami, Maho" userId="50612f1b-df2d-47bb-8fdd-7ddedc83fc7e" providerId="ADAL" clId="{5CBE12F2-F3C8-4DCE-AD77-5EBD7EED8DBF}" dt="2024-03-24T07:09:35.659" v="5191" actId="478"/>
          <ac:cxnSpMkLst>
            <pc:docMk/>
            <pc:sldMk cId="3951634490" sldId="2147378656"/>
            <ac:cxnSpMk id="129" creationId="{1E1EAFE8-067D-CFBD-2B29-8B95DB444FEA}"/>
          </ac:cxnSpMkLst>
        </pc:cxnChg>
        <pc:cxnChg chg="mod">
          <ac:chgData name="Mikami, Maho" userId="50612f1b-df2d-47bb-8fdd-7ddedc83fc7e" providerId="ADAL" clId="{5CBE12F2-F3C8-4DCE-AD77-5EBD7EED8DBF}" dt="2024-03-24T07:09:35.659" v="5191" actId="478"/>
          <ac:cxnSpMkLst>
            <pc:docMk/>
            <pc:sldMk cId="3951634490" sldId="2147378656"/>
            <ac:cxnSpMk id="133" creationId="{0358801D-1B0B-8E97-7925-1EF2B6B903F5}"/>
          </ac:cxnSpMkLst>
        </pc:cxnChg>
        <pc:cxnChg chg="mod">
          <ac:chgData name="Mikami, Maho" userId="50612f1b-df2d-47bb-8fdd-7ddedc83fc7e" providerId="ADAL" clId="{5CBE12F2-F3C8-4DCE-AD77-5EBD7EED8DBF}" dt="2024-03-24T07:09:35.659" v="5191" actId="478"/>
          <ac:cxnSpMkLst>
            <pc:docMk/>
            <pc:sldMk cId="3951634490" sldId="2147378656"/>
            <ac:cxnSpMk id="135" creationId="{F88AC785-ED08-A13A-E004-D3BD7551E3BD}"/>
          </ac:cxnSpMkLst>
        </pc:cxnChg>
        <pc:cxnChg chg="mod">
          <ac:chgData name="Mikami, Maho" userId="50612f1b-df2d-47bb-8fdd-7ddedc83fc7e" providerId="ADAL" clId="{5CBE12F2-F3C8-4DCE-AD77-5EBD7EED8DBF}" dt="2024-03-24T07:09:35.659" v="5191" actId="478"/>
          <ac:cxnSpMkLst>
            <pc:docMk/>
            <pc:sldMk cId="3951634490" sldId="2147378656"/>
            <ac:cxnSpMk id="140" creationId="{18A59383-C3A3-9506-97FD-3AB4EADCC35C}"/>
          </ac:cxnSpMkLst>
        </pc:cxnChg>
        <pc:cxnChg chg="mod">
          <ac:chgData name="Mikami, Maho" userId="50612f1b-df2d-47bb-8fdd-7ddedc83fc7e" providerId="ADAL" clId="{5CBE12F2-F3C8-4DCE-AD77-5EBD7EED8DBF}" dt="2024-03-24T07:09:35.659" v="5191" actId="478"/>
          <ac:cxnSpMkLst>
            <pc:docMk/>
            <pc:sldMk cId="3951634490" sldId="2147378656"/>
            <ac:cxnSpMk id="141" creationId="{FD8445C2-6082-89D3-F0D7-0B04B2F426E1}"/>
          </ac:cxnSpMkLst>
        </pc:cxnChg>
        <pc:cxnChg chg="mod">
          <ac:chgData name="Mikami, Maho" userId="50612f1b-df2d-47bb-8fdd-7ddedc83fc7e" providerId="ADAL" clId="{5CBE12F2-F3C8-4DCE-AD77-5EBD7EED8DBF}" dt="2024-03-24T07:09:35.659" v="5191" actId="478"/>
          <ac:cxnSpMkLst>
            <pc:docMk/>
            <pc:sldMk cId="3951634490" sldId="2147378656"/>
            <ac:cxnSpMk id="142" creationId="{E56F7142-3D44-9E40-28EF-2661B6E81EA6}"/>
          </ac:cxnSpMkLst>
        </pc:cxnChg>
        <pc:cxnChg chg="mod">
          <ac:chgData name="Mikami, Maho" userId="50612f1b-df2d-47bb-8fdd-7ddedc83fc7e" providerId="ADAL" clId="{5CBE12F2-F3C8-4DCE-AD77-5EBD7EED8DBF}" dt="2024-03-24T07:09:35.659" v="5191" actId="478"/>
          <ac:cxnSpMkLst>
            <pc:docMk/>
            <pc:sldMk cId="3951634490" sldId="2147378656"/>
            <ac:cxnSpMk id="143" creationId="{6955C92D-F6AB-7F91-93A6-DA2422861AE7}"/>
          </ac:cxnSpMkLst>
        </pc:cxnChg>
        <pc:cxnChg chg="mod">
          <ac:chgData name="Mikami, Maho" userId="50612f1b-df2d-47bb-8fdd-7ddedc83fc7e" providerId="ADAL" clId="{5CBE12F2-F3C8-4DCE-AD77-5EBD7EED8DBF}" dt="2024-03-24T07:09:35.659" v="5191" actId="478"/>
          <ac:cxnSpMkLst>
            <pc:docMk/>
            <pc:sldMk cId="3951634490" sldId="2147378656"/>
            <ac:cxnSpMk id="144" creationId="{DEE2D119-DB86-73F7-DFC2-EC83EF6A9BD8}"/>
          </ac:cxnSpMkLst>
        </pc:cxnChg>
        <pc:cxnChg chg="mod">
          <ac:chgData name="Mikami, Maho" userId="50612f1b-df2d-47bb-8fdd-7ddedc83fc7e" providerId="ADAL" clId="{5CBE12F2-F3C8-4DCE-AD77-5EBD7EED8DBF}" dt="2024-03-24T07:09:35.659" v="5191" actId="478"/>
          <ac:cxnSpMkLst>
            <pc:docMk/>
            <pc:sldMk cId="3951634490" sldId="2147378656"/>
            <ac:cxnSpMk id="145" creationId="{2A87E2CB-662F-461F-DD22-21E52B11690B}"/>
          </ac:cxnSpMkLst>
        </pc:cxnChg>
        <pc:cxnChg chg="mod">
          <ac:chgData name="Mikami, Maho" userId="50612f1b-df2d-47bb-8fdd-7ddedc83fc7e" providerId="ADAL" clId="{5CBE12F2-F3C8-4DCE-AD77-5EBD7EED8DBF}" dt="2024-03-24T07:09:35.659" v="5191" actId="478"/>
          <ac:cxnSpMkLst>
            <pc:docMk/>
            <pc:sldMk cId="3951634490" sldId="2147378656"/>
            <ac:cxnSpMk id="147" creationId="{767CCADA-B015-13E3-A3E7-D94DA637D967}"/>
          </ac:cxnSpMkLst>
        </pc:cxnChg>
        <pc:cxnChg chg="mod">
          <ac:chgData name="Mikami, Maho" userId="50612f1b-df2d-47bb-8fdd-7ddedc83fc7e" providerId="ADAL" clId="{5CBE12F2-F3C8-4DCE-AD77-5EBD7EED8DBF}" dt="2024-03-24T07:09:35.659" v="5191" actId="478"/>
          <ac:cxnSpMkLst>
            <pc:docMk/>
            <pc:sldMk cId="3951634490" sldId="2147378656"/>
            <ac:cxnSpMk id="148" creationId="{C70CEA9E-4A96-855C-B2C7-A7EC47BA1D6E}"/>
          </ac:cxnSpMkLst>
        </pc:cxnChg>
        <pc:cxnChg chg="mod">
          <ac:chgData name="Mikami, Maho" userId="50612f1b-df2d-47bb-8fdd-7ddedc83fc7e" providerId="ADAL" clId="{5CBE12F2-F3C8-4DCE-AD77-5EBD7EED8DBF}" dt="2024-03-24T07:09:35.659" v="5191" actId="478"/>
          <ac:cxnSpMkLst>
            <pc:docMk/>
            <pc:sldMk cId="3951634490" sldId="2147378656"/>
            <ac:cxnSpMk id="151" creationId="{4ABAF1AA-9396-E5E8-920E-14E56F393464}"/>
          </ac:cxnSpMkLst>
        </pc:cxnChg>
        <pc:cxnChg chg="mod">
          <ac:chgData name="Mikami, Maho" userId="50612f1b-df2d-47bb-8fdd-7ddedc83fc7e" providerId="ADAL" clId="{5CBE12F2-F3C8-4DCE-AD77-5EBD7EED8DBF}" dt="2024-03-24T07:09:35.659" v="5191" actId="478"/>
          <ac:cxnSpMkLst>
            <pc:docMk/>
            <pc:sldMk cId="3951634490" sldId="2147378656"/>
            <ac:cxnSpMk id="152" creationId="{0755D905-C564-AE4C-A517-F14FB09CDA80}"/>
          </ac:cxnSpMkLst>
        </pc:cxnChg>
        <pc:cxnChg chg="mod">
          <ac:chgData name="Mikami, Maho" userId="50612f1b-df2d-47bb-8fdd-7ddedc83fc7e" providerId="ADAL" clId="{5CBE12F2-F3C8-4DCE-AD77-5EBD7EED8DBF}" dt="2024-03-24T07:09:35.659" v="5191" actId="478"/>
          <ac:cxnSpMkLst>
            <pc:docMk/>
            <pc:sldMk cId="3951634490" sldId="2147378656"/>
            <ac:cxnSpMk id="158" creationId="{3D473A2E-9F10-FB82-DEAC-8F93AB210DA6}"/>
          </ac:cxnSpMkLst>
        </pc:cxnChg>
        <pc:cxnChg chg="mod">
          <ac:chgData name="Mikami, Maho" userId="50612f1b-df2d-47bb-8fdd-7ddedc83fc7e" providerId="ADAL" clId="{5CBE12F2-F3C8-4DCE-AD77-5EBD7EED8DBF}" dt="2024-03-24T07:09:35.659" v="5191" actId="478"/>
          <ac:cxnSpMkLst>
            <pc:docMk/>
            <pc:sldMk cId="3951634490" sldId="2147378656"/>
            <ac:cxnSpMk id="159" creationId="{BA927C1C-F26F-B06D-84E1-0918E6961409}"/>
          </ac:cxnSpMkLst>
        </pc:cxnChg>
        <pc:cxnChg chg="mod">
          <ac:chgData name="Mikami, Maho" userId="50612f1b-df2d-47bb-8fdd-7ddedc83fc7e" providerId="ADAL" clId="{5CBE12F2-F3C8-4DCE-AD77-5EBD7EED8DBF}" dt="2024-03-24T07:09:35.659" v="5191" actId="478"/>
          <ac:cxnSpMkLst>
            <pc:docMk/>
            <pc:sldMk cId="3951634490" sldId="2147378656"/>
            <ac:cxnSpMk id="160" creationId="{71C8D810-E1EC-444B-9EDB-5B6379DE0F34}"/>
          </ac:cxnSpMkLst>
        </pc:cxnChg>
        <pc:cxnChg chg="mod">
          <ac:chgData name="Mikami, Maho" userId="50612f1b-df2d-47bb-8fdd-7ddedc83fc7e" providerId="ADAL" clId="{5CBE12F2-F3C8-4DCE-AD77-5EBD7EED8DBF}" dt="2024-03-24T07:09:35.659" v="5191" actId="478"/>
          <ac:cxnSpMkLst>
            <pc:docMk/>
            <pc:sldMk cId="3951634490" sldId="2147378656"/>
            <ac:cxnSpMk id="161" creationId="{74EDB77A-5059-F50A-AF78-3C1237232ABF}"/>
          </ac:cxnSpMkLst>
        </pc:cxnChg>
        <pc:cxnChg chg="mod">
          <ac:chgData name="Mikami, Maho" userId="50612f1b-df2d-47bb-8fdd-7ddedc83fc7e" providerId="ADAL" clId="{5CBE12F2-F3C8-4DCE-AD77-5EBD7EED8DBF}" dt="2024-03-24T07:09:35.659" v="5191" actId="478"/>
          <ac:cxnSpMkLst>
            <pc:docMk/>
            <pc:sldMk cId="3951634490" sldId="2147378656"/>
            <ac:cxnSpMk id="162" creationId="{CCBE14F6-1B60-F177-F682-D3FBEA3D5093}"/>
          </ac:cxnSpMkLst>
        </pc:cxnChg>
        <pc:cxnChg chg="mod">
          <ac:chgData name="Mikami, Maho" userId="50612f1b-df2d-47bb-8fdd-7ddedc83fc7e" providerId="ADAL" clId="{5CBE12F2-F3C8-4DCE-AD77-5EBD7EED8DBF}" dt="2024-03-24T07:09:35.659" v="5191" actId="478"/>
          <ac:cxnSpMkLst>
            <pc:docMk/>
            <pc:sldMk cId="3951634490" sldId="2147378656"/>
            <ac:cxnSpMk id="165" creationId="{8468F8EA-90B6-332B-6916-E4B62F0FBF20}"/>
          </ac:cxnSpMkLst>
        </pc:cxnChg>
      </pc:sldChg>
      <pc:sldMasterChg chg="addSp delSp modSp del mod delSldLayout">
        <pc:chgData name="Mikami, Maho" userId="50612f1b-df2d-47bb-8fdd-7ddedc83fc7e" providerId="ADAL" clId="{5CBE12F2-F3C8-4DCE-AD77-5EBD7EED8DBF}" dt="2024-03-24T06:28:39.548" v="4353" actId="47"/>
        <pc:sldMasterMkLst>
          <pc:docMk/>
          <pc:sldMasterMk cId="2847476743" sldId="2147483808"/>
        </pc:sldMasterMkLst>
        <pc:spChg chg="mod">
          <ac:chgData name="Mikami, Maho" userId="50612f1b-df2d-47bb-8fdd-7ddedc83fc7e" providerId="ADAL" clId="{5CBE12F2-F3C8-4DCE-AD77-5EBD7EED8DBF}" dt="2024-03-24T06:28:26.055" v="4290" actId="948"/>
          <ac:spMkLst>
            <pc:docMk/>
            <pc:sldMasterMk cId="2847476743" sldId="2147483808"/>
            <ac:spMk id="2" creationId="{6A403843-73BC-6D9E-DF0B-DAB675643356}"/>
          </ac:spMkLst>
        </pc:spChg>
        <pc:spChg chg="add del mod modVis">
          <ac:chgData name="Mikami, Maho" userId="50612f1b-df2d-47bb-8fdd-7ddedc83fc7e" providerId="ADAL" clId="{5CBE12F2-F3C8-4DCE-AD77-5EBD7EED8DBF}" dt="2024-03-24T06:28:26.119" v="4330"/>
          <ac:spMkLst>
            <pc:docMk/>
            <pc:sldMasterMk cId="2847476743" sldId="2147483808"/>
            <ac:spMk id="7" creationId="{C3FEF945-F99C-45A2-9317-E5DF46C08853}"/>
          </ac:spMkLst>
        </pc:spChg>
        <pc:graphicFrameChg chg="add mod ord modVis replST">
          <ac:chgData name="Mikami, Maho" userId="50612f1b-df2d-47bb-8fdd-7ddedc83fc7e" providerId="ADAL" clId="{5CBE12F2-F3C8-4DCE-AD77-5EBD7EED8DBF}" dt="2024-03-24T06:28:26.165" v="4345"/>
          <ac:graphicFrameMkLst>
            <pc:docMk/>
            <pc:sldMasterMk cId="2847476743" sldId="2147483808"/>
            <ac:graphicFrameMk id="8" creationId="{0DD5B8D1-61C6-B637-30F4-E43871C89764}"/>
          </ac:graphicFrameMkLst>
        </pc:graphicFrameChg>
        <pc:sldLayoutChg chg="del">
          <pc:chgData name="Mikami, Maho" userId="50612f1b-df2d-47bb-8fdd-7ddedc83fc7e" providerId="ADAL" clId="{5CBE12F2-F3C8-4DCE-AD77-5EBD7EED8DBF}" dt="2024-03-24T06:28:39.548" v="4353" actId="47"/>
          <pc:sldLayoutMkLst>
            <pc:docMk/>
            <pc:sldMasterMk cId="2847476743" sldId="2147483808"/>
            <pc:sldLayoutMk cId="1076454438" sldId="2147483809"/>
          </pc:sldLayoutMkLst>
        </pc:sldLayoutChg>
        <pc:sldLayoutChg chg="del">
          <pc:chgData name="Mikami, Maho" userId="50612f1b-df2d-47bb-8fdd-7ddedc83fc7e" providerId="ADAL" clId="{5CBE12F2-F3C8-4DCE-AD77-5EBD7EED8DBF}" dt="2024-03-24T06:28:39.548" v="4353" actId="47"/>
          <pc:sldLayoutMkLst>
            <pc:docMk/>
            <pc:sldMasterMk cId="2847476743" sldId="2147483808"/>
            <pc:sldLayoutMk cId="2334513542" sldId="2147483810"/>
          </pc:sldLayoutMkLst>
        </pc:sldLayoutChg>
        <pc:sldLayoutChg chg="del">
          <pc:chgData name="Mikami, Maho" userId="50612f1b-df2d-47bb-8fdd-7ddedc83fc7e" providerId="ADAL" clId="{5CBE12F2-F3C8-4DCE-AD77-5EBD7EED8DBF}" dt="2024-03-24T06:28:39.548" v="4353" actId="47"/>
          <pc:sldLayoutMkLst>
            <pc:docMk/>
            <pc:sldMasterMk cId="2847476743" sldId="2147483808"/>
            <pc:sldLayoutMk cId="1467277765" sldId="2147483811"/>
          </pc:sldLayoutMkLst>
        </pc:sldLayoutChg>
        <pc:sldLayoutChg chg="del">
          <pc:chgData name="Mikami, Maho" userId="50612f1b-df2d-47bb-8fdd-7ddedc83fc7e" providerId="ADAL" clId="{5CBE12F2-F3C8-4DCE-AD77-5EBD7EED8DBF}" dt="2024-03-24T06:28:39.548" v="4353" actId="47"/>
          <pc:sldLayoutMkLst>
            <pc:docMk/>
            <pc:sldMasterMk cId="2847476743" sldId="2147483808"/>
            <pc:sldLayoutMk cId="3604748968" sldId="2147483812"/>
          </pc:sldLayoutMkLst>
        </pc:sldLayoutChg>
        <pc:sldLayoutChg chg="del">
          <pc:chgData name="Mikami, Maho" userId="50612f1b-df2d-47bb-8fdd-7ddedc83fc7e" providerId="ADAL" clId="{5CBE12F2-F3C8-4DCE-AD77-5EBD7EED8DBF}" dt="2024-03-24T06:28:39.548" v="4353" actId="47"/>
          <pc:sldLayoutMkLst>
            <pc:docMk/>
            <pc:sldMasterMk cId="2847476743" sldId="2147483808"/>
            <pc:sldLayoutMk cId="1417451345" sldId="2147483813"/>
          </pc:sldLayoutMkLst>
        </pc:sldLayoutChg>
        <pc:sldLayoutChg chg="del">
          <pc:chgData name="Mikami, Maho" userId="50612f1b-df2d-47bb-8fdd-7ddedc83fc7e" providerId="ADAL" clId="{5CBE12F2-F3C8-4DCE-AD77-5EBD7EED8DBF}" dt="2024-03-24T06:28:39.548" v="4353" actId="47"/>
          <pc:sldLayoutMkLst>
            <pc:docMk/>
            <pc:sldMasterMk cId="2847476743" sldId="2147483808"/>
            <pc:sldLayoutMk cId="396013881" sldId="2147483814"/>
          </pc:sldLayoutMkLst>
        </pc:sldLayoutChg>
        <pc:sldLayoutChg chg="del">
          <pc:chgData name="Mikami, Maho" userId="50612f1b-df2d-47bb-8fdd-7ddedc83fc7e" providerId="ADAL" clId="{5CBE12F2-F3C8-4DCE-AD77-5EBD7EED8DBF}" dt="2024-03-24T06:28:39.548" v="4353" actId="47"/>
          <pc:sldLayoutMkLst>
            <pc:docMk/>
            <pc:sldMasterMk cId="2847476743" sldId="2147483808"/>
            <pc:sldLayoutMk cId="2644388439" sldId="2147483815"/>
          </pc:sldLayoutMkLst>
        </pc:sldLayoutChg>
        <pc:sldLayoutChg chg="del">
          <pc:chgData name="Mikami, Maho" userId="50612f1b-df2d-47bb-8fdd-7ddedc83fc7e" providerId="ADAL" clId="{5CBE12F2-F3C8-4DCE-AD77-5EBD7EED8DBF}" dt="2024-03-24T06:28:39.548" v="4353" actId="47"/>
          <pc:sldLayoutMkLst>
            <pc:docMk/>
            <pc:sldMasterMk cId="2847476743" sldId="2147483808"/>
            <pc:sldLayoutMk cId="247590073" sldId="2147483816"/>
          </pc:sldLayoutMkLst>
        </pc:sldLayoutChg>
        <pc:sldLayoutChg chg="del">
          <pc:chgData name="Mikami, Maho" userId="50612f1b-df2d-47bb-8fdd-7ddedc83fc7e" providerId="ADAL" clId="{5CBE12F2-F3C8-4DCE-AD77-5EBD7EED8DBF}" dt="2024-03-24T06:28:39.548" v="4353" actId="47"/>
          <pc:sldLayoutMkLst>
            <pc:docMk/>
            <pc:sldMasterMk cId="2847476743" sldId="2147483808"/>
            <pc:sldLayoutMk cId="1886230889" sldId="2147483817"/>
          </pc:sldLayoutMkLst>
        </pc:sldLayoutChg>
        <pc:sldLayoutChg chg="del">
          <pc:chgData name="Mikami, Maho" userId="50612f1b-df2d-47bb-8fdd-7ddedc83fc7e" providerId="ADAL" clId="{5CBE12F2-F3C8-4DCE-AD77-5EBD7EED8DBF}" dt="2024-03-24T06:28:39.548" v="4353" actId="47"/>
          <pc:sldLayoutMkLst>
            <pc:docMk/>
            <pc:sldMasterMk cId="2847476743" sldId="2147483808"/>
            <pc:sldLayoutMk cId="1029981503" sldId="2147483818"/>
          </pc:sldLayoutMkLst>
        </pc:sldLayoutChg>
        <pc:sldLayoutChg chg="del">
          <pc:chgData name="Mikami, Maho" userId="50612f1b-df2d-47bb-8fdd-7ddedc83fc7e" providerId="ADAL" clId="{5CBE12F2-F3C8-4DCE-AD77-5EBD7EED8DBF}" dt="2024-03-24T06:28:39.548" v="4353" actId="47"/>
          <pc:sldLayoutMkLst>
            <pc:docMk/>
            <pc:sldMasterMk cId="2847476743" sldId="2147483808"/>
            <pc:sldLayoutMk cId="3394524142" sldId="2147483819"/>
          </pc:sldLayoutMkLst>
        </pc:sldLayoutChg>
        <pc:sldLayoutChg chg="del">
          <pc:chgData name="Mikami, Maho" userId="50612f1b-df2d-47bb-8fdd-7ddedc83fc7e" providerId="ADAL" clId="{5CBE12F2-F3C8-4DCE-AD77-5EBD7EED8DBF}" dt="2024-03-24T06:28:39.548" v="4353" actId="47"/>
          <pc:sldLayoutMkLst>
            <pc:docMk/>
            <pc:sldMasterMk cId="2847476743" sldId="2147483808"/>
            <pc:sldLayoutMk cId="1112825797" sldId="2147483820"/>
          </pc:sldLayoutMkLst>
        </pc:sldLayoutChg>
        <pc:sldLayoutChg chg="del">
          <pc:chgData name="Mikami, Maho" userId="50612f1b-df2d-47bb-8fdd-7ddedc83fc7e" providerId="ADAL" clId="{5CBE12F2-F3C8-4DCE-AD77-5EBD7EED8DBF}" dt="2024-03-24T06:28:39.548" v="4353" actId="47"/>
          <pc:sldLayoutMkLst>
            <pc:docMk/>
            <pc:sldMasterMk cId="2847476743" sldId="2147483808"/>
            <pc:sldLayoutMk cId="1217769012" sldId="2147483821"/>
          </pc:sldLayoutMkLst>
        </pc:sldLayoutChg>
      </pc:sldMasterChg>
    </pc:docChg>
  </pc:docChgLst>
  <pc:docChgLst>
    <pc:chgData name="椿優里" clId="Web-{E2606989-553E-4A53-BC64-32801A9BAB1E}"/>
    <pc:docChg chg="delSld modSection">
      <pc:chgData name="椿優里" userId="" providerId="" clId="Web-{E2606989-553E-4A53-BC64-32801A9BAB1E}" dt="2024-04-18T00:22:09.514" v="0"/>
      <pc:docMkLst>
        <pc:docMk/>
      </pc:docMkLst>
      <pc:sldChg chg="del">
        <pc:chgData name="椿優里" userId="" providerId="" clId="Web-{E2606989-553E-4A53-BC64-32801A9BAB1E}" dt="2024-04-18T00:22:09.514" v="0"/>
        <pc:sldMkLst>
          <pc:docMk/>
          <pc:sldMk cId="4084490342" sldId="2147378676"/>
        </pc:sldMkLst>
      </pc:sldChg>
    </pc:docChg>
  </pc:docChgLst>
</pc:chgInfo>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2918831" cy="495029"/>
          </a:xfrm>
          <a:prstGeom prst="rect">
            <a:avLst/>
          </a:prstGeom>
        </p:spPr>
        <p:txBody>
          <a:bodyPr vert="horz" lIns="90644" tIns="45322" rIns="90644" bIns="45322"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5" y="1"/>
            <a:ext cx="2918831" cy="495029"/>
          </a:xfrm>
          <a:prstGeom prst="rect">
            <a:avLst/>
          </a:prstGeom>
        </p:spPr>
        <p:txBody>
          <a:bodyPr vert="horz" lIns="90644" tIns="45322" rIns="90644" bIns="45322" rtlCol="0"/>
          <a:lstStyle>
            <a:lvl1pPr algn="r">
              <a:defRPr sz="1200"/>
            </a:lvl1pPr>
          </a:lstStyle>
          <a:p>
            <a:fld id="{CAE41466-77DA-46B4-BCF5-532C15AA3816}" type="datetimeFigureOut">
              <a:rPr kumimoji="1" lang="ja-JP" altLang="en-US" smtClean="0"/>
              <a:t>2025/2/10</a:t>
            </a:fld>
            <a:endParaRPr kumimoji="1" lang="ja-JP" altLang="en-US"/>
          </a:p>
        </p:txBody>
      </p:sp>
      <p:sp>
        <p:nvSpPr>
          <p:cNvPr id="4" name="スライド イメージ プレースホルダー 3"/>
          <p:cNvSpPr>
            <a:spLocks noGrp="1" noRot="1" noChangeAspect="1"/>
          </p:cNvSpPr>
          <p:nvPr>
            <p:ph type="sldImg" idx="2"/>
          </p:nvPr>
        </p:nvSpPr>
        <p:spPr>
          <a:xfrm>
            <a:off x="407988" y="1233488"/>
            <a:ext cx="5919787" cy="3330575"/>
          </a:xfrm>
          <a:prstGeom prst="rect">
            <a:avLst/>
          </a:prstGeom>
          <a:noFill/>
          <a:ln w="12700">
            <a:solidFill>
              <a:prstClr val="black"/>
            </a:solidFill>
          </a:ln>
        </p:spPr>
        <p:txBody>
          <a:bodyPr vert="horz" lIns="90644" tIns="45322" rIns="90644" bIns="45322" rtlCol="0" anchor="ctr"/>
          <a:lstStyle/>
          <a:p>
            <a:endParaRPr lang="ja-JP" altLang="en-US"/>
          </a:p>
        </p:txBody>
      </p:sp>
      <p:sp>
        <p:nvSpPr>
          <p:cNvPr id="5" name="ノート プレースホルダー 4"/>
          <p:cNvSpPr>
            <a:spLocks noGrp="1"/>
          </p:cNvSpPr>
          <p:nvPr>
            <p:ph type="body" sz="quarter" idx="3"/>
          </p:nvPr>
        </p:nvSpPr>
        <p:spPr>
          <a:xfrm>
            <a:off x="673577" y="4748164"/>
            <a:ext cx="5388610" cy="3884860"/>
          </a:xfrm>
          <a:prstGeom prst="rect">
            <a:avLst/>
          </a:prstGeom>
        </p:spPr>
        <p:txBody>
          <a:bodyPr vert="horz" lIns="90644" tIns="45322" rIns="90644" bIns="45322"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7"/>
            <a:ext cx="2918831" cy="495028"/>
          </a:xfrm>
          <a:prstGeom prst="rect">
            <a:avLst/>
          </a:prstGeom>
        </p:spPr>
        <p:txBody>
          <a:bodyPr vert="horz" lIns="90644" tIns="45322" rIns="90644" bIns="45322"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5" y="9371287"/>
            <a:ext cx="2918831" cy="495028"/>
          </a:xfrm>
          <a:prstGeom prst="rect">
            <a:avLst/>
          </a:prstGeom>
        </p:spPr>
        <p:txBody>
          <a:bodyPr vert="horz" lIns="90644" tIns="45322" rIns="90644" bIns="45322" rtlCol="0" anchor="b"/>
          <a:lstStyle>
            <a:lvl1pPr algn="r">
              <a:defRPr sz="1200"/>
            </a:lvl1pPr>
          </a:lstStyle>
          <a:p>
            <a:fld id="{FAA94981-7388-44D4-BF25-844A6ED5496F}" type="slidenum">
              <a:rPr kumimoji="1" lang="ja-JP" altLang="en-US" smtClean="0"/>
              <a:t>‹#›</a:t>
            </a:fld>
            <a:endParaRPr kumimoji="1" lang="ja-JP" altLang="en-US"/>
          </a:p>
        </p:txBody>
      </p:sp>
    </p:spTree>
    <p:extLst>
      <p:ext uri="{BB962C8B-B14F-4D97-AF65-F5344CB8AC3E}">
        <p14:creationId xmlns:p14="http://schemas.microsoft.com/office/powerpoint/2010/main" val="1214155667"/>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8.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1.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5.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6.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1.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2.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5.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1.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2.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3.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7.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8.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1.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5.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8.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9.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0.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4.xml" Type="http://schemas.openxmlformats.org/officeDocument/2006/relationships/slide"/></Relationships>
</file>

<file path=ppt/notesSlides/_rels/notesSlide2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5.xml" Type="http://schemas.openxmlformats.org/officeDocument/2006/relationships/slide"/></Relationships>
</file>

<file path=ppt/notesSlides/_rels/notesSlide2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6.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7.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5</a:t>
            </a:fld>
            <a:endParaRPr kumimoji="1" lang="ja-JP" altLang="en-US"/>
          </a:p>
        </p:txBody>
      </p:sp>
    </p:spTree>
    <p:extLst>
      <p:ext uri="{BB962C8B-B14F-4D97-AF65-F5344CB8AC3E}">
        <p14:creationId xmlns:p14="http://schemas.microsoft.com/office/powerpoint/2010/main" val="8506626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28</a:t>
            </a:fld>
            <a:endParaRPr kumimoji="1" lang="ja-JP" altLang="en-US"/>
          </a:p>
        </p:txBody>
      </p:sp>
    </p:spTree>
    <p:extLst>
      <p:ext uri="{BB962C8B-B14F-4D97-AF65-F5344CB8AC3E}">
        <p14:creationId xmlns:p14="http://schemas.microsoft.com/office/powerpoint/2010/main" val="42202395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31</a:t>
            </a:fld>
            <a:endParaRPr kumimoji="1" lang="ja-JP" altLang="en-US"/>
          </a:p>
        </p:txBody>
      </p:sp>
    </p:spTree>
    <p:extLst>
      <p:ext uri="{BB962C8B-B14F-4D97-AF65-F5344CB8AC3E}">
        <p14:creationId xmlns:p14="http://schemas.microsoft.com/office/powerpoint/2010/main" val="14430614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35</a:t>
            </a:fld>
            <a:endParaRPr kumimoji="1" lang="ja-JP" altLang="en-US"/>
          </a:p>
        </p:txBody>
      </p:sp>
    </p:spTree>
    <p:extLst>
      <p:ext uri="{BB962C8B-B14F-4D97-AF65-F5344CB8AC3E}">
        <p14:creationId xmlns:p14="http://schemas.microsoft.com/office/powerpoint/2010/main" val="3279968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36</a:t>
            </a:fld>
            <a:endParaRPr kumimoji="1" lang="ja-JP" altLang="en-US"/>
          </a:p>
        </p:txBody>
      </p:sp>
    </p:spTree>
    <p:extLst>
      <p:ext uri="{BB962C8B-B14F-4D97-AF65-F5344CB8AC3E}">
        <p14:creationId xmlns:p14="http://schemas.microsoft.com/office/powerpoint/2010/main" val="37874760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41</a:t>
            </a:fld>
            <a:endParaRPr kumimoji="1" lang="ja-JP" altLang="en-US"/>
          </a:p>
        </p:txBody>
      </p:sp>
    </p:spTree>
    <p:extLst>
      <p:ext uri="{BB962C8B-B14F-4D97-AF65-F5344CB8AC3E}">
        <p14:creationId xmlns:p14="http://schemas.microsoft.com/office/powerpoint/2010/main" val="7234260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42</a:t>
            </a:fld>
            <a:endParaRPr kumimoji="1" lang="ja-JP" altLang="en-US"/>
          </a:p>
        </p:txBody>
      </p:sp>
    </p:spTree>
    <p:extLst>
      <p:ext uri="{BB962C8B-B14F-4D97-AF65-F5344CB8AC3E}">
        <p14:creationId xmlns:p14="http://schemas.microsoft.com/office/powerpoint/2010/main" val="36273348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45</a:t>
            </a:fld>
            <a:endParaRPr kumimoji="1" lang="ja-JP" altLang="en-US"/>
          </a:p>
        </p:txBody>
      </p:sp>
    </p:spTree>
    <p:extLst>
      <p:ext uri="{BB962C8B-B14F-4D97-AF65-F5344CB8AC3E}">
        <p14:creationId xmlns:p14="http://schemas.microsoft.com/office/powerpoint/2010/main" val="8118607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51</a:t>
            </a:fld>
            <a:endParaRPr kumimoji="1" lang="ja-JP" altLang="en-US"/>
          </a:p>
        </p:txBody>
      </p:sp>
    </p:spTree>
    <p:extLst>
      <p:ext uri="{BB962C8B-B14F-4D97-AF65-F5344CB8AC3E}">
        <p14:creationId xmlns:p14="http://schemas.microsoft.com/office/powerpoint/2010/main" val="8678164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52</a:t>
            </a:fld>
            <a:endParaRPr kumimoji="1" lang="ja-JP" altLang="en-US"/>
          </a:p>
        </p:txBody>
      </p:sp>
    </p:spTree>
    <p:extLst>
      <p:ext uri="{BB962C8B-B14F-4D97-AF65-F5344CB8AC3E}">
        <p14:creationId xmlns:p14="http://schemas.microsoft.com/office/powerpoint/2010/main" val="42436950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53</a:t>
            </a:fld>
            <a:endParaRPr kumimoji="1" lang="ja-JP" altLang="en-US"/>
          </a:p>
        </p:txBody>
      </p:sp>
    </p:spTree>
    <p:extLst>
      <p:ext uri="{BB962C8B-B14F-4D97-AF65-F5344CB8AC3E}">
        <p14:creationId xmlns:p14="http://schemas.microsoft.com/office/powerpoint/2010/main" val="15433794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8</a:t>
            </a:fld>
            <a:endParaRPr kumimoji="1" lang="ja-JP" altLang="en-US"/>
          </a:p>
        </p:txBody>
      </p:sp>
    </p:spTree>
    <p:extLst>
      <p:ext uri="{BB962C8B-B14F-4D97-AF65-F5344CB8AC3E}">
        <p14:creationId xmlns:p14="http://schemas.microsoft.com/office/powerpoint/2010/main" val="26977354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57</a:t>
            </a:fld>
            <a:endParaRPr kumimoji="1" lang="ja-JP" altLang="en-US"/>
          </a:p>
        </p:txBody>
      </p:sp>
    </p:spTree>
    <p:extLst>
      <p:ext uri="{BB962C8B-B14F-4D97-AF65-F5344CB8AC3E}">
        <p14:creationId xmlns:p14="http://schemas.microsoft.com/office/powerpoint/2010/main" val="511530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58</a:t>
            </a:fld>
            <a:endParaRPr kumimoji="1" lang="ja-JP" altLang="en-US"/>
          </a:p>
        </p:txBody>
      </p:sp>
    </p:spTree>
    <p:extLst>
      <p:ext uri="{BB962C8B-B14F-4D97-AF65-F5344CB8AC3E}">
        <p14:creationId xmlns:p14="http://schemas.microsoft.com/office/powerpoint/2010/main" val="5765307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61</a:t>
            </a:fld>
            <a:endParaRPr kumimoji="1" lang="ja-JP" altLang="en-US"/>
          </a:p>
        </p:txBody>
      </p:sp>
    </p:spTree>
    <p:extLst>
      <p:ext uri="{BB962C8B-B14F-4D97-AF65-F5344CB8AC3E}">
        <p14:creationId xmlns:p14="http://schemas.microsoft.com/office/powerpoint/2010/main" val="37912504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65</a:t>
            </a:fld>
            <a:endParaRPr kumimoji="1" lang="ja-JP" altLang="en-US"/>
          </a:p>
        </p:txBody>
      </p:sp>
    </p:spTree>
    <p:extLst>
      <p:ext uri="{BB962C8B-B14F-4D97-AF65-F5344CB8AC3E}">
        <p14:creationId xmlns:p14="http://schemas.microsoft.com/office/powerpoint/2010/main" val="27446188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68</a:t>
            </a:fld>
            <a:endParaRPr kumimoji="1" lang="ja-JP" altLang="en-US"/>
          </a:p>
        </p:txBody>
      </p:sp>
    </p:spTree>
    <p:extLst>
      <p:ext uri="{BB962C8B-B14F-4D97-AF65-F5344CB8AC3E}">
        <p14:creationId xmlns:p14="http://schemas.microsoft.com/office/powerpoint/2010/main" val="12344178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69</a:t>
            </a:fld>
            <a:endParaRPr kumimoji="1" lang="ja-JP" altLang="en-US"/>
          </a:p>
        </p:txBody>
      </p:sp>
    </p:spTree>
    <p:extLst>
      <p:ext uri="{BB962C8B-B14F-4D97-AF65-F5344CB8AC3E}">
        <p14:creationId xmlns:p14="http://schemas.microsoft.com/office/powerpoint/2010/main" val="10270489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70</a:t>
            </a:fld>
            <a:endParaRPr kumimoji="1" lang="ja-JP" altLang="en-US"/>
          </a:p>
        </p:txBody>
      </p:sp>
    </p:spTree>
    <p:extLst>
      <p:ext uri="{BB962C8B-B14F-4D97-AF65-F5344CB8AC3E}">
        <p14:creationId xmlns:p14="http://schemas.microsoft.com/office/powerpoint/2010/main" val="11398522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74</a:t>
            </a:fld>
            <a:endParaRPr kumimoji="1" lang="ja-JP" altLang="en-US"/>
          </a:p>
        </p:txBody>
      </p:sp>
    </p:spTree>
    <p:extLst>
      <p:ext uri="{BB962C8B-B14F-4D97-AF65-F5344CB8AC3E}">
        <p14:creationId xmlns:p14="http://schemas.microsoft.com/office/powerpoint/2010/main" val="31418228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75</a:t>
            </a:fld>
            <a:endParaRPr kumimoji="1" lang="ja-JP" altLang="en-US"/>
          </a:p>
        </p:txBody>
      </p:sp>
    </p:spTree>
    <p:extLst>
      <p:ext uri="{BB962C8B-B14F-4D97-AF65-F5344CB8AC3E}">
        <p14:creationId xmlns:p14="http://schemas.microsoft.com/office/powerpoint/2010/main" val="26895182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76</a:t>
            </a:fld>
            <a:endParaRPr kumimoji="1" lang="ja-JP" altLang="en-US"/>
          </a:p>
        </p:txBody>
      </p:sp>
    </p:spTree>
    <p:extLst>
      <p:ext uri="{BB962C8B-B14F-4D97-AF65-F5344CB8AC3E}">
        <p14:creationId xmlns:p14="http://schemas.microsoft.com/office/powerpoint/2010/main" val="34771962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11</a:t>
            </a:fld>
            <a:endParaRPr kumimoji="1" lang="ja-JP" altLang="en-US"/>
          </a:p>
        </p:txBody>
      </p:sp>
    </p:spTree>
    <p:extLst>
      <p:ext uri="{BB962C8B-B14F-4D97-AF65-F5344CB8AC3E}">
        <p14:creationId xmlns:p14="http://schemas.microsoft.com/office/powerpoint/2010/main" val="28612867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12</a:t>
            </a:fld>
            <a:endParaRPr kumimoji="1" lang="ja-JP" altLang="en-US"/>
          </a:p>
        </p:txBody>
      </p:sp>
    </p:spTree>
    <p:extLst>
      <p:ext uri="{BB962C8B-B14F-4D97-AF65-F5344CB8AC3E}">
        <p14:creationId xmlns:p14="http://schemas.microsoft.com/office/powerpoint/2010/main" val="940636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13</a:t>
            </a:fld>
            <a:endParaRPr kumimoji="1" lang="ja-JP" altLang="en-US"/>
          </a:p>
        </p:txBody>
      </p:sp>
    </p:spTree>
    <p:extLst>
      <p:ext uri="{BB962C8B-B14F-4D97-AF65-F5344CB8AC3E}">
        <p14:creationId xmlns:p14="http://schemas.microsoft.com/office/powerpoint/2010/main" val="14357668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14</a:t>
            </a:fld>
            <a:endParaRPr kumimoji="1" lang="ja-JP" altLang="en-US"/>
          </a:p>
        </p:txBody>
      </p:sp>
    </p:spTree>
    <p:extLst>
      <p:ext uri="{BB962C8B-B14F-4D97-AF65-F5344CB8AC3E}">
        <p14:creationId xmlns:p14="http://schemas.microsoft.com/office/powerpoint/2010/main" val="38295811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25</a:t>
            </a:fld>
            <a:endParaRPr kumimoji="1" lang="ja-JP" altLang="en-US"/>
          </a:p>
        </p:txBody>
      </p:sp>
    </p:spTree>
    <p:extLst>
      <p:ext uri="{BB962C8B-B14F-4D97-AF65-F5344CB8AC3E}">
        <p14:creationId xmlns:p14="http://schemas.microsoft.com/office/powerpoint/2010/main" val="25622212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26</a:t>
            </a:fld>
            <a:endParaRPr kumimoji="1" lang="ja-JP" altLang="en-US"/>
          </a:p>
        </p:txBody>
      </p:sp>
    </p:spTree>
    <p:extLst>
      <p:ext uri="{BB962C8B-B14F-4D97-AF65-F5344CB8AC3E}">
        <p14:creationId xmlns:p14="http://schemas.microsoft.com/office/powerpoint/2010/main" val="28104778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27</a:t>
            </a:fld>
            <a:endParaRPr kumimoji="1" lang="ja-JP" altLang="en-US"/>
          </a:p>
        </p:txBody>
      </p:sp>
    </p:spTree>
    <p:extLst>
      <p:ext uri="{BB962C8B-B14F-4D97-AF65-F5344CB8AC3E}">
        <p14:creationId xmlns:p14="http://schemas.microsoft.com/office/powerpoint/2010/main" val="453033458"/>
      </p:ext>
    </p:extLst>
  </p:cSld>
  <p:clrMapOvr>
    <a:masterClrMapping/>
  </p:clrMapOvr>
</p:notes>
</file>

<file path=ppt/slideLayouts/_rels/slideLayout1.xml.rels><?xml version="1.0" encoding="UTF-8" standalone="yes"?><Relationships xmlns="http://schemas.openxmlformats.org/package/2006/relationships"><Relationship Id="rId1" Target="../tags/tag3.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2.png"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png" Type="http://schemas.openxmlformats.org/officeDocument/2006/relationships/image"/></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3.png" Type="http://schemas.openxmlformats.org/officeDocument/2006/relationships/image"/><Relationship Id="rId3" Target="../media/image4.png" Type="http://schemas.openxmlformats.org/officeDocument/2006/relationships/image"/><Relationship Id="rId4" Target="../media/image5.png" Type="http://schemas.openxmlformats.org/officeDocument/2006/relationships/image"/></Relationships>
</file>

<file path=ppt/slideLayouts/_rels/slideLayout4.xml.rels><?xml version="1.0" encoding="UTF-8" standalone="yes"?><Relationships xmlns="http://schemas.openxmlformats.org/package/2006/relationships"><Relationship Id="rId1" Target="../tags/tag4.xml" Type="http://schemas.openxmlformats.org/officeDocument/2006/relationships/tags"/><Relationship Id="rId2" Target="../tags/tag5.xml" Type="http://schemas.openxmlformats.org/officeDocument/2006/relationships/tags"/><Relationship Id="rId3" Target="../slideMasters/slideMaster1.xml" Type="http://schemas.openxmlformats.org/officeDocument/2006/relationships/slideMaster"/><Relationship Id="rId4" Target="../embeddings/oleObject3.bin" Type="http://schemas.openxmlformats.org/officeDocument/2006/relationships/oleObject"/><Relationship Id="rId5" Target="../media/image6.emf"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_Title Slide_Black_Top">
    <p:spTree>
      <p:nvGrpSpPr>
        <p:cNvPr id="1" name=""/>
        <p:cNvGrpSpPr/>
        <p:nvPr/>
      </p:nvGrpSpPr>
      <p:grpSpPr>
        <a:xfrm>
          <a:off x="0" y="0"/>
          <a:ext cx="0" cy="0"/>
          <a:chOff x="0" y="0"/>
          <a:chExt cx="0" cy="0"/>
        </a:xfrm>
      </p:grpSpPr>
      <p:graphicFrame>
        <p:nvGraphicFramePr>
          <p:cNvPr id="44" name="Objekt 43" hidden="1"/>
          <p:cNvGraphicFramePr>
            <a:graphicFrameLocks/>
          </p:cNvGraphicFramePr>
          <p:nvPr>
            <p:custDataLst>
              <p:tags r:id="rId1"/>
            </p:custDataLst>
            <p:extLst>
              <p:ext uri="{D42A27DB-BD31-4B8C-83A1-F6EECF244321}">
                <p14:modId xmlns:p14="http://schemas.microsoft.com/office/powerpoint/2010/main" val="1452054197"/>
              </p:ext>
            </p:extLst>
          </p:nvPr>
        </p:nvGraphicFramePr>
        <p:xfrm>
          <a:off x="1" y="3"/>
          <a:ext cx="211666" cy="158751"/>
        </p:xfrm>
        <a:graphic>
          <a:graphicData uri="http://schemas.openxmlformats.org/presentationml/2006/ole">
            <mc:AlternateContent xmlns:mc="http://schemas.openxmlformats.org/markup-compatibility/2006">
              <mc:Choice xmlns:v="urn:schemas-microsoft-com:vml" Requires="v">
                <p:oleObj name="think-cell スライド" r:id="rId3" imgW="0" imgH="0" progId="TCLayout.ActiveDocument.1">
                  <p:embed/>
                </p:oleObj>
              </mc:Choice>
              <mc:Fallback>
                <p:oleObj name="think-cell スライド" r:id="rId3" imgW="0" imgH="0" progId="TCLayout.ActiveDocument.1">
                  <p:embed/>
                  <p:pic>
                    <p:nvPicPr>
                      <p:cNvPr id="44" name="Objekt 4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3"/>
                        <a:ext cx="211666" cy="1587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3" name="Text Placeholder 32"/>
          <p:cNvSpPr>
            <a:spLocks noGrp="1"/>
          </p:cNvSpPr>
          <p:nvPr>
            <p:ph type="body" sz="quarter" idx="10" hasCustomPrompt="1"/>
          </p:nvPr>
        </p:nvSpPr>
        <p:spPr>
          <a:xfrm>
            <a:off x="4798549" y="4293096"/>
            <a:ext cx="6626043" cy="467563"/>
          </a:xfrm>
          <a:prstGeom prst="rect">
            <a:avLst/>
          </a:prstGeom>
        </p:spPr>
        <p:txBody>
          <a:bodyPr anchor="ctr" anchorCtr="0"/>
          <a:lstStyle>
            <a:lvl1pPr marL="0" indent="0" algn="r" rtl="0" eaLnBrk="1" fontAlgn="base" hangingPunct="1">
              <a:lnSpc>
                <a:spcPct val="100000"/>
              </a:lnSpc>
              <a:spcBef>
                <a:spcPct val="0"/>
              </a:spcBef>
              <a:spcAft>
                <a:spcPts val="0"/>
              </a:spcAft>
              <a:buFont typeface="Arial" charset="0"/>
              <a:buNone/>
              <a:defRPr lang="en-US" sz="1800" b="0" kern="1200" spc="0" baseline="0" dirty="0" smtClean="0">
                <a:solidFill>
                  <a:schemeClr val="tx1"/>
                </a:solidFill>
                <a:latin typeface="+mn-ea"/>
                <a:ea typeface="+mn-ea"/>
                <a:cs typeface="Arial" pitchFamily="34" charset="0"/>
              </a:defRPr>
            </a:lvl1pPr>
            <a:lvl2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167" b="0" kern="1200" spc="0" baseline="0" dirty="0">
                <a:solidFill>
                  <a:schemeClr val="accent1"/>
                </a:solidFill>
                <a:latin typeface="Arial" pitchFamily="34" charset="0"/>
                <a:ea typeface="Arial" pitchFamily="-105" charset="-52"/>
                <a:cs typeface="Arial" pitchFamily="34" charset="0"/>
              </a:defRPr>
            </a:lvl5pPr>
          </a:lstStyle>
          <a:p>
            <a:pPr lvl="0"/>
            <a:r>
              <a:rPr lang="en-US"/>
              <a:t>2023/MM/DD</a:t>
            </a:r>
          </a:p>
        </p:txBody>
      </p:sp>
      <p:sp>
        <p:nvSpPr>
          <p:cNvPr id="24" name="Title 1"/>
          <p:cNvSpPr>
            <a:spLocks noGrp="1"/>
          </p:cNvSpPr>
          <p:nvPr>
            <p:ph type="ctrTitle" hasCustomPrompt="1"/>
          </p:nvPr>
        </p:nvSpPr>
        <p:spPr>
          <a:xfrm>
            <a:off x="767408" y="1498110"/>
            <a:ext cx="10657184" cy="1867389"/>
          </a:xfrm>
          <a:prstGeom prst="rect">
            <a:avLst/>
          </a:prstGeom>
        </p:spPr>
        <p:txBody>
          <a:bodyPr vert="horz" lIns="0" tIns="0" anchor="ctr" anchorCtr="0">
            <a:noAutofit/>
          </a:bodyPr>
          <a:lstStyle>
            <a:lvl1pPr marL="0" indent="0" algn="l" rtl="0" eaLnBrk="1" fontAlgn="base" hangingPunct="1">
              <a:lnSpc>
                <a:spcPct val="100000"/>
              </a:lnSpc>
              <a:spcBef>
                <a:spcPct val="0"/>
              </a:spcBef>
              <a:spcAft>
                <a:spcPts val="0"/>
              </a:spcAft>
              <a:buFont typeface="Arial" charset="0"/>
              <a:buNone/>
              <a:defRPr kumimoji="1" lang="en-GB" sz="2400" b="1" kern="1200" spc="0" baseline="0" dirty="0">
                <a:solidFill>
                  <a:schemeClr val="tx1"/>
                </a:solidFill>
                <a:latin typeface="+mj-lt"/>
                <a:ea typeface="+mn-ea"/>
                <a:cs typeface="Arial" pitchFamily="34" charset="0"/>
              </a:defRPr>
            </a:lvl1pPr>
          </a:lstStyle>
          <a:p>
            <a:pPr marL="0" lvl="0" indent="0" algn="l" rtl="0" eaLnBrk="1" fontAlgn="base" hangingPunct="1">
              <a:lnSpc>
                <a:spcPct val="100000"/>
              </a:lnSpc>
              <a:spcBef>
                <a:spcPct val="0"/>
              </a:spcBef>
              <a:spcAft>
                <a:spcPts val="0"/>
              </a:spcAft>
              <a:buFont typeface="Arial" charset="0"/>
              <a:buNone/>
            </a:pPr>
            <a:r>
              <a:rPr lang="en-US" altLang="ja-JP"/>
              <a:t>FY2024 </a:t>
            </a:r>
            <a:r>
              <a:rPr lang="ja-JP" altLang="en-US"/>
              <a:t>日本版</a:t>
            </a:r>
            <a:r>
              <a:rPr lang="en-US" altLang="ja-JP" err="1"/>
              <a:t>MaaS</a:t>
            </a:r>
            <a:r>
              <a:rPr lang="ja-JP" altLang="en-US"/>
              <a:t>推進・支援事業</a:t>
            </a:r>
            <a:br>
              <a:rPr lang="en-US" altLang="ja-JP"/>
            </a:br>
            <a:r>
              <a:rPr lang="en-US" altLang="ja-JP"/>
              <a:t>【</a:t>
            </a:r>
            <a:r>
              <a:rPr lang="ja-JP" altLang="en-US"/>
              <a:t>プロジェクト名</a:t>
            </a:r>
            <a:r>
              <a:rPr lang="en-US" altLang="ja-JP"/>
              <a:t>】</a:t>
            </a:r>
            <a:br>
              <a:rPr lang="en-US" altLang="ja-JP"/>
            </a:br>
            <a:br>
              <a:rPr lang="en-US" altLang="ja-JP"/>
            </a:br>
            <a:r>
              <a:rPr lang="ja-JP" altLang="en-US"/>
              <a:t>業務実施計画書</a:t>
            </a:r>
            <a:endParaRPr lang="en-GB"/>
          </a:p>
        </p:txBody>
      </p:sp>
      <p:sp>
        <p:nvSpPr>
          <p:cNvPr id="25" name="Text Placeholder 32"/>
          <p:cNvSpPr>
            <a:spLocks noGrp="1"/>
          </p:cNvSpPr>
          <p:nvPr>
            <p:ph type="body" sz="quarter" idx="12" hasCustomPrompt="1"/>
          </p:nvPr>
        </p:nvSpPr>
        <p:spPr>
          <a:xfrm>
            <a:off x="4798549" y="4892326"/>
            <a:ext cx="6626043" cy="467563"/>
          </a:xfrm>
          <a:prstGeom prst="rect">
            <a:avLst/>
          </a:prstGeom>
        </p:spPr>
        <p:txBody>
          <a:bodyPr anchor="ctr" anchorCtr="0"/>
          <a:lstStyle>
            <a:lvl1pPr marL="0" indent="0" algn="r" rtl="0" eaLnBrk="1" fontAlgn="base" hangingPunct="1">
              <a:lnSpc>
                <a:spcPct val="100000"/>
              </a:lnSpc>
              <a:spcBef>
                <a:spcPct val="0"/>
              </a:spcBef>
              <a:spcAft>
                <a:spcPts val="0"/>
              </a:spcAft>
              <a:buFont typeface="Arial" charset="0"/>
              <a:buNone/>
              <a:defRPr lang="en-US" sz="2000" b="0" kern="1200" spc="0" baseline="0" dirty="0" smtClean="0">
                <a:solidFill>
                  <a:schemeClr val="tx1"/>
                </a:solidFill>
                <a:latin typeface="+mn-ea"/>
                <a:ea typeface="+mn-ea"/>
                <a:cs typeface="Arial" pitchFamily="34" charset="0"/>
              </a:defRPr>
            </a:lvl1pPr>
            <a:lvl2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167" b="0" kern="1200" spc="0" baseline="0" dirty="0">
                <a:solidFill>
                  <a:schemeClr val="accent1"/>
                </a:solidFill>
                <a:latin typeface="Arial" pitchFamily="34" charset="0"/>
                <a:ea typeface="Arial" pitchFamily="-105" charset="-52"/>
                <a:cs typeface="Arial" pitchFamily="34" charset="0"/>
              </a:defRPr>
            </a:lvl5pPr>
          </a:lstStyle>
          <a:p>
            <a:pPr lvl="0"/>
            <a:r>
              <a:rPr lang="en-US" altLang="ja-JP"/>
              <a:t>※</a:t>
            </a:r>
            <a:r>
              <a:rPr lang="ja-JP" altLang="en-US"/>
              <a:t>実施企業名 </a:t>
            </a:r>
            <a:r>
              <a:rPr lang="en-US" altLang="ja-JP"/>
              <a:t>or JV</a:t>
            </a:r>
            <a:r>
              <a:rPr lang="ja-JP" altLang="en-US"/>
              <a:t>名</a:t>
            </a:r>
            <a:endParaRPr lang="en-US"/>
          </a:p>
        </p:txBody>
      </p:sp>
      <p:sp>
        <p:nvSpPr>
          <p:cNvPr id="2" name="テキスト ボックス 1">
            <a:extLst>
              <a:ext uri="{FF2B5EF4-FFF2-40B4-BE49-F238E27FC236}">
                <a16:creationId xmlns:a16="http://schemas.microsoft.com/office/drawing/2014/main" id="{A3FB6309-E751-E5DF-C7C2-D7D80856905C}"/>
              </a:ext>
            </a:extLst>
          </p:cNvPr>
          <p:cNvSpPr txBox="1"/>
          <p:nvPr userDrawn="1"/>
        </p:nvSpPr>
        <p:spPr>
          <a:xfrm>
            <a:off x="1166350" y="6577475"/>
            <a:ext cx="3171061" cy="230832"/>
          </a:xfrm>
          <a:prstGeom prst="rect">
            <a:avLst/>
          </a:prstGeom>
          <a:noFill/>
        </p:spPr>
        <p:txBody>
          <a:bodyPr wrap="none" rtlCol="0">
            <a:spAutoFit/>
          </a:bodyPr>
          <a:lstStyle/>
          <a:p>
            <a:r>
              <a:rPr kumimoji="1" lang="en-US" altLang="ja-JP" sz="900">
                <a:solidFill>
                  <a:schemeClr val="bg1">
                    <a:lumMod val="75000"/>
                  </a:schemeClr>
                </a:solidFill>
              </a:rPr>
              <a:t>Copyright</a:t>
            </a:r>
            <a:r>
              <a:rPr kumimoji="1" lang="ja-JP" altLang="en-US" sz="900">
                <a:solidFill>
                  <a:schemeClr val="bg1">
                    <a:lumMod val="75000"/>
                  </a:schemeClr>
                </a:solidFill>
              </a:rPr>
              <a:t> </a:t>
            </a:r>
            <a:r>
              <a:rPr kumimoji="1" lang="en-US" altLang="ja-JP" sz="900">
                <a:solidFill>
                  <a:schemeClr val="bg1">
                    <a:lumMod val="75000"/>
                  </a:schemeClr>
                </a:solidFill>
              </a:rPr>
              <a:t>© 2025</a:t>
            </a:r>
            <a:r>
              <a:rPr kumimoji="1" lang="en-US" altLang="ja-JP" sz="900" baseline="0">
                <a:solidFill>
                  <a:schemeClr val="bg1">
                    <a:lumMod val="75000"/>
                  </a:schemeClr>
                </a:solidFill>
              </a:rPr>
              <a:t> by MLIT. All rights reserved.</a:t>
            </a:r>
            <a:endParaRPr kumimoji="1" lang="ja-JP" altLang="en-US" sz="900">
              <a:solidFill>
                <a:schemeClr val="bg1">
                  <a:lumMod val="75000"/>
                </a:schemeClr>
              </a:solidFill>
            </a:endParaRPr>
          </a:p>
        </p:txBody>
      </p:sp>
      <p:pic>
        <p:nvPicPr>
          <p:cNvPr id="3" name="図 2">
            <a:extLst>
              <a:ext uri="{FF2B5EF4-FFF2-40B4-BE49-F238E27FC236}">
                <a16:creationId xmlns:a16="http://schemas.microsoft.com/office/drawing/2014/main" id="{98005F8C-E287-4376-1BEE-6B296973F65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3029" y="6620891"/>
            <a:ext cx="833142" cy="144000"/>
          </a:xfrm>
          <a:prstGeom prst="rect">
            <a:avLst/>
          </a:prstGeom>
        </p:spPr>
      </p:pic>
    </p:spTree>
    <p:extLst>
      <p:ext uri="{BB962C8B-B14F-4D97-AF65-F5344CB8AC3E}">
        <p14:creationId xmlns:p14="http://schemas.microsoft.com/office/powerpoint/2010/main" val="291536866"/>
      </p:ext>
    </p:extLst>
  </p:cSld>
  <p:clrMapOvr>
    <a:masterClrMapping/>
  </p:clrMapOvr>
  <p:hf hd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ユーザー設定レイアウト">
    <p:bg>
      <p:bgPr>
        <a:solidFill>
          <a:schemeClr val="bg1"/>
        </a:solidFill>
        <a:effectLst/>
      </p:bgPr>
    </p:bg>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17826CC-B2A5-429D-07C7-0476B4A427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3029" y="6620891"/>
            <a:ext cx="833142" cy="144000"/>
          </a:xfrm>
          <a:prstGeom prst="rect">
            <a:avLst/>
          </a:prstGeom>
        </p:spPr>
      </p:pic>
      <p:sp>
        <p:nvSpPr>
          <p:cNvPr id="6" name="コンテンツ プレースホルダ 2">
            <a:extLst>
              <a:ext uri="{FF2B5EF4-FFF2-40B4-BE49-F238E27FC236}">
                <a16:creationId xmlns:a16="http://schemas.microsoft.com/office/drawing/2014/main" id="{CF473317-4BD6-3380-2257-DAA411031904}"/>
              </a:ext>
            </a:extLst>
          </p:cNvPr>
          <p:cNvSpPr>
            <a:spLocks noGrp="1"/>
          </p:cNvSpPr>
          <p:nvPr>
            <p:ph idx="1"/>
          </p:nvPr>
        </p:nvSpPr>
        <p:spPr>
          <a:xfrm>
            <a:off x="292100" y="764704"/>
            <a:ext cx="11595100" cy="5712296"/>
          </a:xfrm>
          <a:prstGeom prst="rect">
            <a:avLst/>
          </a:prstGeom>
        </p:spPr>
        <p:txBody>
          <a:bodyPr/>
          <a:lstStyle>
            <a:lvl1pPr>
              <a:defRPr sz="1200">
                <a:latin typeface="+mj-lt"/>
              </a:defRPr>
            </a:lvl1pPr>
          </a:lstStyle>
          <a:p>
            <a:pPr lvl="0"/>
            <a:r>
              <a:rPr lang="ja-JP" altLang="en-US"/>
              <a:t>マスター テキストの書式設定</a:t>
            </a:r>
          </a:p>
        </p:txBody>
      </p:sp>
    </p:spTree>
    <p:extLst>
      <p:ext uri="{BB962C8B-B14F-4D97-AF65-F5344CB8AC3E}">
        <p14:creationId xmlns:p14="http://schemas.microsoft.com/office/powerpoint/2010/main" val="1822476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つのコンテンツ">
    <p:spTree>
      <p:nvGrpSpPr>
        <p:cNvPr id="1" name=""/>
        <p:cNvGrpSpPr/>
        <p:nvPr/>
      </p:nvGrpSpPr>
      <p:grpSpPr>
        <a:xfrm>
          <a:off x="0" y="0"/>
          <a:ext cx="0" cy="0"/>
          <a:chOff x="0" y="0"/>
          <a:chExt cx="0" cy="0"/>
        </a:xfrm>
      </p:grpSpPr>
      <p:sp>
        <p:nvSpPr>
          <p:cNvPr id="7" name="Rectangle 6"/>
          <p:cNvSpPr>
            <a:spLocks noGrp="1" noChangeArrowheads="1"/>
          </p:cNvSpPr>
          <p:nvPr>
            <p:ph type="sldNum" sz="quarter" idx="12"/>
          </p:nvPr>
        </p:nvSpPr>
        <p:spPr>
          <a:ln/>
        </p:spPr>
        <p:txBody>
          <a:bodyPr/>
          <a:lstStyle>
            <a:lvl1pPr>
              <a:defRPr/>
            </a:lvl1pPr>
          </a:lstStyle>
          <a:p>
            <a:pPr>
              <a:defRPr/>
            </a:pPr>
            <a:fld id="{964DE403-68E0-47EB-9A36-3C247B164772}" type="slidenum">
              <a:rPr lang="en-US" altLang="ja-JP"/>
              <a:pPr>
                <a:defRPr/>
              </a:pPr>
              <a:t>‹#›</a:t>
            </a:fld>
            <a:endParaRPr lang="en-US" altLang="ja-JP"/>
          </a:p>
        </p:txBody>
      </p:sp>
      <p:pic>
        <p:nvPicPr>
          <p:cNvPr id="5" name="図 4">
            <a:extLst>
              <a:ext uri="{FF2B5EF4-FFF2-40B4-BE49-F238E27FC236}">
                <a16:creationId xmlns:a16="http://schemas.microsoft.com/office/drawing/2014/main" id="{CC2D3B75-1E1E-42C0-95B7-093E28E9129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01592" y="-1079333"/>
            <a:ext cx="637715" cy="576000"/>
          </a:xfrm>
          <a:prstGeom prst="rect">
            <a:avLst/>
          </a:prstGeom>
        </p:spPr>
      </p:pic>
      <p:pic>
        <p:nvPicPr>
          <p:cNvPr id="9" name="図 8">
            <a:extLst>
              <a:ext uri="{FF2B5EF4-FFF2-40B4-BE49-F238E27FC236}">
                <a16:creationId xmlns:a16="http://schemas.microsoft.com/office/drawing/2014/main" id="{6B53F3AF-9540-4A7F-BBF0-5DC8C827491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63952" y="-998742"/>
            <a:ext cx="1704119" cy="324000"/>
          </a:xfrm>
          <a:prstGeom prst="rect">
            <a:avLst/>
          </a:prstGeom>
        </p:spPr>
      </p:pic>
      <p:pic>
        <p:nvPicPr>
          <p:cNvPr id="15" name="図 14">
            <a:extLst>
              <a:ext uri="{FF2B5EF4-FFF2-40B4-BE49-F238E27FC236}">
                <a16:creationId xmlns:a16="http://schemas.microsoft.com/office/drawing/2014/main" id="{3583B3C7-3836-4242-8630-82023414F51C}"/>
              </a:ext>
            </a:extLst>
          </p:cNvPr>
          <p:cNvPicPr>
            <a:picLocks noChangeAspect="1"/>
          </p:cNvPicPr>
          <p:nvPr userDrawn="1"/>
        </p:nvPicPr>
        <p:blipFill>
          <a:blip r:embed="rId4"/>
          <a:stretch>
            <a:fillRect/>
          </a:stretch>
        </p:blipFill>
        <p:spPr>
          <a:xfrm>
            <a:off x="4800495" y="3142463"/>
            <a:ext cx="2365453" cy="573074"/>
          </a:xfrm>
          <a:prstGeom prst="rect">
            <a:avLst/>
          </a:prstGeom>
        </p:spPr>
      </p:pic>
    </p:spTree>
    <p:extLst>
      <p:ext uri="{BB962C8B-B14F-4D97-AF65-F5344CB8AC3E}">
        <p14:creationId xmlns:p14="http://schemas.microsoft.com/office/powerpoint/2010/main" val="35408826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Subhead (top) and Subtitle">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78BA5CC5-FD1F-41D5-A62A-5B826C9FC1DA}"/>
              </a:ext>
            </a:extLst>
          </p:cNvPr>
          <p:cNvGraphicFramePr>
            <a:graphicFrameLocks noChangeAspect="1"/>
          </p:cNvGraphicFramePr>
          <p:nvPr userDrawn="1">
            <p:custDataLst>
              <p:tags r:id="rId1"/>
            </p:custDataLst>
            <p:extLst>
              <p:ext uri="{D42A27DB-BD31-4B8C-83A1-F6EECF244321}">
                <p14:modId xmlns:p14="http://schemas.microsoft.com/office/powerpoint/2010/main" val="2093453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90" imgH="605" progId="TCLayout.ActiveDocument.1">
                  <p:embed/>
                </p:oleObj>
              </mc:Choice>
              <mc:Fallback>
                <p:oleObj name="think-cell スライド" r:id="rId4" imgW="590" imgH="605" progId="TCLayout.ActiveDocument.1">
                  <p:embed/>
                  <p:pic>
                    <p:nvPicPr>
                      <p:cNvPr id="3" name="オブジェクト 2" hidden="1">
                        <a:extLst>
                          <a:ext uri="{FF2B5EF4-FFF2-40B4-BE49-F238E27FC236}">
                            <a16:creationId xmlns:a16="http://schemas.microsoft.com/office/drawing/2014/main" id="{78BA5CC5-FD1F-41D5-A62A-5B826C9FC1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正方形/長方形 1" hidden="1">
            <a:extLst>
              <a:ext uri="{FF2B5EF4-FFF2-40B4-BE49-F238E27FC236}">
                <a16:creationId xmlns:a16="http://schemas.microsoft.com/office/drawing/2014/main" id="{1808ADB8-0A8A-424A-BB75-AE716B603396}"/>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sz="3200" b="1" i="0" baseline="0">
              <a:latin typeface="Meiryo UI" panose="020B0604030504040204" pitchFamily="50" charset="-128"/>
              <a:ea typeface="Meiryo UI" panose="020B0604030504040204" pitchFamily="50" charset="-128"/>
              <a:cs typeface="+mj-cs"/>
              <a:sym typeface="Meiryo UI" panose="020B0604030504040204" pitchFamily="50" charset="-128"/>
            </a:endParaRPr>
          </a:p>
        </p:txBody>
      </p:sp>
      <p:sp>
        <p:nvSpPr>
          <p:cNvPr id="9" name="Subtitle">
            <a:extLst>
              <a:ext uri="{FF2B5EF4-FFF2-40B4-BE49-F238E27FC236}">
                <a16:creationId xmlns:a16="http://schemas.microsoft.com/office/drawing/2014/main" id="{962A254E-2854-48FA-8F65-0066AC7FF3BC}"/>
              </a:ext>
            </a:extLst>
          </p:cNvPr>
          <p:cNvSpPr>
            <a:spLocks noGrp="1"/>
          </p:cNvSpPr>
          <p:nvPr>
            <p:ph type="body" sz="quarter" idx="36" hasCustomPrompt="1"/>
          </p:nvPr>
        </p:nvSpPr>
        <p:spPr>
          <a:xfrm>
            <a:off x="300779" y="215626"/>
            <a:ext cx="11376000" cy="415498"/>
          </a:xfrm>
          <a:prstGeom prst="rect">
            <a:avLst/>
          </a:prstGeom>
        </p:spPr>
        <p:txBody>
          <a:bodyPr wrap="square" tIns="0" anchor="ctr">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400" b="1">
                <a:solidFill>
                  <a:schemeClr val="bg1">
                    <a:lumMod val="50000"/>
                  </a:schemeClr>
                </a:solidFill>
                <a:latin typeface="Meiryo UI" panose="020B0604030504040204" pitchFamily="50" charset="-128"/>
                <a:ea typeface="Meiryo UI" panose="020B0604030504040204" pitchFamily="50" charset="-128"/>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GB" noProof="0"/>
              <a:t>Insert subhead here</a:t>
            </a:r>
          </a:p>
        </p:txBody>
      </p:sp>
      <p:sp>
        <p:nvSpPr>
          <p:cNvPr id="10" name="Title 2">
            <a:extLst>
              <a:ext uri="{FF2B5EF4-FFF2-40B4-BE49-F238E27FC236}">
                <a16:creationId xmlns:a16="http://schemas.microsoft.com/office/drawing/2014/main" id="{4F6B60F4-9919-41FE-A603-015DB9F0B9C8}"/>
              </a:ext>
            </a:extLst>
          </p:cNvPr>
          <p:cNvSpPr>
            <a:spLocks noGrp="1"/>
          </p:cNvSpPr>
          <p:nvPr>
            <p:ph type="title" hasCustomPrompt="1"/>
          </p:nvPr>
        </p:nvSpPr>
        <p:spPr>
          <a:xfrm>
            <a:off x="300779" y="655357"/>
            <a:ext cx="11376000" cy="432000"/>
          </a:xfrm>
          <a:prstGeom prst="rect">
            <a:avLst/>
          </a:prstGeom>
        </p:spPr>
        <p:txBody>
          <a:bodyPr vert="horz" anchor="ctr"/>
          <a:lstStyle>
            <a:lvl1pPr>
              <a:lnSpc>
                <a:spcPct val="80000"/>
              </a:lnSpc>
              <a:defRPr sz="3200" b="1">
                <a:solidFill>
                  <a:schemeClr val="tx1"/>
                </a:solidFill>
                <a:latin typeface="Meiryo UI" panose="020B0604030504040204" pitchFamily="50" charset="-128"/>
                <a:ea typeface="Meiryo UI" panose="020B0604030504040204" pitchFamily="50" charset="-128"/>
              </a:defRPr>
            </a:lvl1pPr>
          </a:lstStyle>
          <a:p>
            <a:r>
              <a:rPr lang="en-US"/>
              <a:t>Click to edit Master title</a:t>
            </a:r>
            <a:endParaRPr lang="en-GB"/>
          </a:p>
        </p:txBody>
      </p:sp>
      <p:sp>
        <p:nvSpPr>
          <p:cNvPr id="7" name="テキスト ボックス 6">
            <a:extLst>
              <a:ext uri="{FF2B5EF4-FFF2-40B4-BE49-F238E27FC236}">
                <a16:creationId xmlns:a16="http://schemas.microsoft.com/office/drawing/2014/main" id="{0C6B6BC9-2B8A-45A2-ABFD-3C7DD87E6848}"/>
              </a:ext>
            </a:extLst>
          </p:cNvPr>
          <p:cNvSpPr txBox="1"/>
          <p:nvPr userDrawn="1"/>
        </p:nvSpPr>
        <p:spPr>
          <a:xfrm>
            <a:off x="11801835" y="6623715"/>
            <a:ext cx="287506" cy="226591"/>
          </a:xfrm>
          <a:prstGeom prst="rect">
            <a:avLst/>
          </a:prstGeom>
          <a:noFill/>
        </p:spPr>
        <p:txBody>
          <a:bodyPr wrap="none" lIns="36000" tIns="36000" rIns="36000" bIns="36000" rtlCol="0">
            <a:spAutoFit/>
          </a:bodyPr>
          <a:lstStyle/>
          <a:p>
            <a:pPr algn="ctr"/>
            <a:fld id="{989496C2-B50A-F244-A0A1-E3849033C8B1}" type="slidenum">
              <a:rPr lang="en-GB" altLang="ja-JP" sz="1000" smtClean="0">
                <a:solidFill>
                  <a:schemeClr val="bg1">
                    <a:lumMod val="50000"/>
                  </a:schemeClr>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1" lang="ja-JP" altLang="en-US" sz="1000" i="1">
              <a:latin typeface="Meiryo UI" panose="020B0604030504040204" pitchFamily="50" charset="-128"/>
              <a:ea typeface="Meiryo UI" panose="020B0604030504040204" pitchFamily="50" charset="-128"/>
              <a:sym typeface="Meiryo UI" panose="020B0604030504040204" pitchFamily="50" charset="-128"/>
            </a:endParaRPr>
          </a:p>
        </p:txBody>
      </p:sp>
    </p:spTree>
    <p:extLst>
      <p:ext uri="{BB962C8B-B14F-4D97-AF65-F5344CB8AC3E}">
        <p14:creationId xmlns:p14="http://schemas.microsoft.com/office/powerpoint/2010/main" val="3034404116"/>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theme/theme1.xml" Type="http://schemas.openxmlformats.org/officeDocument/2006/relationships/theme"/><Relationship Id="rId6" Target="../tags/tag2.xml" Type="http://schemas.openxmlformats.org/officeDocument/2006/relationships/tags"/><Relationship Id="rId7" Target="../embeddings/oleObject1.bin" Type="http://schemas.openxmlformats.org/officeDocument/2006/relationships/oleObject"/><Relationship Id="rId8" Target="../media/image1.emf" Type="http://schemas.openxmlformats.org/officeDocument/2006/relationships/image"/><Relationship Id="rId9" Target="../media/image2.png" Type="http://schemas.openxmlformats.org/officeDocument/2006/relationships/image"/></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D7D6AE8-0AE8-AE92-3DEF-3A63419E8C47}"/>
              </a:ext>
            </a:extLst>
          </p:cNvPr>
          <p:cNvGraphicFramePr>
            <a:graphicFrameLocks noChangeAspect="1"/>
          </p:cNvGraphicFramePr>
          <p:nvPr userDrawn="1">
            <p:custDataLst>
              <p:tags r:id="rId6"/>
            </p:custDataLst>
            <p:extLst>
              <p:ext uri="{D42A27DB-BD31-4B8C-83A1-F6EECF244321}">
                <p14:modId xmlns:p14="http://schemas.microsoft.com/office/powerpoint/2010/main" val="3681713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408" imgH="408" progId="TCLayout.ActiveDocument.1">
                  <p:embed/>
                </p:oleObj>
              </mc:Choice>
              <mc:Fallback>
                <p:oleObj name="think-cell スライド" r:id="rId7" imgW="408" imgH="408" progId="TCLayout.ActiveDocument.1">
                  <p:embed/>
                  <p:pic>
                    <p:nvPicPr>
                      <p:cNvPr id="2" name="think-cell data - do not delete" hidden="1">
                        <a:extLst>
                          <a:ext uri="{FF2B5EF4-FFF2-40B4-BE49-F238E27FC236}">
                            <a16:creationId xmlns:a16="http://schemas.microsoft.com/office/drawing/2014/main" id="{FD7D6AE8-0AE8-AE92-3DEF-3A63419E8C4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30" name="Rectangle 6"/>
          <p:cNvSpPr>
            <a:spLocks noGrp="1" noChangeArrowheads="1"/>
          </p:cNvSpPr>
          <p:nvPr>
            <p:ph type="sldNum" sz="quarter" idx="4"/>
          </p:nvPr>
        </p:nvSpPr>
        <p:spPr bwMode="auto">
          <a:xfrm>
            <a:off x="11712624" y="6597352"/>
            <a:ext cx="479376" cy="26022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r">
              <a:defRPr sz="900">
                <a:latin typeface="Noto Sans JP"/>
                <a:ea typeface="ＭＳ Ｐゴシック" pitchFamily="50" charset="-128"/>
              </a:defRPr>
            </a:lvl1pPr>
          </a:lstStyle>
          <a:p>
            <a:pPr>
              <a:defRPr/>
            </a:pPr>
            <a:fld id="{FFDCE21E-3BF4-4A13-BE4A-B95BE9787BE2}" type="slidenum">
              <a:rPr lang="en-US" altLang="ja-JP" smtClean="0"/>
              <a:pPr>
                <a:defRPr/>
              </a:pPr>
              <a:t>‹#›</a:t>
            </a:fld>
            <a:endParaRPr lang="en-US" altLang="ja-JP"/>
          </a:p>
        </p:txBody>
      </p:sp>
      <p:sp>
        <p:nvSpPr>
          <p:cNvPr id="38" name="テキスト プレースホルダー 37">
            <a:extLst>
              <a:ext uri="{FF2B5EF4-FFF2-40B4-BE49-F238E27FC236}">
                <a16:creationId xmlns:a16="http://schemas.microsoft.com/office/drawing/2014/main" id="{1ECE4958-08A0-BD8D-7D5D-D4A7BB6A39C6}"/>
              </a:ext>
            </a:extLst>
          </p:cNvPr>
          <p:cNvSpPr>
            <a:spLocks noGrp="1"/>
          </p:cNvSpPr>
          <p:nvPr>
            <p:ph type="body" idx="1"/>
          </p:nvPr>
        </p:nvSpPr>
        <p:spPr>
          <a:xfrm>
            <a:off x="292100" y="2133600"/>
            <a:ext cx="11595100" cy="4343400"/>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3" name="テキスト ボックス 2">
            <a:extLst>
              <a:ext uri="{FF2B5EF4-FFF2-40B4-BE49-F238E27FC236}">
                <a16:creationId xmlns:a16="http://schemas.microsoft.com/office/drawing/2014/main" id="{87D0FF6D-A520-87F6-851A-32670B6B9442}"/>
              </a:ext>
            </a:extLst>
          </p:cNvPr>
          <p:cNvSpPr txBox="1"/>
          <p:nvPr userDrawn="1"/>
        </p:nvSpPr>
        <p:spPr>
          <a:xfrm>
            <a:off x="1166350" y="6577475"/>
            <a:ext cx="3171061" cy="230832"/>
          </a:xfrm>
          <a:prstGeom prst="rect">
            <a:avLst/>
          </a:prstGeom>
          <a:noFill/>
        </p:spPr>
        <p:txBody>
          <a:bodyPr wrap="none" rtlCol="0">
            <a:spAutoFit/>
          </a:bodyPr>
          <a:lstStyle/>
          <a:p>
            <a:r>
              <a:rPr kumimoji="1" lang="en-US" altLang="ja-JP" sz="900">
                <a:solidFill>
                  <a:schemeClr val="bg1">
                    <a:lumMod val="75000"/>
                  </a:schemeClr>
                </a:solidFill>
              </a:rPr>
              <a:t>Copyright</a:t>
            </a:r>
            <a:r>
              <a:rPr kumimoji="1" lang="ja-JP" altLang="en-US" sz="900">
                <a:solidFill>
                  <a:schemeClr val="bg1">
                    <a:lumMod val="75000"/>
                  </a:schemeClr>
                </a:solidFill>
              </a:rPr>
              <a:t> </a:t>
            </a:r>
            <a:r>
              <a:rPr kumimoji="1" lang="en-US" altLang="ja-JP" sz="900">
                <a:solidFill>
                  <a:schemeClr val="bg1">
                    <a:lumMod val="75000"/>
                  </a:schemeClr>
                </a:solidFill>
              </a:rPr>
              <a:t>© 2025</a:t>
            </a:r>
            <a:r>
              <a:rPr kumimoji="1" lang="en-US" altLang="ja-JP" sz="900" baseline="0">
                <a:solidFill>
                  <a:schemeClr val="bg1">
                    <a:lumMod val="75000"/>
                  </a:schemeClr>
                </a:solidFill>
              </a:rPr>
              <a:t> by MLIT. All rights reserved.</a:t>
            </a:r>
            <a:endParaRPr kumimoji="1" lang="ja-JP" altLang="en-US" sz="900">
              <a:solidFill>
                <a:schemeClr val="bg1">
                  <a:lumMod val="75000"/>
                </a:schemeClr>
              </a:solidFill>
            </a:endParaRPr>
          </a:p>
        </p:txBody>
      </p:sp>
      <p:pic>
        <p:nvPicPr>
          <p:cNvPr id="4" name="図 3">
            <a:extLst>
              <a:ext uri="{FF2B5EF4-FFF2-40B4-BE49-F238E27FC236}">
                <a16:creationId xmlns:a16="http://schemas.microsoft.com/office/drawing/2014/main" id="{C12C3DD6-97B4-BE5F-B436-9C7F3023ECB5}"/>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93029" y="6620891"/>
            <a:ext cx="833142" cy="144000"/>
          </a:xfrm>
          <a:prstGeom prst="rect">
            <a:avLst/>
          </a:prstGeom>
        </p:spPr>
      </p:pic>
    </p:spTree>
    <p:extLst>
      <p:ext uri="{BB962C8B-B14F-4D97-AF65-F5344CB8AC3E}">
        <p14:creationId xmlns:p14="http://schemas.microsoft.com/office/powerpoint/2010/main" val="2162003807"/>
      </p:ext>
    </p:extLst>
  </p:cSld>
  <p:clrMap bg1="lt1" tx1="dk1" bg2="lt2" tx2="dk2" accent1="accent1" accent2="accent2" accent3="accent3" accent4="accent4" accent5="accent5" accent6="accent6" hlink="hlink" folHlink="folHlink"/>
  <p:sldLayoutIdLst>
    <p:sldLayoutId id="2147483756" r:id="rId1"/>
    <p:sldLayoutId id="2147483759" r:id="rId2"/>
    <p:sldLayoutId id="2147483760" r:id="rId3"/>
    <p:sldLayoutId id="2147483761" r:id="rId4"/>
  </p:sldLayoutIdLst>
  <p:hf hdr="0" ftr="0" dt="0"/>
  <p:txStyles>
    <p:titleStyle>
      <a:lvl1pPr algn="l" rtl="0" eaLnBrk="1" fontAlgn="base" hangingPunct="1">
        <a:spcBef>
          <a:spcPct val="0"/>
        </a:spcBef>
        <a:spcAft>
          <a:spcPct val="0"/>
        </a:spcAft>
        <a:defRPr kumimoji="1" sz="1950">
          <a:solidFill>
            <a:srgbClr val="4087C8"/>
          </a:solidFill>
          <a:latin typeface="游ゴシック Medium" panose="020B0500000000000000" pitchFamily="50" charset="-128"/>
          <a:ea typeface="游ゴシック Medium" panose="020B0500000000000000" pitchFamily="50" charset="-128"/>
          <a:cs typeface="+mj-cs"/>
        </a:defRPr>
      </a:lvl1pPr>
      <a:lvl2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5pPr>
      <a:lvl6pPr marL="371475"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6pPr>
      <a:lvl7pPr marL="742950"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7pPr>
      <a:lvl8pPr marL="1114425"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8pPr>
      <a:lvl9pPr marL="1485900"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9pPr>
    </p:titleStyle>
    <p:bodyStyle>
      <a:lvl1pPr marL="278606" indent="-278606" algn="l" rtl="0" eaLnBrk="1" fontAlgn="base" hangingPunct="1">
        <a:spcBef>
          <a:spcPct val="20000"/>
        </a:spcBef>
        <a:spcAft>
          <a:spcPct val="0"/>
        </a:spcAft>
        <a:buChar char="•"/>
        <a:defRPr kumimoji="1" sz="1600">
          <a:solidFill>
            <a:schemeClr val="tx1"/>
          </a:solidFill>
          <a:latin typeface="+mn-lt"/>
          <a:ea typeface="游ゴシック" panose="020B0400000000000000"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p:bodyStyle>
    <p:otherStyle>
      <a:defPPr>
        <a:defRPr lang="ja-JP"/>
      </a:defPPr>
      <a:lvl1pPr marL="0" algn="l" defTabSz="742950" rtl="0" eaLnBrk="1" latinLnBrk="0" hangingPunct="1">
        <a:defRPr kumimoji="1" sz="1463" kern="1200">
          <a:solidFill>
            <a:schemeClr val="tx1"/>
          </a:solidFill>
          <a:latin typeface="+mn-lt"/>
          <a:ea typeface="+mn-ea"/>
          <a:cs typeface="+mn-cs"/>
        </a:defRPr>
      </a:lvl1pPr>
      <a:lvl2pPr marL="371475" algn="l" defTabSz="742950" rtl="0" eaLnBrk="1" latinLnBrk="0" hangingPunct="1">
        <a:defRPr kumimoji="1" sz="1463" kern="1200">
          <a:solidFill>
            <a:schemeClr val="tx1"/>
          </a:solidFill>
          <a:latin typeface="+mn-lt"/>
          <a:ea typeface="+mn-ea"/>
          <a:cs typeface="+mn-cs"/>
        </a:defRPr>
      </a:lvl2pPr>
      <a:lvl3pPr marL="742950" algn="l" defTabSz="742950" rtl="0" eaLnBrk="1" latinLnBrk="0" hangingPunct="1">
        <a:defRPr kumimoji="1" sz="1463" kern="1200">
          <a:solidFill>
            <a:schemeClr val="tx1"/>
          </a:solidFill>
          <a:latin typeface="+mn-lt"/>
          <a:ea typeface="+mn-ea"/>
          <a:cs typeface="+mn-cs"/>
        </a:defRPr>
      </a:lvl3pPr>
      <a:lvl4pPr marL="1114425" algn="l" defTabSz="742950" rtl="0" eaLnBrk="1" latinLnBrk="0" hangingPunct="1">
        <a:defRPr kumimoji="1" sz="1463" kern="1200">
          <a:solidFill>
            <a:schemeClr val="tx1"/>
          </a:solidFill>
          <a:latin typeface="+mn-lt"/>
          <a:ea typeface="+mn-ea"/>
          <a:cs typeface="+mn-cs"/>
        </a:defRPr>
      </a:lvl4pPr>
      <a:lvl5pPr marL="1485900" algn="l" defTabSz="742950" rtl="0" eaLnBrk="1" latinLnBrk="0" hangingPunct="1">
        <a:defRPr kumimoji="1" sz="1463" kern="1200">
          <a:solidFill>
            <a:schemeClr val="tx1"/>
          </a:solidFill>
          <a:latin typeface="+mn-lt"/>
          <a:ea typeface="+mn-ea"/>
          <a:cs typeface="+mn-cs"/>
        </a:defRPr>
      </a:lvl5pPr>
      <a:lvl6pPr marL="1857375" algn="l" defTabSz="742950" rtl="0" eaLnBrk="1" latinLnBrk="0" hangingPunct="1">
        <a:defRPr kumimoji="1" sz="1463" kern="1200">
          <a:solidFill>
            <a:schemeClr val="tx1"/>
          </a:solidFill>
          <a:latin typeface="+mn-lt"/>
          <a:ea typeface="+mn-ea"/>
          <a:cs typeface="+mn-cs"/>
        </a:defRPr>
      </a:lvl6pPr>
      <a:lvl7pPr marL="2228850" algn="l" defTabSz="742950" rtl="0" eaLnBrk="1" latinLnBrk="0" hangingPunct="1">
        <a:defRPr kumimoji="1" sz="1463" kern="1200">
          <a:solidFill>
            <a:schemeClr val="tx1"/>
          </a:solidFill>
          <a:latin typeface="+mn-lt"/>
          <a:ea typeface="+mn-ea"/>
          <a:cs typeface="+mn-cs"/>
        </a:defRPr>
      </a:lvl7pPr>
      <a:lvl8pPr marL="2600325" algn="l" defTabSz="742950" rtl="0" eaLnBrk="1" latinLnBrk="0" hangingPunct="1">
        <a:defRPr kumimoji="1" sz="1463" kern="1200">
          <a:solidFill>
            <a:schemeClr val="tx1"/>
          </a:solidFill>
          <a:latin typeface="+mn-lt"/>
          <a:ea typeface="+mn-ea"/>
          <a:cs typeface="+mn-cs"/>
        </a:defRPr>
      </a:lvl8pPr>
      <a:lvl9pPr marL="2971800" algn="l" defTabSz="742950" rtl="0" eaLnBrk="1" latinLnBrk="0" hangingPunct="1">
        <a:defRPr kumimoji="1"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44">
          <p15:clr>
            <a:srgbClr val="F26B43"/>
          </p15:clr>
        </p15:guide>
        <p15:guide id="2" pos="179">
          <p15:clr>
            <a:srgbClr val="F26B43"/>
          </p15:clr>
        </p15:guide>
        <p15:guide id="3" pos="7494">
          <p15:clr>
            <a:srgbClr val="F26B43"/>
          </p15:clr>
        </p15:guide>
        <p15:guide id="4" orient="horz" pos="4090">
          <p15:clr>
            <a:srgbClr val="F26B43"/>
          </p15:clr>
        </p15:guide>
      </p15:sldGuideLst>
    </p:ext>
  </p:extLst>
</p:sldMaster>
</file>

<file path=ppt/slides/_rels/slide1.xml.rels><?xml version="1.0" encoding="UTF-8" standalone="yes"?><Relationships xmlns="http://schemas.openxmlformats.org/package/2006/relationships"><Relationship Id="rId1" Target="../tags/tag6.xml" Type="http://schemas.openxmlformats.org/officeDocument/2006/relationships/tags"/><Relationship Id="rId2" Target="../slideLayouts/slideLayout1.xml" Type="http://schemas.openxmlformats.org/officeDocument/2006/relationships/slideLayout"/><Relationship Id="rId3" Target="../embeddings/oleObject4.bin" Type="http://schemas.openxmlformats.org/officeDocument/2006/relationships/oleObject"/><Relationship Id="rId4" Target="../media/image7.emf" Type="http://schemas.openxmlformats.org/officeDocument/2006/relationships/image"/></Relationships>
</file>

<file path=ppt/slides/_rels/slide10.xml.rels><?xml version="1.0" encoding="UTF-8" standalone="yes"?><Relationships xmlns="http://schemas.openxmlformats.org/package/2006/relationships"><Relationship Id="rId1" Target="../tags/tag15.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11.xml.rels><?xml version="1.0" encoding="UTF-8" standalone="yes"?><Relationships xmlns="http://schemas.openxmlformats.org/package/2006/relationships"><Relationship Id="rId1" Target="../tags/tag16.xml" Type="http://schemas.openxmlformats.org/officeDocument/2006/relationships/tags"/><Relationship Id="rId2" Target="../slideLayouts/slideLayout4.xml" Type="http://schemas.openxmlformats.org/officeDocument/2006/relationships/slideLayout"/><Relationship Id="rId3" Target="../notesSlides/notesSlide3.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s>
</file>

<file path=ppt/slides/_rels/slide12.xml.rels><?xml version="1.0" encoding="UTF-8" standalone="yes"?><Relationships xmlns="http://schemas.openxmlformats.org/package/2006/relationships"><Relationship Id="rId1" Target="../tags/tag17.xml" Type="http://schemas.openxmlformats.org/officeDocument/2006/relationships/tags"/><Relationship Id="rId2" Target="../slideLayouts/slideLayout4.xml" Type="http://schemas.openxmlformats.org/officeDocument/2006/relationships/slideLayout"/><Relationship Id="rId3" Target="../notesSlides/notesSlide4.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s>
</file>

<file path=ppt/slides/_rels/slide13.xml.rels><?xml version="1.0" encoding="UTF-8" standalone="yes"?><Relationships xmlns="http://schemas.openxmlformats.org/package/2006/relationships"><Relationship Id="rId1" Target="../tags/tag18.xml" Type="http://schemas.openxmlformats.org/officeDocument/2006/relationships/tags"/><Relationship Id="rId2" Target="../slideLayouts/slideLayout4.xml" Type="http://schemas.openxmlformats.org/officeDocument/2006/relationships/slideLayout"/><Relationship Id="rId3" Target="../notesSlides/notesSlide5.xml" Type="http://schemas.openxmlformats.org/officeDocument/2006/relationships/notesSlide"/><Relationship Id="rId4" Target="../embeddings/oleObject6.bin" Type="http://schemas.openxmlformats.org/officeDocument/2006/relationships/oleObject"/><Relationship Id="rId5" Target="../media/image9.emf" Type="http://schemas.openxmlformats.org/officeDocument/2006/relationships/image"/></Relationships>
</file>

<file path=ppt/slides/_rels/slide14.xml.rels><?xml version="1.0" encoding="UTF-8" standalone="yes"?><Relationships xmlns="http://schemas.openxmlformats.org/package/2006/relationships"><Relationship Id="rId1" Target="../tags/tag19.xml" Type="http://schemas.openxmlformats.org/officeDocument/2006/relationships/tags"/><Relationship Id="rId2" Target="../slideLayouts/slideLayout4.xml" Type="http://schemas.openxmlformats.org/officeDocument/2006/relationships/slideLayout"/><Relationship Id="rId3" Target="../notesSlides/notesSlide6.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s>
</file>

<file path=ppt/slides/_rels/slide15.xml.rels><?xml version="1.0" encoding="UTF-8" standalone="yes"?><Relationships xmlns="http://schemas.openxmlformats.org/package/2006/relationships"><Relationship Id="rId1" Target="../tags/tag20.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16.xml.rels><?xml version="1.0" encoding="UTF-8" standalone="yes"?><Relationships xmlns="http://schemas.openxmlformats.org/package/2006/relationships"><Relationship Id="rId1" Target="../tags/tag21.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17.xml.rels><?xml version="1.0" encoding="UTF-8" standalone="yes"?><Relationships xmlns="http://schemas.openxmlformats.org/package/2006/relationships"><Relationship Id="rId1" Target="../tags/tag22.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18.xml.rels><?xml version="1.0" encoding="UTF-8" standalone="yes"?><Relationships xmlns="http://schemas.openxmlformats.org/package/2006/relationships"><Relationship Id="rId1" Target="../tags/tag23.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19.xml.rels><?xml version="1.0" encoding="UTF-8" standalone="yes"?><Relationships xmlns="http://schemas.openxmlformats.org/package/2006/relationships"><Relationship Id="rId1" Target="../tags/tag24.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2.xml.rels><?xml version="1.0" encoding="UTF-8" standalone="yes"?><Relationships xmlns="http://schemas.openxmlformats.org/package/2006/relationships"><Relationship Id="rId1" Target="../tags/tag7.xml" Type="http://schemas.openxmlformats.org/officeDocument/2006/relationships/tags"/><Relationship Id="rId2" Target="../slideLayouts/slideLayout4.xml" Type="http://schemas.openxmlformats.org/officeDocument/2006/relationships/slideLayout"/><Relationship Id="rId3" Target="../embeddings/oleObject5.bin" Type="http://schemas.openxmlformats.org/officeDocument/2006/relationships/oleObject"/><Relationship Id="rId4" Target="../media/image8.emf" Type="http://schemas.openxmlformats.org/officeDocument/2006/relationships/image"/></Relationships>
</file>

<file path=ppt/slides/_rels/slide20.xml.rels><?xml version="1.0" encoding="UTF-8" standalone="yes"?><Relationships xmlns="http://schemas.openxmlformats.org/package/2006/relationships"><Relationship Id="rId1" Target="../tags/tag25.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21.xml.rels><?xml version="1.0" encoding="UTF-8" standalone="yes"?><Relationships xmlns="http://schemas.openxmlformats.org/package/2006/relationships"><Relationship Id="rId1" Target="../tags/tag26.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22.xml.rels><?xml version="1.0" encoding="UTF-8" standalone="yes"?><Relationships xmlns="http://schemas.openxmlformats.org/package/2006/relationships"><Relationship Id="rId1" Target="../tags/tag27.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23.xml.rels><?xml version="1.0" encoding="UTF-8" standalone="yes"?><Relationships xmlns="http://schemas.openxmlformats.org/package/2006/relationships"><Relationship Id="rId1" Target="../tags/tag28.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24.xml.rels><?xml version="1.0" encoding="UTF-8" standalone="yes"?><Relationships xmlns="http://schemas.openxmlformats.org/package/2006/relationships"><Relationship Id="rId1" Target="../tags/tag29.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25.xml.rels><?xml version="1.0" encoding="UTF-8" standalone="yes"?><Relationships xmlns="http://schemas.openxmlformats.org/package/2006/relationships"><Relationship Id="rId1" Target="../tags/tag30.xml" Type="http://schemas.openxmlformats.org/officeDocument/2006/relationships/tags"/><Relationship Id="rId2" Target="../slideLayouts/slideLayout4.xml" Type="http://schemas.openxmlformats.org/officeDocument/2006/relationships/slideLayout"/><Relationship Id="rId3" Target="../notesSlides/notesSlide7.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s>
</file>

<file path=ppt/slides/_rels/slide26.xml.rels><?xml version="1.0" encoding="UTF-8" standalone="yes"?><Relationships xmlns="http://schemas.openxmlformats.org/package/2006/relationships"><Relationship Id="rId1" Target="../tags/tag31.xml" Type="http://schemas.openxmlformats.org/officeDocument/2006/relationships/tags"/><Relationship Id="rId2" Target="../slideLayouts/slideLayout4.xml" Type="http://schemas.openxmlformats.org/officeDocument/2006/relationships/slideLayout"/><Relationship Id="rId3" Target="../notesSlides/notesSlide8.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s>
</file>

<file path=ppt/slides/_rels/slide27.xml.rels><?xml version="1.0" encoding="UTF-8" standalone="yes"?><Relationships xmlns="http://schemas.openxmlformats.org/package/2006/relationships"><Relationship Id="rId1" Target="../tags/tag32.xml" Type="http://schemas.openxmlformats.org/officeDocument/2006/relationships/tags"/><Relationship Id="rId2" Target="../slideLayouts/slideLayout4.xml" Type="http://schemas.openxmlformats.org/officeDocument/2006/relationships/slideLayout"/><Relationship Id="rId3" Target="../notesSlides/notesSlide9.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s>
</file>

<file path=ppt/slides/_rels/slide28.xml.rels><?xml version="1.0" encoding="UTF-8" standalone="yes"?><Relationships xmlns="http://schemas.openxmlformats.org/package/2006/relationships"><Relationship Id="rId1" Target="../tags/tag33.xml" Type="http://schemas.openxmlformats.org/officeDocument/2006/relationships/tags"/><Relationship Id="rId2" Target="../slideLayouts/slideLayout4.xml" Type="http://schemas.openxmlformats.org/officeDocument/2006/relationships/slideLayout"/><Relationship Id="rId3" Target="../notesSlides/notesSlide10.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 Id="rId6" Target="../media/image27.png" Type="http://schemas.openxmlformats.org/officeDocument/2006/relationships/image"/></Relationships>
</file>

<file path=ppt/slides/_rels/slide29.xml.rels><?xml version="1.0" encoding="UTF-8" standalone="yes"?><Relationships xmlns="http://schemas.openxmlformats.org/package/2006/relationships"><Relationship Id="rId1" Target="../tags/tag34.xml" Type="http://schemas.openxmlformats.org/officeDocument/2006/relationships/tags"/><Relationship Id="rId2" Target="../slideLayouts/slideLayout4.xml" Type="http://schemas.openxmlformats.org/officeDocument/2006/relationships/slideLayout"/><Relationship Id="rId3" Target="../media/image28.png" Type="http://schemas.openxmlformats.org/officeDocument/2006/relationships/image"/><Relationship Id="rId4" Target="../embeddings/oleObject7.bin" Type="http://schemas.openxmlformats.org/officeDocument/2006/relationships/oleObject"/><Relationship Id="rId5" Target="../media/image1.emf" Type="http://schemas.openxmlformats.org/officeDocument/2006/relationships/image"/><Relationship Id="rId6" Target="../media/image29.png" Type="http://schemas.openxmlformats.org/officeDocument/2006/relationships/image"/><Relationship Id="rId7" Target="../media/image30.svg" Type="http://schemas.openxmlformats.org/officeDocument/2006/relationships/image"/><Relationship Id="rId8" Target="../media/image31.png" Type="http://schemas.openxmlformats.org/officeDocument/2006/relationships/image"/><Relationship Id="rId9" Target="../media/image32.svg" Type="http://schemas.openxmlformats.org/officeDocument/2006/relationships/image"/></Relationships>
</file>

<file path=ppt/slides/_rels/slide3.xml.rels><?xml version="1.0" encoding="UTF-8" standalone="yes"?><Relationships xmlns="http://schemas.openxmlformats.org/package/2006/relationships"><Relationship Id="rId1" Target="../tags/tag8.xml" Type="http://schemas.openxmlformats.org/officeDocument/2006/relationships/tags"/><Relationship Id="rId2" Target="../slideLayouts/slideLayout4.xml" Type="http://schemas.openxmlformats.org/officeDocument/2006/relationships/slideLayout"/><Relationship Id="rId3" Target="../embeddings/oleObject5.bin" Type="http://schemas.openxmlformats.org/officeDocument/2006/relationships/oleObject"/><Relationship Id="rId4" Target="../media/image8.emf" Type="http://schemas.openxmlformats.org/officeDocument/2006/relationships/image"/></Relationships>
</file>

<file path=ppt/slides/_rels/slide30.xml.rels><?xml version="1.0" encoding="UTF-8" standalone="yes"?><Relationships xmlns="http://schemas.openxmlformats.org/package/2006/relationships"><Relationship Id="rId1" Target="../tags/tag35.xml" Type="http://schemas.openxmlformats.org/officeDocument/2006/relationships/tags"/><Relationship Id="rId2" Target="../slideLayouts/slideLayout4.xml" Type="http://schemas.openxmlformats.org/officeDocument/2006/relationships/slideLayout"/><Relationship Id="rId3" Target="../media/image33.png" Type="http://schemas.openxmlformats.org/officeDocument/2006/relationships/image"/><Relationship Id="rId4" Target="../embeddings/oleObject7.bin" Type="http://schemas.openxmlformats.org/officeDocument/2006/relationships/oleObject"/><Relationship Id="rId5" Target="../media/image1.emf" Type="http://schemas.openxmlformats.org/officeDocument/2006/relationships/image"/></Relationships>
</file>

<file path=ppt/slides/_rels/slide31.xml.rels><?xml version="1.0" encoding="UTF-8" standalone="yes"?><Relationships xmlns="http://schemas.openxmlformats.org/package/2006/relationships"><Relationship Id="rId1" Target="../tags/tag36.xml" Type="http://schemas.openxmlformats.org/officeDocument/2006/relationships/tags"/><Relationship Id="rId2" Target="../slideLayouts/slideLayout4.xml" Type="http://schemas.openxmlformats.org/officeDocument/2006/relationships/slideLayout"/><Relationship Id="rId3" Target="../notesSlides/notesSlide11.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s>
</file>

<file path=ppt/slides/_rels/slide32.xml.rels><?xml version="1.0" encoding="UTF-8" standalone="yes"?><Relationships xmlns="http://schemas.openxmlformats.org/package/2006/relationships"><Relationship Id="rId1" Target="../tags/tag37.xml" Type="http://schemas.openxmlformats.org/officeDocument/2006/relationships/tags"/><Relationship Id="rId2" Target="../slideLayouts/slideLayout4.xml" Type="http://schemas.openxmlformats.org/officeDocument/2006/relationships/slideLayout"/><Relationship Id="rId3" Target="../media/image34.png" Type="http://schemas.openxmlformats.org/officeDocument/2006/relationships/image"/><Relationship Id="rId4" Target="../embeddings/oleObject7.bin" Type="http://schemas.openxmlformats.org/officeDocument/2006/relationships/oleObject"/><Relationship Id="rId5" Target="../media/image35.emf" Type="http://schemas.openxmlformats.org/officeDocument/2006/relationships/image"/></Relationships>
</file>

<file path=ppt/slides/_rels/slide33.xml.rels><?xml version="1.0" encoding="UTF-8" standalone="yes"?><Relationships xmlns="http://schemas.openxmlformats.org/package/2006/relationships"><Relationship Id="rId1" Target="../tags/tag38.xml" Type="http://schemas.openxmlformats.org/officeDocument/2006/relationships/tags"/><Relationship Id="rId2" Target="../slideLayouts/slideLayout4.xml" Type="http://schemas.openxmlformats.org/officeDocument/2006/relationships/slideLayout"/><Relationship Id="rId3" Target="../embeddings/oleObject7.bin" Type="http://schemas.openxmlformats.org/officeDocument/2006/relationships/oleObject"/><Relationship Id="rId4" Target="../media/image35.emf" Type="http://schemas.openxmlformats.org/officeDocument/2006/relationships/image"/></Relationships>
</file>

<file path=ppt/slides/_rels/slide34.xml.rels><?xml version="1.0" encoding="UTF-8" standalone="yes"?><Relationships xmlns="http://schemas.openxmlformats.org/package/2006/relationships"><Relationship Id="rId1" Target="../tags/tag39.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36.emf" Type="http://schemas.openxmlformats.org/officeDocument/2006/relationships/image"/></Relationships>
</file>

<file path=ppt/slides/_rels/slide35.xml.rels><?xml version="1.0" encoding="UTF-8" standalone="yes"?><Relationships xmlns="http://schemas.openxmlformats.org/package/2006/relationships"><Relationship Id="rId1" Target="../tags/tag40.xml" Type="http://schemas.openxmlformats.org/officeDocument/2006/relationships/tags"/><Relationship Id="rId2" Target="../slideLayouts/slideLayout4.xml" Type="http://schemas.openxmlformats.org/officeDocument/2006/relationships/slideLayout"/><Relationship Id="rId3" Target="../notesSlides/notesSlide12.xml" Type="http://schemas.openxmlformats.org/officeDocument/2006/relationships/notesSlide"/><Relationship Id="rId4" Target="../embeddings/oleObject6.bin" Type="http://schemas.openxmlformats.org/officeDocument/2006/relationships/oleObject"/><Relationship Id="rId5" Target="../media/image9.emf" Type="http://schemas.openxmlformats.org/officeDocument/2006/relationships/image"/></Relationships>
</file>

<file path=ppt/slides/_rels/slide36.xml.rels><?xml version="1.0" encoding="UTF-8" standalone="yes"?><Relationships xmlns="http://schemas.openxmlformats.org/package/2006/relationships"><Relationship Id="rId1" Target="../tags/tag41.xml" Type="http://schemas.openxmlformats.org/officeDocument/2006/relationships/tags"/><Relationship Id="rId2" Target="../slideLayouts/slideLayout4.xml" Type="http://schemas.openxmlformats.org/officeDocument/2006/relationships/slideLayout"/><Relationship Id="rId3" Target="../notesSlides/notesSlide13.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s>
</file>

<file path=ppt/slides/_rels/slide37.xml.rels><?xml version="1.0" encoding="UTF-8" standalone="yes"?><Relationships xmlns="http://schemas.openxmlformats.org/package/2006/relationships"><Relationship Id="rId1" Target="../tags/tag42.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38.xml.rels><?xml version="1.0" encoding="UTF-8" standalone="yes"?><Relationships xmlns="http://schemas.openxmlformats.org/package/2006/relationships"><Relationship Id="rId1" Target="../tags/tag43.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39.xml.rels><?xml version="1.0" encoding="UTF-8" standalone="yes"?><Relationships xmlns="http://schemas.openxmlformats.org/package/2006/relationships"><Relationship Id="rId1" Target="../tags/tag44.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4.xml.rels><?xml version="1.0" encoding="UTF-8" standalone="yes"?><Relationships xmlns="http://schemas.openxmlformats.org/package/2006/relationships"><Relationship Id="rId1" Target="../tags/tag9.xml" Type="http://schemas.openxmlformats.org/officeDocument/2006/relationships/tags"/><Relationship Id="rId2" Target="../slideLayouts/slideLayout4.xml" Type="http://schemas.openxmlformats.org/officeDocument/2006/relationships/slideLayout"/><Relationship Id="rId3" Target="../embeddings/oleObject5.bin" Type="http://schemas.openxmlformats.org/officeDocument/2006/relationships/oleObject"/><Relationship Id="rId4" Target="../media/image8.emf" Type="http://schemas.openxmlformats.org/officeDocument/2006/relationships/image"/></Relationships>
</file>

<file path=ppt/slides/_rels/slide40.xml.rels><?xml version="1.0" encoding="UTF-8" standalone="yes"?><Relationships xmlns="http://schemas.openxmlformats.org/package/2006/relationships"><Relationship Id="rId1" Target="../tags/tag45.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41.xml.rels><?xml version="1.0" encoding="UTF-8" standalone="yes"?><Relationships xmlns="http://schemas.openxmlformats.org/package/2006/relationships"><Relationship Id="rId1" Target="../tags/tag46.xml" Type="http://schemas.openxmlformats.org/officeDocument/2006/relationships/tags"/><Relationship Id="rId2" Target="../slideLayouts/slideLayout4.xml" Type="http://schemas.openxmlformats.org/officeDocument/2006/relationships/slideLayout"/><Relationship Id="rId3" Target="../notesSlides/notesSlide14.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s>
</file>

<file path=ppt/slides/_rels/slide42.xml.rels><?xml version="1.0" encoding="UTF-8" standalone="yes"?><Relationships xmlns="http://schemas.openxmlformats.org/package/2006/relationships"><Relationship Id="rId1" Target="../tags/tag47.xml" Type="http://schemas.openxmlformats.org/officeDocument/2006/relationships/tags"/><Relationship Id="rId2" Target="../slideLayouts/slideLayout4.xml" Type="http://schemas.openxmlformats.org/officeDocument/2006/relationships/slideLayout"/><Relationship Id="rId3" Target="../notesSlides/notesSlide15.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 Id="rId6" Target="../media/image27.png" Type="http://schemas.openxmlformats.org/officeDocument/2006/relationships/image"/></Relationships>
</file>

<file path=ppt/slides/_rels/slide43.xml.rels><?xml version="1.0" encoding="UTF-8" standalone="yes"?><Relationships xmlns="http://schemas.openxmlformats.org/package/2006/relationships"><Relationship Id="rId1" Target="../tags/tag48.xml" Type="http://schemas.openxmlformats.org/officeDocument/2006/relationships/tags"/><Relationship Id="rId2" Target="../slideLayouts/slideLayout4.xml" Type="http://schemas.openxmlformats.org/officeDocument/2006/relationships/slideLayout"/><Relationship Id="rId3" Target="../media/image28.png" Type="http://schemas.openxmlformats.org/officeDocument/2006/relationships/image"/><Relationship Id="rId4" Target="../embeddings/oleObject7.bin" Type="http://schemas.openxmlformats.org/officeDocument/2006/relationships/oleObject"/><Relationship Id="rId5" Target="../media/image1.emf" Type="http://schemas.openxmlformats.org/officeDocument/2006/relationships/image"/><Relationship Id="rId6" Target="../media/image29.png" Type="http://schemas.openxmlformats.org/officeDocument/2006/relationships/image"/><Relationship Id="rId7" Target="../media/image30.svg" Type="http://schemas.openxmlformats.org/officeDocument/2006/relationships/image"/><Relationship Id="rId8" Target="../media/image31.png" Type="http://schemas.openxmlformats.org/officeDocument/2006/relationships/image"/><Relationship Id="rId9" Target="../media/image32.svg" Type="http://schemas.openxmlformats.org/officeDocument/2006/relationships/image"/></Relationships>
</file>

<file path=ppt/slides/_rels/slide44.xml.rels><?xml version="1.0" encoding="UTF-8" standalone="yes"?><Relationships xmlns="http://schemas.openxmlformats.org/package/2006/relationships"><Relationship Id="rId1" Target="../tags/tag49.xml" Type="http://schemas.openxmlformats.org/officeDocument/2006/relationships/tags"/><Relationship Id="rId2" Target="../slideLayouts/slideLayout4.xml" Type="http://schemas.openxmlformats.org/officeDocument/2006/relationships/slideLayout"/><Relationship Id="rId3" Target="../media/image33.png" Type="http://schemas.openxmlformats.org/officeDocument/2006/relationships/image"/><Relationship Id="rId4" Target="../embeddings/oleObject7.bin" Type="http://schemas.openxmlformats.org/officeDocument/2006/relationships/oleObject"/><Relationship Id="rId5" Target="../media/image1.emf" Type="http://schemas.openxmlformats.org/officeDocument/2006/relationships/image"/></Relationships>
</file>

<file path=ppt/slides/_rels/slide45.xml.rels><?xml version="1.0" encoding="UTF-8" standalone="yes"?><Relationships xmlns="http://schemas.openxmlformats.org/package/2006/relationships"><Relationship Id="rId1" Target="../tags/tag50.xml" Type="http://schemas.openxmlformats.org/officeDocument/2006/relationships/tags"/><Relationship Id="rId2" Target="../slideLayouts/slideLayout4.xml" Type="http://schemas.openxmlformats.org/officeDocument/2006/relationships/slideLayout"/><Relationship Id="rId3" Target="../notesSlides/notesSlide16.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s>
</file>

<file path=ppt/slides/_rels/slide46.xml.rels><?xml version="1.0" encoding="UTF-8" standalone="yes"?><Relationships xmlns="http://schemas.openxmlformats.org/package/2006/relationships"><Relationship Id="rId1" Target="../tags/tag51.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47.xml.rels><?xml version="1.0" encoding="UTF-8" standalone="yes"?><Relationships xmlns="http://schemas.openxmlformats.org/package/2006/relationships"><Relationship Id="rId1" Target="../tags/tag52.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48.xml.rels><?xml version="1.0" encoding="UTF-8" standalone="yes"?><Relationships xmlns="http://schemas.openxmlformats.org/package/2006/relationships"><Relationship Id="rId1" Target="../tags/tag53.xml" Type="http://schemas.openxmlformats.org/officeDocument/2006/relationships/tags"/><Relationship Id="rId2" Target="../slideLayouts/slideLayout4.xml" Type="http://schemas.openxmlformats.org/officeDocument/2006/relationships/slideLayout"/><Relationship Id="rId3" Target="../media/image34.png" Type="http://schemas.openxmlformats.org/officeDocument/2006/relationships/image"/><Relationship Id="rId4" Target="../embeddings/oleObject7.bin" Type="http://schemas.openxmlformats.org/officeDocument/2006/relationships/oleObject"/><Relationship Id="rId5" Target="../media/image35.emf" Type="http://schemas.openxmlformats.org/officeDocument/2006/relationships/image"/></Relationships>
</file>

<file path=ppt/slides/_rels/slide49.xml.rels><?xml version="1.0" encoding="UTF-8" standalone="yes"?><Relationships xmlns="http://schemas.openxmlformats.org/package/2006/relationships"><Relationship Id="rId1" Target="../tags/tag54.xml" Type="http://schemas.openxmlformats.org/officeDocument/2006/relationships/tags"/><Relationship Id="rId2" Target="../slideLayouts/slideLayout4.xml" Type="http://schemas.openxmlformats.org/officeDocument/2006/relationships/slideLayout"/><Relationship Id="rId3" Target="../embeddings/oleObject7.bin" Type="http://schemas.openxmlformats.org/officeDocument/2006/relationships/oleObject"/><Relationship Id="rId4" Target="../media/image35.emf" Type="http://schemas.openxmlformats.org/officeDocument/2006/relationships/image"/></Relationships>
</file>

<file path=ppt/slides/_rels/slide5.xml.rels><?xml version="1.0" encoding="UTF-8" standalone="yes"?><Relationships xmlns="http://schemas.openxmlformats.org/package/2006/relationships"><Relationship Id="rId1" Target="../tags/tag10.xml" Type="http://schemas.openxmlformats.org/officeDocument/2006/relationships/tags"/><Relationship Id="rId2" Target="../slideLayouts/slideLayout4.xml" Type="http://schemas.openxmlformats.org/officeDocument/2006/relationships/slideLayout"/><Relationship Id="rId3" Target="../notesSlides/notesSlide1.xml" Type="http://schemas.openxmlformats.org/officeDocument/2006/relationships/notesSlide"/><Relationship Id="rId4" Target="../embeddings/oleObject6.bin" Type="http://schemas.openxmlformats.org/officeDocument/2006/relationships/oleObject"/><Relationship Id="rId5" Target="../media/image9.emf" Type="http://schemas.openxmlformats.org/officeDocument/2006/relationships/image"/></Relationships>
</file>

<file path=ppt/slides/_rels/slide50.xml.rels><?xml version="1.0" encoding="UTF-8" standalone="yes"?><Relationships xmlns="http://schemas.openxmlformats.org/package/2006/relationships"><Relationship Id="rId1" Target="../tags/tag55.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36.emf" Type="http://schemas.openxmlformats.org/officeDocument/2006/relationships/image"/></Relationships>
</file>

<file path=ppt/slides/_rels/slide51.xml.rels><?xml version="1.0" encoding="UTF-8" standalone="yes"?><Relationships xmlns="http://schemas.openxmlformats.org/package/2006/relationships"><Relationship Id="rId1" Target="../tags/tag56.xml" Type="http://schemas.openxmlformats.org/officeDocument/2006/relationships/tags"/><Relationship Id="rId2" Target="../slideLayouts/slideLayout4.xml" Type="http://schemas.openxmlformats.org/officeDocument/2006/relationships/slideLayout"/><Relationship Id="rId3" Target="../notesSlides/notesSlide17.xml" Type="http://schemas.openxmlformats.org/officeDocument/2006/relationships/notesSlide"/><Relationship Id="rId4" Target="../embeddings/oleObject6.bin" Type="http://schemas.openxmlformats.org/officeDocument/2006/relationships/oleObject"/><Relationship Id="rId5" Target="../media/image9.emf" Type="http://schemas.openxmlformats.org/officeDocument/2006/relationships/image"/></Relationships>
</file>

<file path=ppt/slides/_rels/slide52.xml.rels><?xml version="1.0" encoding="UTF-8" standalone="yes"?><Relationships xmlns="http://schemas.openxmlformats.org/package/2006/relationships"><Relationship Id="rId1" Target="../tags/tag57.xml" Type="http://schemas.openxmlformats.org/officeDocument/2006/relationships/tags"/><Relationship Id="rId2" Target="../slideLayouts/slideLayout4.xml" Type="http://schemas.openxmlformats.org/officeDocument/2006/relationships/slideLayout"/><Relationship Id="rId3" Target="../notesSlides/notesSlide18.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s>
</file>

<file path=ppt/slides/_rels/slide53.xml.rels><?xml version="1.0" encoding="UTF-8" standalone="yes"?><Relationships xmlns="http://schemas.openxmlformats.org/package/2006/relationships"><Relationship Id="rId1" Target="../tags/tag58.xml" Type="http://schemas.openxmlformats.org/officeDocument/2006/relationships/tags"/><Relationship Id="rId2" Target="../slideLayouts/slideLayout4.xml" Type="http://schemas.openxmlformats.org/officeDocument/2006/relationships/slideLayout"/><Relationship Id="rId3" Target="../notesSlides/notesSlide19.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s>
</file>

<file path=ppt/slides/_rels/slide54.xml.rels><?xml version="1.0" encoding="UTF-8" standalone="yes"?><Relationships xmlns="http://schemas.openxmlformats.org/package/2006/relationships"><Relationship Id="rId1" Target="../tags/tag59.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55.xml.rels><?xml version="1.0" encoding="UTF-8" standalone="yes"?><Relationships xmlns="http://schemas.openxmlformats.org/package/2006/relationships"><Relationship Id="rId1" Target="../tags/tag60.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56.xml.rels><?xml version="1.0" encoding="UTF-8" standalone="yes"?><Relationships xmlns="http://schemas.openxmlformats.org/package/2006/relationships"><Relationship Id="rId1" Target="../tags/tag61.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57.xml.rels><?xml version="1.0" encoding="UTF-8" standalone="yes"?><Relationships xmlns="http://schemas.openxmlformats.org/package/2006/relationships"><Relationship Id="rId1" Target="../tags/tag62.xml" Type="http://schemas.openxmlformats.org/officeDocument/2006/relationships/tags"/><Relationship Id="rId2" Target="../slideLayouts/slideLayout4.xml" Type="http://schemas.openxmlformats.org/officeDocument/2006/relationships/slideLayout"/><Relationship Id="rId3" Target="../notesSlides/notesSlide20.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s>
</file>

<file path=ppt/slides/_rels/slide58.xml.rels><?xml version="1.0" encoding="UTF-8" standalone="yes"?><Relationships xmlns="http://schemas.openxmlformats.org/package/2006/relationships"><Relationship Id="rId1" Target="../tags/tag63.xml" Type="http://schemas.openxmlformats.org/officeDocument/2006/relationships/tags"/><Relationship Id="rId2" Target="../slideLayouts/slideLayout4.xml" Type="http://schemas.openxmlformats.org/officeDocument/2006/relationships/slideLayout"/><Relationship Id="rId3" Target="../notesSlides/notesSlide21.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 Id="rId6" Target="../media/image27.png" Type="http://schemas.openxmlformats.org/officeDocument/2006/relationships/image"/></Relationships>
</file>

<file path=ppt/slides/_rels/slide59.xml.rels><?xml version="1.0" encoding="UTF-8" standalone="yes"?><Relationships xmlns="http://schemas.openxmlformats.org/package/2006/relationships"><Relationship Id="rId1" Target="../tags/tag64.xml" Type="http://schemas.openxmlformats.org/officeDocument/2006/relationships/tags"/><Relationship Id="rId2" Target="../slideLayouts/slideLayout4.xml" Type="http://schemas.openxmlformats.org/officeDocument/2006/relationships/slideLayout"/><Relationship Id="rId3" Target="../media/image28.png" Type="http://schemas.openxmlformats.org/officeDocument/2006/relationships/image"/><Relationship Id="rId4" Target="../embeddings/oleObject7.bin" Type="http://schemas.openxmlformats.org/officeDocument/2006/relationships/oleObject"/><Relationship Id="rId5" Target="../media/image1.emf" Type="http://schemas.openxmlformats.org/officeDocument/2006/relationships/image"/><Relationship Id="rId6" Target="../media/image29.png" Type="http://schemas.openxmlformats.org/officeDocument/2006/relationships/image"/><Relationship Id="rId7" Target="../media/image30.svg" Type="http://schemas.openxmlformats.org/officeDocument/2006/relationships/image"/><Relationship Id="rId8" Target="../media/image31.png" Type="http://schemas.openxmlformats.org/officeDocument/2006/relationships/image"/><Relationship Id="rId9" Target="../media/image32.svg" Type="http://schemas.openxmlformats.org/officeDocument/2006/relationships/image"/></Relationships>
</file>

<file path=ppt/slides/_rels/slide6.xml.rels><?xml version="1.0" encoding="UTF-8" standalone="yes"?><Relationships xmlns="http://schemas.openxmlformats.org/package/2006/relationships"><Relationship Id="rId1" Target="../tags/tag11.xml" Type="http://schemas.openxmlformats.org/officeDocument/2006/relationships/tags"/><Relationship Id="rId10" Target="../media/image15.png" Type="http://schemas.openxmlformats.org/officeDocument/2006/relationships/image"/><Relationship Id="rId11" Target="../media/image16.png" Type="http://schemas.openxmlformats.org/officeDocument/2006/relationships/image"/><Relationship Id="rId12" Target="../media/image17.png" Type="http://schemas.openxmlformats.org/officeDocument/2006/relationships/image"/><Relationship Id="rId13" Target="../media/image18.png" Type="http://schemas.openxmlformats.org/officeDocument/2006/relationships/image"/><Relationship Id="rId14" Target="../media/image19.png" Type="http://schemas.openxmlformats.org/officeDocument/2006/relationships/image"/><Relationship Id="rId15" Target="../media/image20.png" Type="http://schemas.openxmlformats.org/officeDocument/2006/relationships/image"/><Relationship Id="rId16" Target="../media/image21.png" Type="http://schemas.openxmlformats.org/officeDocument/2006/relationships/image"/><Relationship Id="rId17" Target="../media/image22.png" Type="http://schemas.openxmlformats.org/officeDocument/2006/relationships/image"/><Relationship Id="rId18" Target="../media/image23.png" Type="http://schemas.openxmlformats.org/officeDocument/2006/relationships/image"/><Relationship Id="rId19" Target="../media/image24.png" Type="http://schemas.openxmlformats.org/officeDocument/2006/relationships/image"/><Relationship Id="rId2" Target="../slideLayouts/slideLayout4.xml" Type="http://schemas.openxmlformats.org/officeDocument/2006/relationships/slideLayout"/><Relationship Id="rId20" Target="../media/image25.png" Type="http://schemas.openxmlformats.org/officeDocument/2006/relationships/image"/><Relationship Id="rId21" Target="../media/image26.png" Type="http://schemas.openxmlformats.org/officeDocument/2006/relationships/image"/><Relationship Id="rId3" Target="../embeddings/oleObject6.bin" Type="http://schemas.openxmlformats.org/officeDocument/2006/relationships/oleObject"/><Relationship Id="rId4" Target="../media/image1.emf" Type="http://schemas.openxmlformats.org/officeDocument/2006/relationships/image"/><Relationship Id="rId5" Target="../media/image10.png" Type="http://schemas.openxmlformats.org/officeDocument/2006/relationships/image"/><Relationship Id="rId6" Target="../media/image11.png" Type="http://schemas.openxmlformats.org/officeDocument/2006/relationships/image"/><Relationship Id="rId7" Target="../media/image12.png" Type="http://schemas.openxmlformats.org/officeDocument/2006/relationships/image"/><Relationship Id="rId8" Target="../media/image13.png" Type="http://schemas.openxmlformats.org/officeDocument/2006/relationships/image"/><Relationship Id="rId9" Target="../media/image14.png" Type="http://schemas.openxmlformats.org/officeDocument/2006/relationships/image"/></Relationships>
</file>

<file path=ppt/slides/_rels/slide60.xml.rels><?xml version="1.0" encoding="UTF-8" standalone="yes"?><Relationships xmlns="http://schemas.openxmlformats.org/package/2006/relationships"><Relationship Id="rId1" Target="../tags/tag65.xml" Type="http://schemas.openxmlformats.org/officeDocument/2006/relationships/tags"/><Relationship Id="rId2" Target="../slideLayouts/slideLayout4.xml" Type="http://schemas.openxmlformats.org/officeDocument/2006/relationships/slideLayout"/><Relationship Id="rId3" Target="../media/image33.png" Type="http://schemas.openxmlformats.org/officeDocument/2006/relationships/image"/><Relationship Id="rId4" Target="../embeddings/oleObject8.bin" Type="http://schemas.openxmlformats.org/officeDocument/2006/relationships/oleObject"/><Relationship Id="rId5" Target="../media/image1.emf" Type="http://schemas.openxmlformats.org/officeDocument/2006/relationships/image"/></Relationships>
</file>

<file path=ppt/slides/_rels/slide61.xml.rels><?xml version="1.0" encoding="UTF-8" standalone="yes"?><Relationships xmlns="http://schemas.openxmlformats.org/package/2006/relationships"><Relationship Id="rId1" Target="../tags/tag66.xml" Type="http://schemas.openxmlformats.org/officeDocument/2006/relationships/tags"/><Relationship Id="rId2" Target="../slideLayouts/slideLayout4.xml" Type="http://schemas.openxmlformats.org/officeDocument/2006/relationships/slideLayout"/><Relationship Id="rId3" Target="../notesSlides/notesSlide22.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s>
</file>

<file path=ppt/slides/_rels/slide62.xml.rels><?xml version="1.0" encoding="UTF-8" standalone="yes"?><Relationships xmlns="http://schemas.openxmlformats.org/package/2006/relationships"><Relationship Id="rId1" Target="../tags/tag67.xml" Type="http://schemas.openxmlformats.org/officeDocument/2006/relationships/tags"/><Relationship Id="rId2" Target="../slideLayouts/slideLayout4.xml" Type="http://schemas.openxmlformats.org/officeDocument/2006/relationships/slideLayout"/><Relationship Id="rId3" Target="../media/image34.png" Type="http://schemas.openxmlformats.org/officeDocument/2006/relationships/image"/><Relationship Id="rId4" Target="../embeddings/oleObject7.bin" Type="http://schemas.openxmlformats.org/officeDocument/2006/relationships/oleObject"/><Relationship Id="rId5" Target="../media/image35.emf" Type="http://schemas.openxmlformats.org/officeDocument/2006/relationships/image"/></Relationships>
</file>

<file path=ppt/slides/_rels/slide63.xml.rels><?xml version="1.0" encoding="UTF-8" standalone="yes"?><Relationships xmlns="http://schemas.openxmlformats.org/package/2006/relationships"><Relationship Id="rId1" Target="../tags/tag68.xml" Type="http://schemas.openxmlformats.org/officeDocument/2006/relationships/tags"/><Relationship Id="rId2" Target="../slideLayouts/slideLayout4.xml" Type="http://schemas.openxmlformats.org/officeDocument/2006/relationships/slideLayout"/><Relationship Id="rId3" Target="../embeddings/oleObject7.bin" Type="http://schemas.openxmlformats.org/officeDocument/2006/relationships/oleObject"/><Relationship Id="rId4" Target="../media/image35.emf" Type="http://schemas.openxmlformats.org/officeDocument/2006/relationships/image"/></Relationships>
</file>

<file path=ppt/slides/_rels/slide64.xml.rels><?xml version="1.0" encoding="UTF-8" standalone="yes"?><Relationships xmlns="http://schemas.openxmlformats.org/package/2006/relationships"><Relationship Id="rId1" Target="../tags/tag69.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36.emf" Type="http://schemas.openxmlformats.org/officeDocument/2006/relationships/image"/></Relationships>
</file>

<file path=ppt/slides/_rels/slide65.xml.rels><?xml version="1.0" encoding="UTF-8" standalone="yes"?><Relationships xmlns="http://schemas.openxmlformats.org/package/2006/relationships"><Relationship Id="rId1" Target="../tags/tag70.xml" Type="http://schemas.openxmlformats.org/officeDocument/2006/relationships/tags"/><Relationship Id="rId2" Target="../slideLayouts/slideLayout4.xml" Type="http://schemas.openxmlformats.org/officeDocument/2006/relationships/slideLayout"/><Relationship Id="rId3" Target="../notesSlides/notesSlide23.xml" Type="http://schemas.openxmlformats.org/officeDocument/2006/relationships/notesSlide"/><Relationship Id="rId4" Target="../embeddings/oleObject6.bin" Type="http://schemas.openxmlformats.org/officeDocument/2006/relationships/oleObject"/><Relationship Id="rId5" Target="../media/image9.emf" Type="http://schemas.openxmlformats.org/officeDocument/2006/relationships/image"/></Relationships>
</file>

<file path=ppt/slides/_rels/slide66.xml.rels><?xml version="1.0" encoding="UTF-8" standalone="yes"?><Relationships xmlns="http://schemas.openxmlformats.org/package/2006/relationships"><Relationship Id="rId1" Target="../tags/tag71.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 Id="rId5" Target="../media/image37.png" Type="http://schemas.openxmlformats.org/officeDocument/2006/relationships/image"/></Relationships>
</file>

<file path=ppt/slides/_rels/slide67.xml.rels><?xml version="1.0" encoding="UTF-8" standalone="yes"?><Relationships xmlns="http://schemas.openxmlformats.org/package/2006/relationships"><Relationship Id="rId1" Target="../tags/tag72.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68.xml.rels><?xml version="1.0" encoding="UTF-8" standalone="yes"?><Relationships xmlns="http://schemas.openxmlformats.org/package/2006/relationships"><Relationship Id="rId1" Target="../tags/tag73.xml" Type="http://schemas.openxmlformats.org/officeDocument/2006/relationships/tags"/><Relationship Id="rId2" Target="../slideLayouts/slideLayout4.xml" Type="http://schemas.openxmlformats.org/officeDocument/2006/relationships/slideLayout"/><Relationship Id="rId3" Target="../notesSlides/notesSlide24.xml" Type="http://schemas.openxmlformats.org/officeDocument/2006/relationships/notesSlide"/><Relationship Id="rId4" Target="../embeddings/oleObject6.bin" Type="http://schemas.openxmlformats.org/officeDocument/2006/relationships/oleObject"/><Relationship Id="rId5" Target="../media/image9.emf" Type="http://schemas.openxmlformats.org/officeDocument/2006/relationships/image"/></Relationships>
</file>

<file path=ppt/slides/_rels/slide69.xml.rels><?xml version="1.0" encoding="UTF-8" standalone="yes"?><Relationships xmlns="http://schemas.openxmlformats.org/package/2006/relationships"><Relationship Id="rId1" Target="../tags/tag74.xml" Type="http://schemas.openxmlformats.org/officeDocument/2006/relationships/tags"/><Relationship Id="rId2" Target="../slideLayouts/slideLayout4.xml" Type="http://schemas.openxmlformats.org/officeDocument/2006/relationships/slideLayout"/><Relationship Id="rId3" Target="../notesSlides/notesSlide25.xml" Type="http://schemas.openxmlformats.org/officeDocument/2006/relationships/notesSlide"/><Relationship Id="rId4" Target="../embeddings/oleObject6.bin" Type="http://schemas.openxmlformats.org/officeDocument/2006/relationships/oleObject"/><Relationship Id="rId5" Target="../media/image36.emf" Type="http://schemas.openxmlformats.org/officeDocument/2006/relationships/image"/></Relationships>
</file>

<file path=ppt/slides/_rels/slide7.xml.rels><?xml version="1.0" encoding="UTF-8" standalone="yes"?><Relationships xmlns="http://schemas.openxmlformats.org/package/2006/relationships"><Relationship Id="rId1" Target="../tags/tag12.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70.xml.rels><?xml version="1.0" encoding="UTF-8" standalone="yes"?><Relationships xmlns="http://schemas.openxmlformats.org/package/2006/relationships"><Relationship Id="rId1" Target="../tags/tag75.xml" Type="http://schemas.openxmlformats.org/officeDocument/2006/relationships/tags"/><Relationship Id="rId2" Target="../slideLayouts/slideLayout4.xml" Type="http://schemas.openxmlformats.org/officeDocument/2006/relationships/slideLayout"/><Relationship Id="rId3" Target="../notesSlides/notesSlide26.xml" Type="http://schemas.openxmlformats.org/officeDocument/2006/relationships/notesSlide"/><Relationship Id="rId4" Target="../embeddings/oleObject6.bin" Type="http://schemas.openxmlformats.org/officeDocument/2006/relationships/oleObject"/><Relationship Id="rId5" Target="../media/image36.emf" Type="http://schemas.openxmlformats.org/officeDocument/2006/relationships/image"/></Relationships>
</file>

<file path=ppt/slides/_rels/slide71.xml.rels><?xml version="1.0" encoding="UTF-8" standalone="yes"?><Relationships xmlns="http://schemas.openxmlformats.org/package/2006/relationships"><Relationship Id="rId1" Target="../tags/tag76.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36.emf" Type="http://schemas.openxmlformats.org/officeDocument/2006/relationships/image"/></Relationships>
</file>

<file path=ppt/slides/_rels/slide72.xml.rels><?xml version="1.0" encoding="UTF-8" standalone="yes"?><Relationships xmlns="http://schemas.openxmlformats.org/package/2006/relationships"><Relationship Id="rId1" Target="../tags/tag77.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36.emf" Type="http://schemas.openxmlformats.org/officeDocument/2006/relationships/image"/></Relationships>
</file>

<file path=ppt/slides/_rels/slide73.xml.rels><?xml version="1.0" encoding="UTF-8" standalone="yes"?><Relationships xmlns="http://schemas.openxmlformats.org/package/2006/relationships"><Relationship Id="rId1" Target="../tags/tag78.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36.emf" Type="http://schemas.openxmlformats.org/officeDocument/2006/relationships/image"/></Relationships>
</file>

<file path=ppt/slides/_rels/slide74.xml.rels><?xml version="1.0" encoding="UTF-8" standalone="yes"?><Relationships xmlns="http://schemas.openxmlformats.org/package/2006/relationships"><Relationship Id="rId1" Target="../tags/tag79.xml" Type="http://schemas.openxmlformats.org/officeDocument/2006/relationships/tags"/><Relationship Id="rId2" Target="../slideLayouts/slideLayout4.xml" Type="http://schemas.openxmlformats.org/officeDocument/2006/relationships/slideLayout"/><Relationship Id="rId3" Target="../notesSlides/notesSlide27.xml" Type="http://schemas.openxmlformats.org/officeDocument/2006/relationships/notesSlide"/><Relationship Id="rId4" Target="../embeddings/oleObject6.bin" Type="http://schemas.openxmlformats.org/officeDocument/2006/relationships/oleObject"/><Relationship Id="rId5" Target="../media/image36.emf" Type="http://schemas.openxmlformats.org/officeDocument/2006/relationships/image"/></Relationships>
</file>

<file path=ppt/slides/_rels/slide75.xml.rels><?xml version="1.0" encoding="UTF-8" standalone="yes"?><Relationships xmlns="http://schemas.openxmlformats.org/package/2006/relationships"><Relationship Id="rId1" Target="../tags/tag80.xml" Type="http://schemas.openxmlformats.org/officeDocument/2006/relationships/tags"/><Relationship Id="rId2" Target="../slideLayouts/slideLayout4.xml" Type="http://schemas.openxmlformats.org/officeDocument/2006/relationships/slideLayout"/><Relationship Id="rId3" Target="../notesSlides/notesSlide28.xml" Type="http://schemas.openxmlformats.org/officeDocument/2006/relationships/notesSlide"/><Relationship Id="rId4" Target="../embeddings/oleObject6.bin" Type="http://schemas.openxmlformats.org/officeDocument/2006/relationships/oleObject"/><Relationship Id="rId5" Target="../media/image36.emf" Type="http://schemas.openxmlformats.org/officeDocument/2006/relationships/image"/></Relationships>
</file>

<file path=ppt/slides/_rels/slide76.xml.rels><?xml version="1.0" encoding="UTF-8" standalone="yes"?><Relationships xmlns="http://schemas.openxmlformats.org/package/2006/relationships"><Relationship Id="rId1" Target="../tags/tag81.xml" Type="http://schemas.openxmlformats.org/officeDocument/2006/relationships/tags"/><Relationship Id="rId2" Target="../slideLayouts/slideLayout4.xml" Type="http://schemas.openxmlformats.org/officeDocument/2006/relationships/slideLayout"/><Relationship Id="rId3" Target="../notesSlides/notesSlide29.xml" Type="http://schemas.openxmlformats.org/officeDocument/2006/relationships/notesSlide"/><Relationship Id="rId4" Target="../embeddings/oleObject6.bin" Type="http://schemas.openxmlformats.org/officeDocument/2006/relationships/oleObject"/><Relationship Id="rId5" Target="../media/image36.emf" Type="http://schemas.openxmlformats.org/officeDocument/2006/relationships/image"/></Relationships>
</file>

<file path=ppt/slides/_rels/slide77.xml.rels><?xml version="1.0" encoding="UTF-8" standalone="yes"?><Relationships xmlns="http://schemas.openxmlformats.org/package/2006/relationships"><Relationship Id="rId1" Target="../slideLayouts/slideLayout3.xml" Type="http://schemas.openxmlformats.org/officeDocument/2006/relationships/slideLayout"/></Relationships>
</file>

<file path=ppt/slides/_rels/slide8.xml.rels><?xml version="1.0" encoding="UTF-8" standalone="yes"?><Relationships xmlns="http://schemas.openxmlformats.org/package/2006/relationships"><Relationship Id="rId1" Target="../tags/tag13.xml" Type="http://schemas.openxmlformats.org/officeDocument/2006/relationships/tags"/><Relationship Id="rId2" Target="../slideLayouts/slideLayout4.xml" Type="http://schemas.openxmlformats.org/officeDocument/2006/relationships/slideLayout"/><Relationship Id="rId3" Target="../notesSlides/notesSlide2.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s>
</file>

<file path=ppt/slides/_rels/slide9.xml.rels><?xml version="1.0" encoding="UTF-8" standalone="yes"?><Relationships xmlns="http://schemas.openxmlformats.org/package/2006/relationships"><Relationship Id="rId1" Target="../tags/tag14.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C7451F4C-EFF2-48F0-B299-286FFCBFB2AB}"/>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70" imgH="469" progId="TCLayout.ActiveDocument.1">
                  <p:embed/>
                </p:oleObj>
              </mc:Choice>
              <mc:Fallback>
                <p:oleObj name="think-cell スライド" r:id="rId3" imgW="470" imgH="469" progId="TCLayout.ActiveDocument.1">
                  <p:embed/>
                  <p:pic>
                    <p:nvPicPr>
                      <p:cNvPr id="6" name="オブジェクト 5" hidden="1">
                        <a:extLst>
                          <a:ext uri="{FF2B5EF4-FFF2-40B4-BE49-F238E27FC236}">
                            <a16:creationId xmlns:a16="http://schemas.microsoft.com/office/drawing/2014/main" id="{C7451F4C-EFF2-48F0-B299-286FFCBFB2AB}"/>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1F2F2840-6B61-4DF2-B42A-EAA99F678FEE}"/>
              </a:ext>
            </a:extLst>
          </p:cNvPr>
          <p:cNvSpPr>
            <a:spLocks noGrp="1"/>
          </p:cNvSpPr>
          <p:nvPr>
            <p:ph type="body" sz="quarter" idx="10"/>
          </p:nvPr>
        </p:nvSpPr>
        <p:spPr/>
        <p:txBody>
          <a:bodyPr/>
          <a:lstStyle/>
          <a:p>
            <a:pPr algn="r">
              <a:spcBef>
                <a:spcPts val="600"/>
              </a:spcBef>
            </a:pPr>
            <a:r>
              <a:rPr lang="en-US" altLang="ja-JP" sz="2400" b="0"/>
              <a:t>202</a:t>
            </a:r>
            <a:r>
              <a:rPr lang="ja-JP" altLang="en-US" sz="2400" b="0"/>
              <a:t>５</a:t>
            </a:r>
            <a:r>
              <a:rPr lang="en-US" altLang="ja-JP" sz="2400" b="0"/>
              <a:t>/XX/</a:t>
            </a:r>
            <a:r>
              <a:rPr lang="en-US" altLang="ja-JP" sz="2400" b="0">
                <a:solidFill>
                  <a:srgbClr val="0070C0"/>
                </a:solidFill>
              </a:rPr>
              <a:t>XX</a:t>
            </a:r>
            <a:endParaRPr lang="ja-JP" altLang="en-US" sz="2400" b="0">
              <a:solidFill>
                <a:srgbClr val="0070C0"/>
              </a:solidFill>
            </a:endParaRPr>
          </a:p>
        </p:txBody>
      </p:sp>
      <p:sp>
        <p:nvSpPr>
          <p:cNvPr id="3" name="タイトル 2">
            <a:extLst>
              <a:ext uri="{FF2B5EF4-FFF2-40B4-BE49-F238E27FC236}">
                <a16:creationId xmlns:a16="http://schemas.microsoft.com/office/drawing/2014/main" id="{C57F1E1F-3521-45C1-9CD2-360C7A8ED649}"/>
              </a:ext>
            </a:extLst>
          </p:cNvPr>
          <p:cNvSpPr>
            <a:spLocks noGrp="1"/>
          </p:cNvSpPr>
          <p:nvPr>
            <p:ph type="ctrTitle"/>
          </p:nvPr>
        </p:nvSpPr>
        <p:spPr>
          <a:xfrm>
            <a:off x="767408" y="1498110"/>
            <a:ext cx="10657184" cy="2416665"/>
          </a:xfrm>
          <a:noFill/>
        </p:spPr>
        <p:txBody>
          <a:bodyPr vert="horz" wrap="none" anchor="t">
            <a:normAutofit fontScale="90000"/>
          </a:bodyPr>
          <a:lstStyle/>
          <a:p>
            <a:pPr>
              <a:spcBef>
                <a:spcPts val="1200"/>
              </a:spcBef>
            </a:pPr>
            <a:r>
              <a:rPr lang="en-US" altLang="ja-JP" sz="3200"/>
              <a:t>FY2025 </a:t>
            </a:r>
            <a:r>
              <a:rPr lang="ja-JP" altLang="en-US" sz="3200"/>
              <a:t>日本版</a:t>
            </a:r>
            <a:r>
              <a:rPr lang="en-US" altLang="ja-JP" sz="3200" err="1"/>
              <a:t>MaaS</a:t>
            </a:r>
            <a:r>
              <a:rPr lang="ja-JP" altLang="en-US" sz="3200"/>
              <a:t>推進・支援事業</a:t>
            </a:r>
            <a:br>
              <a:rPr lang="en-US" altLang="ja-JP" sz="3200"/>
            </a:br>
            <a:r>
              <a:rPr lang="en-US" altLang="ja-JP" sz="3200"/>
              <a:t>【</a:t>
            </a:r>
            <a:r>
              <a:rPr lang="en-US" altLang="ja-JP" sz="3200">
                <a:solidFill>
                  <a:srgbClr val="0070C0"/>
                </a:solidFill>
              </a:rPr>
              <a:t>[</a:t>
            </a:r>
            <a:r>
              <a:rPr lang="ja-JP" altLang="en-US" sz="3200">
                <a:solidFill>
                  <a:srgbClr val="0070C0"/>
                </a:solidFill>
              </a:rPr>
              <a:t>プロジェクト名</a:t>
            </a:r>
            <a:r>
              <a:rPr lang="en-US" altLang="ja-JP" sz="3200">
                <a:solidFill>
                  <a:srgbClr val="0070C0"/>
                </a:solidFill>
              </a:rPr>
              <a:t>]】</a:t>
            </a:r>
            <a:br>
              <a:rPr lang="en-US" altLang="ja-JP" sz="3200">
                <a:solidFill>
                  <a:srgbClr val="FF0000"/>
                </a:solidFill>
              </a:rPr>
            </a:br>
            <a:br>
              <a:rPr lang="en-US" altLang="ja-JP" sz="3200" u="sng">
                <a:solidFill>
                  <a:srgbClr val="FF0000"/>
                </a:solidFill>
              </a:rPr>
            </a:br>
            <a:br>
              <a:rPr lang="en-US" altLang="ja-JP" sz="3200" u="sng">
                <a:solidFill>
                  <a:srgbClr val="FF0000"/>
                </a:solidFill>
              </a:rPr>
            </a:br>
            <a:r>
              <a:rPr lang="ja-JP" altLang="en-US" sz="3200"/>
              <a:t>実施計画書</a:t>
            </a:r>
          </a:p>
        </p:txBody>
      </p:sp>
      <p:sp>
        <p:nvSpPr>
          <p:cNvPr id="5" name="テキスト プレースホルダー 4">
            <a:extLst>
              <a:ext uri="{FF2B5EF4-FFF2-40B4-BE49-F238E27FC236}">
                <a16:creationId xmlns:a16="http://schemas.microsoft.com/office/drawing/2014/main" id="{9481A0E3-366D-4687-A4B2-6C58A1A7C6CC}"/>
              </a:ext>
            </a:extLst>
          </p:cNvPr>
          <p:cNvSpPr>
            <a:spLocks noGrp="1"/>
          </p:cNvSpPr>
          <p:nvPr>
            <p:ph type="body" sz="quarter" idx="12"/>
          </p:nvPr>
        </p:nvSpPr>
        <p:spPr>
          <a:prstGeom prst="rect">
            <a:avLst/>
          </a:prstGeom>
        </p:spPr>
        <p:txBody>
          <a:bodyPr wrap="none"/>
          <a:lstStyle/>
          <a:p>
            <a:pPr algn="r">
              <a:spcBef>
                <a:spcPts val="600"/>
              </a:spcBef>
            </a:pPr>
            <a:r>
              <a:rPr lang="en-US" altLang="ja-JP" sz="2400">
                <a:solidFill>
                  <a:srgbClr val="0070C0"/>
                </a:solidFill>
              </a:rPr>
              <a:t>[</a:t>
            </a:r>
            <a:r>
              <a:rPr lang="ja-JP" altLang="en-US" sz="2400">
                <a:solidFill>
                  <a:srgbClr val="0070C0"/>
                </a:solidFill>
              </a:rPr>
              <a:t>事業者名</a:t>
            </a:r>
            <a:r>
              <a:rPr lang="en-US" altLang="ja-JP" sz="2400">
                <a:solidFill>
                  <a:srgbClr val="0070C0"/>
                </a:solidFill>
              </a:rPr>
              <a:t>]</a:t>
            </a:r>
            <a:endParaRPr lang="ja-JP" altLang="en-US" sz="2400" b="0">
              <a:solidFill>
                <a:srgbClr val="0070C0"/>
              </a:solidFill>
            </a:endParaRPr>
          </a:p>
        </p:txBody>
      </p:sp>
      <p:sp>
        <p:nvSpPr>
          <p:cNvPr id="7" name="テキスト ボックス 6">
            <a:extLst>
              <a:ext uri="{FF2B5EF4-FFF2-40B4-BE49-F238E27FC236}">
                <a16:creationId xmlns:a16="http://schemas.microsoft.com/office/drawing/2014/main" id="{C23EF085-1DE8-3334-557F-6FB6ECFBC739}"/>
              </a:ext>
            </a:extLst>
          </p:cNvPr>
          <p:cNvSpPr txBox="1"/>
          <p:nvPr/>
        </p:nvSpPr>
        <p:spPr>
          <a:xfrm>
            <a:off x="626599" y="4419264"/>
            <a:ext cx="8343900" cy="1413686"/>
          </a:xfrm>
          <a:prstGeom prst="rect">
            <a:avLst/>
          </a:prstGeom>
          <a:solidFill>
            <a:srgbClr val="F3817B">
              <a:alpha val="60000"/>
            </a:srgbClr>
          </a:solidFill>
        </p:spPr>
        <p:txBody>
          <a:bodyPr wrap="square" anchor="ctr">
            <a:no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600" b="0" i="0" u="none" strike="noStrike" kern="0" cap="none" spc="0" normalizeH="0" baseline="0" noProof="0">
                <a:ln>
                  <a:noFill/>
                </a:ln>
                <a:solidFill>
                  <a:srgbClr val="FFFFFF"/>
                </a:solidFill>
                <a:effectLst/>
                <a:uLnTx/>
                <a:uFillTx/>
              </a:rPr>
              <a:t>レイアウトを変更しないでください（収まりきらない場合はページを追加してください）</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600" b="0" i="0" u="none" strike="noStrike" kern="0" cap="none" spc="0" normalizeH="0" baseline="0" noProof="0">
                <a:ln>
                  <a:noFill/>
                </a:ln>
                <a:solidFill>
                  <a:srgbClr val="FFFFFF"/>
                </a:solidFill>
                <a:effectLst/>
                <a:uLnTx/>
                <a:uFillTx/>
              </a:rPr>
              <a:t>青字は記載例です。提出時は必ずすべて削除して提出してください</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600" b="0" i="0" u="none" strike="noStrike" kern="0" cap="none" spc="0" normalizeH="0" baseline="0" noProof="0">
                <a:ln>
                  <a:noFill/>
                </a:ln>
                <a:solidFill>
                  <a:srgbClr val="FFFFFF"/>
                </a:solidFill>
                <a:effectLst/>
                <a:uLnTx/>
                <a:uFillTx/>
              </a:rPr>
              <a:t>ピンクのメモは記載をガイドするためのものですので、提出時には必ずすべて削除してください。</a:t>
            </a:r>
          </a:p>
        </p:txBody>
      </p:sp>
    </p:spTree>
    <p:extLst>
      <p:ext uri="{BB962C8B-B14F-4D97-AF65-F5344CB8AC3E}">
        <p14:creationId xmlns:p14="http://schemas.microsoft.com/office/powerpoint/2010/main" val="23557866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a:extLst>
              <a:ext uri="{FF2B5EF4-FFF2-40B4-BE49-F238E27FC236}">
                <a16:creationId xmlns:a16="http://schemas.microsoft.com/office/drawing/2014/main" id="{E4CC0A9E-C092-35B3-805A-BF072145F524}"/>
              </a:ext>
            </a:extLst>
          </p:cNvPr>
          <p:cNvGraphicFramePr>
            <a:graphicFrameLocks noGrp="1"/>
          </p:cNvGraphicFramePr>
          <p:nvPr>
            <p:extLst>
              <p:ext uri="{D42A27DB-BD31-4B8C-83A1-F6EECF244321}">
                <p14:modId xmlns:p14="http://schemas.microsoft.com/office/powerpoint/2010/main" val="2625233151"/>
              </p:ext>
            </p:extLst>
          </p:nvPr>
        </p:nvGraphicFramePr>
        <p:xfrm>
          <a:off x="277459" y="1564883"/>
          <a:ext cx="11637082" cy="4309803"/>
        </p:xfrm>
        <a:graphic>
          <a:graphicData uri="http://schemas.openxmlformats.org/drawingml/2006/table">
            <a:tbl>
              <a:tblPr>
                <a:tableStyleId>{E8034E78-7F5D-4C2E-B375-FC64B27BC917}</a:tableStyleId>
              </a:tblPr>
              <a:tblGrid>
                <a:gridCol w="208280">
                  <a:extLst>
                    <a:ext uri="{9D8B030D-6E8A-4147-A177-3AD203B41FA5}">
                      <a16:colId xmlns:a16="http://schemas.microsoft.com/office/drawing/2014/main" val="20003"/>
                    </a:ext>
                  </a:extLst>
                </a:gridCol>
                <a:gridCol w="1606231">
                  <a:extLst>
                    <a:ext uri="{9D8B030D-6E8A-4147-A177-3AD203B41FA5}">
                      <a16:colId xmlns:a16="http://schemas.microsoft.com/office/drawing/2014/main" val="3299919043"/>
                    </a:ext>
                  </a:extLst>
                </a:gridCol>
                <a:gridCol w="1116781">
                  <a:extLst>
                    <a:ext uri="{9D8B030D-6E8A-4147-A177-3AD203B41FA5}">
                      <a16:colId xmlns:a16="http://schemas.microsoft.com/office/drawing/2014/main" val="4027897853"/>
                    </a:ext>
                  </a:extLst>
                </a:gridCol>
                <a:gridCol w="807616">
                  <a:extLst>
                    <a:ext uri="{9D8B030D-6E8A-4147-A177-3AD203B41FA5}">
                      <a16:colId xmlns:a16="http://schemas.microsoft.com/office/drawing/2014/main" val="22851105"/>
                    </a:ext>
                  </a:extLst>
                </a:gridCol>
                <a:gridCol w="826544">
                  <a:extLst>
                    <a:ext uri="{9D8B030D-6E8A-4147-A177-3AD203B41FA5}">
                      <a16:colId xmlns:a16="http://schemas.microsoft.com/office/drawing/2014/main" val="177072808"/>
                    </a:ext>
                  </a:extLst>
                </a:gridCol>
                <a:gridCol w="4035174">
                  <a:extLst>
                    <a:ext uri="{9D8B030D-6E8A-4147-A177-3AD203B41FA5}">
                      <a16:colId xmlns:a16="http://schemas.microsoft.com/office/drawing/2014/main" val="3075782870"/>
                    </a:ext>
                  </a:extLst>
                </a:gridCol>
                <a:gridCol w="1987420">
                  <a:extLst>
                    <a:ext uri="{9D8B030D-6E8A-4147-A177-3AD203B41FA5}">
                      <a16:colId xmlns:a16="http://schemas.microsoft.com/office/drawing/2014/main" val="825560058"/>
                    </a:ext>
                  </a:extLst>
                </a:gridCol>
                <a:gridCol w="1049036">
                  <a:extLst>
                    <a:ext uri="{9D8B030D-6E8A-4147-A177-3AD203B41FA5}">
                      <a16:colId xmlns:a16="http://schemas.microsoft.com/office/drawing/2014/main" val="2319383798"/>
                    </a:ext>
                  </a:extLst>
                </a:gridCol>
              </a:tblGrid>
              <a:tr h="518744">
                <a:tc>
                  <a:txBody>
                    <a:bodyPr/>
                    <a:lstStyle/>
                    <a:p>
                      <a:pPr algn="ctr"/>
                      <a:r>
                        <a:rPr kumimoji="1" lang="en-US" altLang="ja-JP" sz="1050" b="1">
                          <a:solidFill>
                            <a:sysClr val="windowText" lastClr="000000"/>
                          </a:solidFill>
                          <a:latin typeface="+mn-ea"/>
                          <a:ea typeface="+mn-ea"/>
                        </a:rPr>
                        <a:t>#</a:t>
                      </a:r>
                      <a:endParaRPr kumimoji="1" lang="ja-JP" altLang="en-US" sz="1050" b="1">
                        <a:solidFill>
                          <a:sysClr val="windowText" lastClr="000000"/>
                        </a:solidFill>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50" b="1">
                          <a:solidFill>
                            <a:sysClr val="windowText" lastClr="000000"/>
                          </a:solidFill>
                          <a:latin typeface="+mn-ea"/>
                          <a:ea typeface="+mn-ea"/>
                        </a:rPr>
                        <a:t>測定項目</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en-US" altLang="ja-JP" sz="1050" b="1">
                          <a:solidFill>
                            <a:sysClr val="windowText" lastClr="000000"/>
                          </a:solidFill>
                          <a:latin typeface="+mn-ea"/>
                          <a:ea typeface="+mn-ea"/>
                        </a:rPr>
                        <a:t>KPI</a:t>
                      </a:r>
                      <a:endParaRPr kumimoji="1" lang="ja-JP" altLang="en-US" sz="1050" b="1">
                        <a:solidFill>
                          <a:sysClr val="windowText" lastClr="000000"/>
                        </a:solidFill>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50" b="1">
                          <a:solidFill>
                            <a:sysClr val="windowText" lastClr="000000"/>
                          </a:solidFill>
                          <a:latin typeface="+mn-ea"/>
                          <a:ea typeface="+mn-ea"/>
                        </a:rPr>
                        <a:t>事業実施年度</a:t>
                      </a:r>
                      <a:endParaRPr kumimoji="1" lang="en-US" altLang="ja-JP" sz="1050" b="1">
                        <a:solidFill>
                          <a:sysClr val="windowText" lastClr="000000"/>
                        </a:solidFill>
                        <a:latin typeface="+mn-ea"/>
                        <a:ea typeface="+mn-ea"/>
                      </a:endParaRPr>
                    </a:p>
                    <a:p>
                      <a:r>
                        <a:rPr kumimoji="1" lang="ja-JP" altLang="en-US" sz="1050" b="1">
                          <a:solidFill>
                            <a:sysClr val="windowText" lastClr="000000"/>
                          </a:solidFill>
                          <a:latin typeface="+mn-ea"/>
                          <a:ea typeface="+mn-ea"/>
                        </a:rPr>
                        <a:t>の目標値</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50" b="1">
                          <a:solidFill>
                            <a:sysClr val="windowText" lastClr="000000"/>
                          </a:solidFill>
                          <a:latin typeface="+mn-ea"/>
                          <a:ea typeface="+mn-ea"/>
                        </a:rPr>
                        <a:t>５年後の</a:t>
                      </a:r>
                      <a:endParaRPr kumimoji="1" lang="en-US" altLang="ja-JP" sz="1050" b="1">
                        <a:solidFill>
                          <a:sysClr val="windowText" lastClr="000000"/>
                        </a:solidFill>
                        <a:latin typeface="+mn-ea"/>
                        <a:ea typeface="+mn-ea"/>
                      </a:endParaRPr>
                    </a:p>
                    <a:p>
                      <a:r>
                        <a:rPr kumimoji="1" lang="ja-JP" altLang="en-US" sz="1050" b="1">
                          <a:solidFill>
                            <a:sysClr val="windowText" lastClr="000000"/>
                          </a:solidFill>
                          <a:latin typeface="+mn-ea"/>
                          <a:ea typeface="+mn-ea"/>
                        </a:rPr>
                        <a:t>の目標値</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50" b="1">
                          <a:solidFill>
                            <a:sysClr val="windowText" lastClr="000000"/>
                          </a:solidFill>
                          <a:latin typeface="+mn-ea"/>
                          <a:ea typeface="+mn-ea"/>
                        </a:rPr>
                        <a:t>目標値設定根拠</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50" b="1">
                          <a:solidFill>
                            <a:sysClr val="windowText" lastClr="000000"/>
                          </a:solidFill>
                          <a:latin typeface="+mn-ea"/>
                          <a:ea typeface="+mn-ea"/>
                        </a:rPr>
                        <a:t>計測方法</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50" b="1">
                          <a:solidFill>
                            <a:sysClr val="windowText" lastClr="000000"/>
                          </a:solidFill>
                          <a:latin typeface="+mn-ea"/>
                          <a:ea typeface="+mn-ea"/>
                        </a:rPr>
                        <a:t>計測頻度・回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438511">
                <a:tc>
                  <a:txBody>
                    <a:bodyPr/>
                    <a:lstStyle/>
                    <a:p>
                      <a:pPr algn="ctr"/>
                      <a:r>
                        <a:rPr kumimoji="1" lang="en-US" altLang="ja-JP" sz="1050" kern="1200">
                          <a:solidFill>
                            <a:sysClr val="windowText" lastClr="000000"/>
                          </a:solidFill>
                          <a:latin typeface="+mn-ea"/>
                          <a:ea typeface="+mn-ea"/>
                          <a:cs typeface="+mn-cs"/>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050" kern="1200">
                          <a:solidFill>
                            <a:srgbClr val="0070C0"/>
                          </a:solidFill>
                          <a:latin typeface="+mn-ea"/>
                          <a:ea typeface="+mn-ea"/>
                          <a:cs typeface="+mn-cs"/>
                        </a:rPr>
                        <a:t>MaaS</a:t>
                      </a:r>
                      <a:r>
                        <a:rPr kumimoji="1" lang="ja-JP" altLang="en-US" sz="1050" kern="1200">
                          <a:solidFill>
                            <a:srgbClr val="0070C0"/>
                          </a:solidFill>
                          <a:latin typeface="+mn-ea"/>
                          <a:ea typeface="+mn-ea"/>
                          <a:cs typeface="+mn-cs"/>
                        </a:rPr>
                        <a:t>アプリ利用者の増加</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050" kern="1200" err="1">
                          <a:solidFill>
                            <a:srgbClr val="0070C0"/>
                          </a:solidFill>
                          <a:latin typeface="+mn-ea"/>
                          <a:ea typeface="+mn-ea"/>
                          <a:cs typeface="+mn-cs"/>
                        </a:rPr>
                        <a:t>MaaS</a:t>
                      </a:r>
                      <a:r>
                        <a:rPr kumimoji="1" lang="ja-JP" altLang="en-US" sz="1050" kern="1200">
                          <a:solidFill>
                            <a:srgbClr val="0070C0"/>
                          </a:solidFill>
                          <a:latin typeface="+mn-ea"/>
                          <a:ea typeface="+mn-ea"/>
                          <a:cs typeface="+mn-cs"/>
                        </a:rPr>
                        <a:t>会員登録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ターゲット人口の</a:t>
                      </a:r>
                      <a:r>
                        <a:rPr kumimoji="1" lang="en-US" altLang="ja-JP" sz="1050" kern="1200">
                          <a:solidFill>
                            <a:srgbClr val="0070C0"/>
                          </a:solidFill>
                          <a:latin typeface="+mn-ea"/>
                          <a:ea typeface="+mn-ea"/>
                          <a:cs typeface="+mn-cs"/>
                        </a:rPr>
                        <a:t>1%</a:t>
                      </a:r>
                      <a:r>
                        <a:rPr kumimoji="1" lang="ja-JP" altLang="en-US" sz="1050" kern="1200">
                          <a:solidFill>
                            <a:srgbClr val="0070C0"/>
                          </a:solidFill>
                          <a:latin typeface="+mn-ea"/>
                          <a:ea typeface="+mn-ea"/>
                          <a:cs typeface="+mn-cs"/>
                        </a:rPr>
                        <a:t>、先行事例のデータを参考に設定。</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データベースを確認</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毎月</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399029">
                <a:tc>
                  <a:txBody>
                    <a:bodyPr/>
                    <a:lstStyle/>
                    <a:p>
                      <a:pPr algn="ctr"/>
                      <a:r>
                        <a:rPr kumimoji="1" lang="en-US" altLang="ja-JP" sz="1050" kern="1200">
                          <a:solidFill>
                            <a:sysClr val="windowText" lastClr="000000"/>
                          </a:solidFill>
                          <a:latin typeface="+mn-ea"/>
                          <a:ea typeface="+mn-ea"/>
                          <a:cs typeface="+mn-cs"/>
                        </a:rPr>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i="0" u="none">
                          <a:solidFill>
                            <a:srgbClr val="0070C0"/>
                          </a:solidFill>
                          <a:latin typeface="+mn-ea"/>
                          <a:ea typeface="+mn-ea"/>
                        </a:rPr>
                        <a:t>乗継ぎ割引サービスの利用者増加</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乗継ぎ利用者数</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0070C0"/>
                          </a:solidFill>
                          <a:effectLst/>
                          <a:uLnTx/>
                          <a:uFillTx/>
                          <a:latin typeface="BIZ UDPゴシック"/>
                          <a:ea typeface="+mn-ea"/>
                          <a:cs typeface="+mn-cs"/>
                        </a:rPr>
                        <a:t>ターゲット人口の</a:t>
                      </a:r>
                      <a:r>
                        <a:rPr kumimoji="1" lang="en-US" altLang="ja-JP" sz="1050" b="0" i="0" u="none" strike="noStrike" kern="1200" cap="none" spc="0" normalizeH="0" baseline="0" noProof="0">
                          <a:ln>
                            <a:noFill/>
                          </a:ln>
                          <a:solidFill>
                            <a:srgbClr val="0070C0"/>
                          </a:solidFill>
                          <a:effectLst/>
                          <a:uLnTx/>
                          <a:uFillTx/>
                          <a:latin typeface="BIZ UDPゴシック"/>
                          <a:ea typeface="+mn-ea"/>
                          <a:cs typeface="+mn-cs"/>
                        </a:rPr>
                        <a:t>1%</a:t>
                      </a:r>
                      <a:r>
                        <a:rPr kumimoji="1" lang="ja-JP" altLang="en-US" sz="1050" b="0" i="0" u="none" strike="noStrike" kern="1200" cap="none" spc="0" normalizeH="0" baseline="0" noProof="0">
                          <a:ln>
                            <a:noFill/>
                          </a:ln>
                          <a:solidFill>
                            <a:srgbClr val="0070C0"/>
                          </a:solidFill>
                          <a:effectLst/>
                          <a:uLnTx/>
                          <a:uFillTx/>
                          <a:latin typeface="BIZ UDPゴシック"/>
                          <a:ea typeface="+mn-ea"/>
                          <a:cs typeface="+mn-cs"/>
                        </a:rPr>
                        <a:t>、先行事例のデータを参考に設定。</a:t>
                      </a:r>
                      <a:endParaRPr kumimoji="1" lang="en-US" altLang="ja-JP" sz="1050" b="0" i="0" u="none" strike="noStrike" kern="1200" cap="none" spc="0" normalizeH="0" baseline="0" noProof="0">
                        <a:ln>
                          <a:noFill/>
                        </a:ln>
                        <a:solidFill>
                          <a:srgbClr val="0070C0"/>
                        </a:solidFill>
                        <a:effectLst/>
                        <a:uLnTx/>
                        <a:uFillTx/>
                        <a:latin typeface="BIZ UDPゴシック"/>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データベースを確認</a:t>
                      </a:r>
                      <a:endParaRPr kumimoji="1" lang="en-US" altLang="ja-JP" sz="1050" kern="1200">
                        <a:solidFill>
                          <a:srgbClr val="0070C0"/>
                        </a:solidFill>
                        <a:latin typeface="+mn-ea"/>
                        <a:ea typeface="+mn-ea"/>
                        <a:cs typeface="+mn-cs"/>
                      </a:endParaRPr>
                    </a:p>
                    <a:p>
                      <a:pPr marL="0" marR="0" lvl="0" indent="0" algn="l" defTabSz="74295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srgbClr val="0070C0"/>
                        </a:solidFill>
                        <a:effectLst/>
                        <a:uLnTx/>
                        <a:uFillTx/>
                        <a:latin typeface="BIZ UDPゴシック"/>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毎月</a:t>
                      </a:r>
                      <a:endParaRPr kumimoji="1" lang="en-US" altLang="ja-JP" sz="1050" kern="1200">
                        <a:solidFill>
                          <a:srgbClr val="0070C0"/>
                        </a:solidFill>
                        <a:latin typeface="+mn-ea"/>
                        <a:ea typeface="+mn-ea"/>
                        <a:cs typeface="+mn-cs"/>
                      </a:endParaRPr>
                    </a:p>
                    <a:p>
                      <a:pPr marL="0" marR="0" lvl="0" indent="0" algn="l" defTabSz="74295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srgbClr val="0070C0"/>
                        </a:solidFill>
                        <a:effectLst/>
                        <a:uLnTx/>
                        <a:uFillTx/>
                        <a:latin typeface="BIZ UDPゴシック"/>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518744">
                <a:tc>
                  <a:txBody>
                    <a:bodyPr/>
                    <a:lstStyle/>
                    <a:p>
                      <a:pPr algn="ctr"/>
                      <a:r>
                        <a:rPr kumimoji="1" lang="ja-JP" altLang="en-US" sz="1050" kern="1200">
                          <a:solidFill>
                            <a:sysClr val="windowText" lastClr="000000"/>
                          </a:solidFill>
                          <a:latin typeface="+mn-ea"/>
                          <a:ea typeface="+mn-ea"/>
                          <a:cs typeface="+mn-cs"/>
                        </a:rPr>
                        <a:t>３</a:t>
                      </a:r>
                      <a:endParaRPr kumimoji="1" lang="en-US" altLang="ja-JP" sz="1050" kern="1200">
                        <a:solidFill>
                          <a:sysClr val="windowText" lastClr="00000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i="0" u="none">
                          <a:solidFill>
                            <a:srgbClr val="0070C0"/>
                          </a:solidFill>
                          <a:latin typeface="+mn-ea"/>
                          <a:ea typeface="+mn-ea"/>
                        </a:rPr>
                        <a:t>MaaS</a:t>
                      </a:r>
                      <a:r>
                        <a:rPr kumimoji="1" lang="ja-JP" altLang="en-US" sz="1050" i="0" u="none">
                          <a:solidFill>
                            <a:srgbClr val="0070C0"/>
                          </a:solidFill>
                          <a:latin typeface="+mn-ea"/>
                          <a:ea typeface="+mn-ea"/>
                        </a:rPr>
                        <a:t>アプリでのデマンドバス予約提供開始による利用者の増加</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i="0" u="none">
                          <a:solidFill>
                            <a:srgbClr val="0070C0"/>
                          </a:solidFill>
                          <a:latin typeface="+mn-ea"/>
                          <a:ea typeface="+mn-ea"/>
                        </a:rPr>
                        <a:t>デマンドバス利用者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kern="1200">
                          <a:solidFill>
                            <a:srgbClr val="0070C0"/>
                          </a:solidFill>
                          <a:latin typeface="+mn-ea"/>
                          <a:ea typeface="+mn-ea"/>
                          <a:cs typeface="+mn-cs"/>
                        </a:rPr>
                        <a:t>MaaS</a:t>
                      </a:r>
                      <a:r>
                        <a:rPr kumimoji="1" lang="ja-JP" altLang="en-US" sz="1050" kern="1200">
                          <a:solidFill>
                            <a:srgbClr val="0070C0"/>
                          </a:solidFill>
                          <a:latin typeface="+mn-ea"/>
                          <a:ea typeface="+mn-ea"/>
                          <a:cs typeface="+mn-cs"/>
                        </a:rPr>
                        <a:t>アプリ提供前のデマンドバス利用者の○％に設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データベースを確認</a:t>
                      </a:r>
                      <a:endParaRPr kumimoji="1" lang="en-US" altLang="ja-JP" sz="1050" kern="1200">
                        <a:solidFill>
                          <a:srgbClr val="0070C0"/>
                        </a:solidFill>
                        <a:latin typeface="+mn-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毎月</a:t>
                      </a:r>
                      <a:endParaRPr kumimoji="1" lang="en-US" altLang="ja-JP" sz="1050" kern="1200">
                        <a:solidFill>
                          <a:srgbClr val="0070C0"/>
                        </a:solidFill>
                        <a:latin typeface="+mn-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82229529"/>
                  </a:ext>
                </a:extLst>
              </a:tr>
              <a:tr h="399029">
                <a:tc>
                  <a:txBody>
                    <a:bodyPr/>
                    <a:lstStyle/>
                    <a:p>
                      <a:pPr algn="ctr"/>
                      <a:r>
                        <a:rPr kumimoji="1" lang="en-US" altLang="ja-JP" sz="1050" kern="1200">
                          <a:solidFill>
                            <a:sysClr val="windowText" lastClr="000000"/>
                          </a:solidFill>
                          <a:latin typeface="+mn-ea"/>
                          <a:ea typeface="+mn-ea"/>
                          <a:cs typeface="+mn-cs"/>
                        </a:rPr>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企画乗車券の販売数増加</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企画乗車券の販売数</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件</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件</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対象路線の通常乗車券利用者の○％に設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データベースを確認</a:t>
                      </a:r>
                      <a:endParaRPr kumimoji="1" lang="en-US" altLang="ja-JP" sz="1050" kern="1200">
                        <a:solidFill>
                          <a:srgbClr val="0070C0"/>
                        </a:solidFill>
                        <a:latin typeface="+mn-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毎月</a:t>
                      </a:r>
                      <a:endParaRPr kumimoji="1" lang="en-US" altLang="ja-JP" sz="1050" kern="1200">
                        <a:solidFill>
                          <a:srgbClr val="0070C0"/>
                        </a:solidFill>
                        <a:latin typeface="+mn-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37395077"/>
                  </a:ext>
                </a:extLst>
              </a:tr>
              <a:tr h="663992">
                <a:tc>
                  <a:txBody>
                    <a:bodyPr/>
                    <a:lstStyle/>
                    <a:p>
                      <a:pPr algn="ctr"/>
                      <a:r>
                        <a:rPr kumimoji="1" lang="en-US" altLang="ja-JP" sz="1050" kern="1200">
                          <a:solidFill>
                            <a:sysClr val="windowText" lastClr="000000"/>
                          </a:solidFill>
                          <a:latin typeface="+mn-ea"/>
                          <a:ea typeface="+mn-ea"/>
                          <a:cs typeface="+mn-cs"/>
                        </a:rPr>
                        <a:t>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利用者の利便性向上</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利用者のサービス満足度</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アンケート回答の</a:t>
                      </a:r>
                      <a:endParaRPr kumimoji="1" lang="en-US" altLang="ja-JP" sz="1050" kern="1200">
                        <a:solidFill>
                          <a:srgbClr val="0070C0"/>
                        </a:solidFill>
                        <a:latin typeface="+mn-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平均値○以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アンケート回答の</a:t>
                      </a:r>
                      <a:endParaRPr kumimoji="1" lang="en-US" altLang="ja-JP" sz="1050" kern="1200">
                        <a:solidFill>
                          <a:srgbClr val="0070C0"/>
                        </a:solidFill>
                        <a:latin typeface="+mn-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平均値○以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kern="1200">
                          <a:solidFill>
                            <a:srgbClr val="0070C0"/>
                          </a:solidFill>
                          <a:latin typeface="+mn-ea"/>
                          <a:ea typeface="+mn-ea"/>
                          <a:cs typeface="+mn-cs"/>
                        </a:rPr>
                        <a:t>R6d</a:t>
                      </a:r>
                      <a:r>
                        <a:rPr kumimoji="1" lang="ja-JP" altLang="en-US" sz="1050" kern="1200">
                          <a:solidFill>
                            <a:srgbClr val="0070C0"/>
                          </a:solidFill>
                          <a:latin typeface="+mn-ea"/>
                          <a:ea typeface="+mn-ea"/>
                          <a:cs typeface="+mn-cs"/>
                        </a:rPr>
                        <a:t>に実施したアンケート結果を参考に設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アンケー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年１回</a:t>
                      </a:r>
                      <a:endParaRPr kumimoji="1" lang="en-US" altLang="ja-JP" sz="1050" kern="1200">
                        <a:solidFill>
                          <a:srgbClr val="0070C0"/>
                        </a:solidFill>
                        <a:latin typeface="+mn-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15378374"/>
                  </a:ext>
                </a:extLst>
              </a:tr>
              <a:tr h="442292">
                <a:tc>
                  <a:txBody>
                    <a:bodyPr/>
                    <a:lstStyle/>
                    <a:p>
                      <a:pPr algn="ctr"/>
                      <a:r>
                        <a:rPr kumimoji="1" lang="en-US" altLang="ja-JP" sz="1050" kern="1200">
                          <a:solidFill>
                            <a:sysClr val="windowText" lastClr="000000"/>
                          </a:solidFill>
                          <a:latin typeface="+mn-ea"/>
                          <a:ea typeface="+mn-ea"/>
                          <a:cs typeface="+mn-cs"/>
                        </a:rPr>
                        <a:t>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データ分析ツールの利用者評価向上</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自治体職員の利用満足度</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アンケート回答の</a:t>
                      </a:r>
                      <a:endParaRPr kumimoji="1" lang="en-US" altLang="ja-JP" sz="1050" kern="1200">
                        <a:solidFill>
                          <a:srgbClr val="0070C0"/>
                        </a:solidFill>
                        <a:latin typeface="+mn-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平均値○以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アンケート回答の</a:t>
                      </a:r>
                      <a:endParaRPr kumimoji="1" lang="en-US" altLang="ja-JP" sz="1050" kern="1200">
                        <a:solidFill>
                          <a:srgbClr val="0070C0"/>
                        </a:solidFill>
                        <a:latin typeface="+mn-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平均値○以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0070C0"/>
                          </a:solidFill>
                          <a:effectLst/>
                          <a:uLnTx/>
                          <a:uFillTx/>
                          <a:latin typeface="BIZ UDPゴシック"/>
                          <a:ea typeface="+mn-ea"/>
                          <a:cs typeface="+mn-cs"/>
                        </a:rPr>
                        <a:t>ターゲット人口の</a:t>
                      </a:r>
                      <a:r>
                        <a:rPr kumimoji="1" lang="en-US" altLang="ja-JP" sz="1050" b="0" i="0" u="none" strike="noStrike" kern="1200" cap="none" spc="0" normalizeH="0" baseline="0" noProof="0">
                          <a:ln>
                            <a:noFill/>
                          </a:ln>
                          <a:solidFill>
                            <a:srgbClr val="0070C0"/>
                          </a:solidFill>
                          <a:effectLst/>
                          <a:uLnTx/>
                          <a:uFillTx/>
                          <a:latin typeface="BIZ UDPゴシック"/>
                          <a:ea typeface="+mn-ea"/>
                          <a:cs typeface="+mn-cs"/>
                        </a:rPr>
                        <a:t>1%</a:t>
                      </a:r>
                      <a:r>
                        <a:rPr kumimoji="1" lang="ja-JP" altLang="en-US" sz="1050" b="0" i="0" u="none" strike="noStrike" kern="1200" cap="none" spc="0" normalizeH="0" baseline="0" noProof="0">
                          <a:ln>
                            <a:noFill/>
                          </a:ln>
                          <a:solidFill>
                            <a:srgbClr val="0070C0"/>
                          </a:solidFill>
                          <a:effectLst/>
                          <a:uLnTx/>
                          <a:uFillTx/>
                          <a:latin typeface="BIZ UDPゴシック"/>
                          <a:ea typeface="+mn-ea"/>
                          <a:cs typeface="+mn-cs"/>
                        </a:rPr>
                        <a:t>、先行事例のデータを参考に設定。</a:t>
                      </a:r>
                      <a:endParaRPr kumimoji="1" lang="en-US" altLang="ja-JP" sz="1050" b="0" i="0" u="none" strike="noStrike" kern="1200" cap="none" spc="0" normalizeH="0" baseline="0" noProof="0">
                        <a:ln>
                          <a:noFill/>
                        </a:ln>
                        <a:solidFill>
                          <a:srgbClr val="0070C0"/>
                        </a:solidFill>
                        <a:effectLst/>
                        <a:uLnTx/>
                        <a:uFillTx/>
                        <a:latin typeface="BIZ UDPゴシック"/>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0070C0"/>
                          </a:solidFill>
                          <a:effectLst/>
                          <a:uLnTx/>
                          <a:uFillTx/>
                          <a:latin typeface="BIZ UDPゴシック"/>
                          <a:ea typeface="+mn-ea"/>
                          <a:cs typeface="+mn-cs"/>
                        </a:rPr>
                        <a:t>アンケート</a:t>
                      </a:r>
                      <a:endParaRPr kumimoji="1" lang="en-US" altLang="ja-JP" sz="1050" b="0" i="0" u="none" strike="noStrike" kern="1200" cap="none" spc="0" normalizeH="0" baseline="0" noProof="0">
                        <a:ln>
                          <a:noFill/>
                        </a:ln>
                        <a:solidFill>
                          <a:srgbClr val="0070C0"/>
                        </a:solidFill>
                        <a:effectLst/>
                        <a:uLnTx/>
                        <a:uFillTx/>
                        <a:latin typeface="BIZ UDPゴシック"/>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0070C0"/>
                          </a:solidFill>
                          <a:effectLst/>
                          <a:uLnTx/>
                          <a:uFillTx/>
                          <a:latin typeface="BIZ UDPゴシック"/>
                          <a:ea typeface="+mn-ea"/>
                          <a:cs typeface="+mn-cs"/>
                        </a:rPr>
                        <a:t>ツール導入後、</a:t>
                      </a:r>
                      <a:r>
                        <a:rPr kumimoji="1" lang="en-US" altLang="ja-JP" sz="1050" b="0" i="0" u="none" strike="noStrike" kern="1200" cap="none" spc="0" normalizeH="0" baseline="0" noProof="0">
                          <a:ln>
                            <a:noFill/>
                          </a:ln>
                          <a:solidFill>
                            <a:srgbClr val="0070C0"/>
                          </a:solidFill>
                          <a:effectLst/>
                          <a:uLnTx/>
                          <a:uFillTx/>
                          <a:latin typeface="BIZ UDPゴシック"/>
                          <a:ea typeface="+mn-ea"/>
                          <a:cs typeface="+mn-cs"/>
                        </a:rPr>
                        <a:t>1</a:t>
                      </a:r>
                      <a:r>
                        <a:rPr kumimoji="1" lang="ja-JP" altLang="en-US" sz="1050" b="0" i="0" u="none" strike="noStrike" kern="1200" cap="none" spc="0" normalizeH="0" baseline="0" noProof="0">
                          <a:ln>
                            <a:noFill/>
                          </a:ln>
                          <a:solidFill>
                            <a:srgbClr val="0070C0"/>
                          </a:solidFill>
                          <a:effectLst/>
                          <a:uLnTx/>
                          <a:uFillTx/>
                          <a:latin typeface="BIZ UDPゴシック"/>
                          <a:ea typeface="+mn-ea"/>
                          <a:cs typeface="+mn-cs"/>
                        </a:rPr>
                        <a:t>回</a:t>
                      </a:r>
                      <a:endParaRPr kumimoji="1" lang="en-US" altLang="ja-JP" sz="1050" b="0" i="0" u="none" strike="noStrike" kern="1200" cap="none" spc="0" normalizeH="0" baseline="0" noProof="0">
                        <a:ln>
                          <a:noFill/>
                        </a:ln>
                        <a:solidFill>
                          <a:srgbClr val="0070C0"/>
                        </a:solidFill>
                        <a:effectLst/>
                        <a:uLnTx/>
                        <a:uFillTx/>
                        <a:latin typeface="BIZ UDPゴシック"/>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0984968"/>
                  </a:ext>
                </a:extLst>
              </a:tr>
              <a:tr h="442292">
                <a:tc>
                  <a:txBody>
                    <a:bodyPr/>
                    <a:lstStyle/>
                    <a:p>
                      <a:pPr algn="ctr"/>
                      <a:r>
                        <a:rPr kumimoji="1" lang="en-US" altLang="ja-JP" sz="1050" kern="1200">
                          <a:solidFill>
                            <a:sysClr val="windowText" lastClr="000000"/>
                          </a:solidFill>
                          <a:latin typeface="+mn-ea"/>
                          <a:ea typeface="+mn-ea"/>
                          <a:cs typeface="+mn-cs"/>
                        </a:rPr>
                        <a:t>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宿泊施設との連携数増加</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クーポン連携した宿泊施設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箇所</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箇所</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対象エリア内の宿泊施設のうち半数と連携を想定。</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クーポン連携数より</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年１回</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41354908"/>
                  </a:ext>
                </a:extLst>
              </a:tr>
            </a:tbl>
          </a:graphicData>
        </a:graphic>
      </p:graphicFrame>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E5452BB1-3ED0-4261-B76D-A910259B86CD}"/>
              </a:ext>
            </a:extLst>
          </p:cNvPr>
          <p:cNvSpPr>
            <a:spLocks noGrp="1"/>
          </p:cNvSpPr>
          <p:nvPr>
            <p:ph type="body" sz="quarter" idx="4294967295"/>
          </p:nvPr>
        </p:nvSpPr>
        <p:spPr>
          <a:xfrm>
            <a:off x="300779" y="1134673"/>
            <a:ext cx="11376000" cy="353943"/>
          </a:xfrm>
        </p:spPr>
        <p:txBody>
          <a:bodyPr>
            <a:normAutofit fontScale="92500" lnSpcReduction="1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en-US" altLang="ja-JP" sz="2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2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マリーを記載</a:t>
            </a:r>
            <a:r>
              <a:rPr kumimoji="1" lang="en-US" altLang="ja-JP" sz="2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2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テキスト プレースホルダー 1">
            <a:extLst>
              <a:ext uri="{FF2B5EF4-FFF2-40B4-BE49-F238E27FC236}">
                <a16:creationId xmlns:a16="http://schemas.microsoft.com/office/drawing/2014/main" id="{A45FDDD5-9A42-423D-9ED3-F19DD3567786}"/>
              </a:ext>
            </a:extLst>
          </p:cNvPr>
          <p:cNvSpPr>
            <a:spLocks noGrp="1"/>
          </p:cNvSpPr>
          <p:nvPr>
            <p:ph type="body" sz="quarter" idx="36"/>
          </p:nvPr>
        </p:nvSpPr>
        <p:spPr/>
        <p:txBody>
          <a:bodyPr/>
          <a:lstStyle/>
          <a:p>
            <a:r>
              <a:rPr lang="en-US" altLang="ja-JP"/>
              <a:t>I. </a:t>
            </a:r>
            <a:r>
              <a:rPr lang="ja-JP" altLang="en-US"/>
              <a:t>プロジェクトのビジョン</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４</a:t>
            </a:r>
            <a:r>
              <a:rPr lang="en-US" altLang="ja-JP"/>
              <a:t>.KPI</a:t>
            </a:r>
            <a:r>
              <a:rPr lang="ja-JP" altLang="en-US"/>
              <a:t>│プロジェクト全体の</a:t>
            </a:r>
            <a:r>
              <a:rPr lang="en-US" altLang="ja-JP"/>
              <a:t>KPI</a:t>
            </a:r>
            <a:endParaRPr lang="ja-JP" altLang="en-US"/>
          </a:p>
        </p:txBody>
      </p:sp>
      <p:sp>
        <p:nvSpPr>
          <p:cNvPr id="7" name="テキスト ボックス 6">
            <a:extLst>
              <a:ext uri="{FF2B5EF4-FFF2-40B4-BE49-F238E27FC236}">
                <a16:creationId xmlns:a16="http://schemas.microsoft.com/office/drawing/2014/main" id="{CD57A09D-0FAB-DCC5-4D8A-39E21554BE47}"/>
              </a:ext>
            </a:extLst>
          </p:cNvPr>
          <p:cNvSpPr txBox="1"/>
          <p:nvPr/>
        </p:nvSpPr>
        <p:spPr>
          <a:xfrm>
            <a:off x="300779" y="2874905"/>
            <a:ext cx="11683720" cy="320840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プロジェクト全体の</a:t>
            </a:r>
            <a:r>
              <a:rPr kumimoji="0" lang="en-US" altLang="ja-JP" sz="1400" b="0" i="0" u="none" strike="noStrike" kern="0" cap="none" spc="0" normalizeH="0" baseline="0" noProof="0">
                <a:ln>
                  <a:noFill/>
                </a:ln>
                <a:solidFill>
                  <a:srgbClr val="FFFFFF"/>
                </a:solidFill>
                <a:effectLst/>
                <a:uLnTx/>
                <a:uFillTx/>
              </a:rPr>
              <a:t>KPI</a:t>
            </a:r>
            <a:r>
              <a:rPr kumimoji="0" lang="ja-JP" altLang="en-US" sz="1400" b="0" i="0" u="none" strike="noStrike" kern="0" cap="none" spc="0" normalizeH="0" baseline="0" noProof="0">
                <a:ln>
                  <a:noFill/>
                </a:ln>
                <a:solidFill>
                  <a:srgbClr val="FFFFFF"/>
                </a:solidFill>
                <a:effectLst/>
                <a:uLnTx/>
                <a:uFillTx/>
              </a:rPr>
              <a:t>を設定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kern="0">
                <a:solidFill>
                  <a:srgbClr val="FFFFFF"/>
                </a:solidFill>
              </a:rPr>
              <a:t>必ず、「交通サービスの高度化」「モビリティデータの取得と活用」「政策連携」のすべての項目で</a:t>
            </a:r>
            <a:r>
              <a:rPr kumimoji="0" lang="en-US" altLang="ja-JP" sz="1400" kern="0">
                <a:solidFill>
                  <a:srgbClr val="FFFFFF"/>
                </a:solidFill>
              </a:rPr>
              <a:t>KPI</a:t>
            </a:r>
            <a:r>
              <a:rPr kumimoji="0" lang="ja-JP" altLang="en-US" sz="1400" kern="0">
                <a:solidFill>
                  <a:srgbClr val="FFFFFF"/>
                </a:solidFill>
              </a:rPr>
              <a:t>を設定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プロジェクト全体のうち、モビリティデータの取得と活用領域の</a:t>
            </a:r>
            <a:r>
              <a:rPr kumimoji="0" lang="en-US" altLang="ja-JP" sz="1400" b="0" i="0" u="none" strike="noStrike" kern="0" cap="none" spc="0" normalizeH="0" baseline="0" noProof="0">
                <a:ln>
                  <a:noFill/>
                </a:ln>
                <a:solidFill>
                  <a:srgbClr val="FFFFFF"/>
                </a:solidFill>
                <a:effectLst/>
                <a:uLnTx/>
                <a:uFillTx/>
              </a:rPr>
              <a:t>KPI</a:t>
            </a:r>
            <a:r>
              <a:rPr kumimoji="0" lang="ja-JP" altLang="en-US" sz="1400" b="0" i="0" u="none" strike="noStrike" kern="0" cap="none" spc="0" normalizeH="0" baseline="0" noProof="0">
                <a:ln>
                  <a:noFill/>
                </a:ln>
                <a:solidFill>
                  <a:srgbClr val="FFFFFF"/>
                </a:solidFill>
                <a:effectLst/>
                <a:uLnTx/>
                <a:uFillTx/>
              </a:rPr>
              <a:t>を仮説検証するための具体的な方法を含め記載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必ず記載すべき必須</a:t>
            </a:r>
            <a:r>
              <a:rPr kumimoji="0" lang="en-US" altLang="ja-JP" sz="1400" b="0" i="0" u="none" strike="noStrike" kern="0" cap="none" spc="0" normalizeH="0" baseline="0" noProof="0">
                <a:ln>
                  <a:noFill/>
                </a:ln>
                <a:solidFill>
                  <a:srgbClr val="FFFFFF"/>
                </a:solidFill>
                <a:effectLst/>
                <a:uLnTx/>
                <a:uFillTx/>
              </a:rPr>
              <a:t>KPI</a:t>
            </a:r>
            <a:r>
              <a:rPr kumimoji="0" lang="ja-JP" altLang="en-US" sz="1400" b="0" i="0" u="none" strike="noStrike" kern="0" cap="none" spc="0" normalizeH="0" baseline="0" noProof="0">
                <a:ln>
                  <a:noFill/>
                </a:ln>
                <a:solidFill>
                  <a:srgbClr val="FFFFFF"/>
                </a:solidFill>
                <a:effectLst/>
                <a:uLnTx/>
                <a:uFillTx/>
              </a:rPr>
              <a:t>は下記となります。</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endParaRPr kumimoji="0" lang="en-US" altLang="ja-JP" sz="1400" kern="0">
              <a:solidFill>
                <a:srgbClr val="FFFFFF"/>
              </a:solidFill>
            </a:endParaRPr>
          </a:p>
          <a:p>
            <a:pPr>
              <a:defRPr/>
            </a:pPr>
            <a:r>
              <a:rPr lang="ja-JP" altLang="en-US" sz="1400">
                <a:solidFill>
                  <a:schemeClr val="bg1"/>
                </a:solidFill>
                <a:latin typeface="BIZ UDPゴシック"/>
              </a:rPr>
              <a:t>【記載すべき</a:t>
            </a:r>
            <a:r>
              <a:rPr lang="en-US" altLang="ja-JP" sz="1400">
                <a:solidFill>
                  <a:schemeClr val="bg1"/>
                </a:solidFill>
                <a:latin typeface="BIZ UDPゴシック"/>
              </a:rPr>
              <a:t>KPI</a:t>
            </a:r>
            <a:r>
              <a:rPr lang="ja-JP" altLang="en-US" sz="1400">
                <a:solidFill>
                  <a:schemeClr val="bg1"/>
                </a:solidFill>
                <a:latin typeface="BIZ UDPゴシック"/>
              </a:rPr>
              <a:t>】</a:t>
            </a:r>
          </a:p>
          <a:p>
            <a:pPr marL="285750" indent="-285750">
              <a:buFont typeface="Wingdings" panose="05000000000000000000" pitchFamily="2" charset="2"/>
              <a:buChar char="l"/>
              <a:defRPr/>
            </a:pPr>
            <a:r>
              <a:rPr lang="ja-JP" altLang="ja-JP" sz="1400">
                <a:solidFill>
                  <a:schemeClr val="bg1"/>
                </a:solidFill>
                <a:latin typeface="BIZ UDPゴシック"/>
              </a:rPr>
              <a:t>MaaSアプリ等のコンシューマ向けアプリを提供する場合</a:t>
            </a:r>
            <a:r>
              <a:rPr lang="ja-JP" altLang="en-US" sz="1400">
                <a:solidFill>
                  <a:schemeClr val="bg1"/>
                </a:solidFill>
                <a:latin typeface="BIZ UDPゴシック"/>
              </a:rPr>
              <a:t>：</a:t>
            </a:r>
            <a:r>
              <a:rPr lang="ja-JP" altLang="ja-JP" sz="1400">
                <a:solidFill>
                  <a:schemeClr val="bg1"/>
                </a:solidFill>
                <a:latin typeface="BIZ UDPゴシック"/>
              </a:rPr>
              <a:t>年間</a:t>
            </a:r>
            <a:r>
              <a:rPr lang="ja-JP" altLang="en-US" sz="1400">
                <a:solidFill>
                  <a:schemeClr val="bg1"/>
                </a:solidFill>
                <a:latin typeface="BIZ UDPゴシック"/>
              </a:rPr>
              <a:t>・</a:t>
            </a:r>
            <a:r>
              <a:rPr lang="ja-JP" altLang="ja-JP" sz="1400">
                <a:solidFill>
                  <a:schemeClr val="bg1"/>
                </a:solidFill>
                <a:latin typeface="BIZ UDPゴシック"/>
              </a:rPr>
              <a:t>月間</a:t>
            </a:r>
            <a:r>
              <a:rPr lang="ja-JP" altLang="en-US" sz="1400">
                <a:solidFill>
                  <a:schemeClr val="bg1"/>
                </a:solidFill>
                <a:latin typeface="BIZ UDPゴシック"/>
              </a:rPr>
              <a:t>会員</a:t>
            </a:r>
            <a:r>
              <a:rPr lang="ja-JP" altLang="ja-JP" sz="1400">
                <a:solidFill>
                  <a:schemeClr val="bg1"/>
                </a:solidFill>
                <a:latin typeface="BIZ UDPゴシック"/>
              </a:rPr>
              <a:t>登録者数</a:t>
            </a:r>
            <a:r>
              <a:rPr lang="ja-JP" altLang="en-US" sz="1400">
                <a:solidFill>
                  <a:schemeClr val="bg1"/>
                </a:solidFill>
                <a:latin typeface="BIZ UDPゴシック"/>
              </a:rPr>
              <a:t>、</a:t>
            </a:r>
            <a:r>
              <a:rPr lang="ja-JP" altLang="ja-JP" sz="1400">
                <a:solidFill>
                  <a:schemeClr val="bg1"/>
                </a:solidFill>
                <a:latin typeface="BIZ UDPゴシック"/>
              </a:rPr>
              <a:t>利用者数（アクティブ）</a:t>
            </a:r>
            <a:endParaRPr lang="en-US" altLang="ja-JP" sz="1400">
              <a:solidFill>
                <a:schemeClr val="bg1"/>
              </a:solidFill>
            </a:endParaRPr>
          </a:p>
          <a:p>
            <a:pPr marL="285750" indent="-285750">
              <a:buFont typeface="Wingdings" panose="05000000000000000000" pitchFamily="2" charset="2"/>
              <a:buChar char="l"/>
              <a:defRPr/>
            </a:pPr>
            <a:r>
              <a:rPr lang="ja-JP" altLang="ja-JP" sz="1400">
                <a:solidFill>
                  <a:schemeClr val="bg1"/>
                </a:solidFill>
                <a:latin typeface="BIZ UDPゴシック"/>
              </a:rPr>
              <a:t>交通サービスを提供する場合</a:t>
            </a:r>
            <a:r>
              <a:rPr lang="ja-JP" altLang="en-US" sz="1400">
                <a:solidFill>
                  <a:schemeClr val="bg1"/>
                </a:solidFill>
                <a:latin typeface="BIZ UDPゴシック"/>
              </a:rPr>
              <a:t>：</a:t>
            </a:r>
            <a:r>
              <a:rPr lang="ja-JP" altLang="ja-JP" sz="1400">
                <a:solidFill>
                  <a:schemeClr val="bg1"/>
                </a:solidFill>
                <a:latin typeface="BIZ UDPゴシック"/>
              </a:rPr>
              <a:t>月間・年間利用者数（デマンドバス利用者数、シェアサイクル利用者数等）</a:t>
            </a:r>
            <a:r>
              <a:rPr lang="ja-JP" altLang="en-US" sz="1400">
                <a:solidFill>
                  <a:schemeClr val="bg1"/>
                </a:solidFill>
                <a:latin typeface="BIZ UDPゴシック"/>
              </a:rPr>
              <a:t>、</a:t>
            </a:r>
            <a:r>
              <a:rPr lang="ja-JP" altLang="ja-JP" sz="1400">
                <a:solidFill>
                  <a:schemeClr val="bg1"/>
                </a:solidFill>
                <a:latin typeface="BIZ UDPゴシック"/>
              </a:rPr>
              <a:t> MaaSアプリを通じた利用者数、売上高、売上数等</a:t>
            </a:r>
            <a:r>
              <a:rPr lang="ja-JP" altLang="en-US" sz="1400">
                <a:solidFill>
                  <a:schemeClr val="bg1"/>
                </a:solidFill>
                <a:latin typeface="BIZ UDPゴシック"/>
              </a:rPr>
              <a:t>及びこれらの指標のサービス提供前後における変化率・変化指標（</a:t>
            </a:r>
            <a:r>
              <a:rPr lang="en-US" altLang="ja-JP" sz="1400" err="1">
                <a:solidFill>
                  <a:schemeClr val="bg1"/>
                </a:solidFill>
                <a:latin typeface="BIZ UDPゴシック"/>
              </a:rPr>
              <a:t>MaaS</a:t>
            </a:r>
            <a:r>
              <a:rPr lang="ja-JP" altLang="en-US" sz="1400">
                <a:solidFill>
                  <a:schemeClr val="bg1"/>
                </a:solidFill>
                <a:latin typeface="BIZ UDPゴシック"/>
              </a:rPr>
              <a:t>等のサービス提供によって利用者が増加したかを測る指標）</a:t>
            </a:r>
            <a:endParaRPr lang="en-US" altLang="ja-JP" sz="1400"/>
          </a:p>
          <a:p>
            <a:pPr marL="285750" indent="-285750">
              <a:buFont typeface="Wingdings" panose="05000000000000000000" pitchFamily="2" charset="2"/>
              <a:buChar char="l"/>
              <a:defRPr/>
            </a:pPr>
            <a:r>
              <a:rPr lang="ja-JP" altLang="ja-JP" sz="1400">
                <a:solidFill>
                  <a:schemeClr val="bg1"/>
                </a:solidFill>
                <a:latin typeface="BIZ UDPゴシック"/>
              </a:rPr>
              <a:t>企画乗車券等の商品を販売する場合</a:t>
            </a:r>
            <a:r>
              <a:rPr lang="ja-JP" altLang="en-US" sz="1400">
                <a:solidFill>
                  <a:schemeClr val="bg1"/>
                </a:solidFill>
                <a:latin typeface="BIZ UDPゴシック"/>
              </a:rPr>
              <a:t>：造成する券種数、</a:t>
            </a:r>
            <a:r>
              <a:rPr lang="ja-JP" altLang="ja-JP" sz="1400">
                <a:solidFill>
                  <a:schemeClr val="bg1"/>
                </a:solidFill>
                <a:latin typeface="BIZ UDPゴシック"/>
              </a:rPr>
              <a:t>年間、月間の販売</a:t>
            </a:r>
            <a:r>
              <a:rPr lang="ja-JP" altLang="en-US" sz="1400">
                <a:solidFill>
                  <a:schemeClr val="bg1"/>
                </a:solidFill>
                <a:latin typeface="BIZ UDPゴシック"/>
              </a:rPr>
              <a:t>実績数</a:t>
            </a:r>
            <a:r>
              <a:rPr lang="ja-JP" altLang="ja-JP" sz="1400">
                <a:solidFill>
                  <a:schemeClr val="bg1"/>
                </a:solidFill>
                <a:latin typeface="BIZ UDPゴシック"/>
              </a:rPr>
              <a:t>、売上高</a:t>
            </a:r>
            <a:endParaRPr lang="en-US" altLang="ja-JP" sz="1400">
              <a:solidFill>
                <a:schemeClr val="bg1"/>
              </a:solidFill>
              <a:latin typeface="BIZ UDPゴシック"/>
            </a:endParaRPr>
          </a:p>
          <a:p>
            <a:pPr marL="285750" indent="-285750">
              <a:buFont typeface="Wingdings" panose="05000000000000000000" pitchFamily="2" charset="2"/>
              <a:buChar char="l"/>
              <a:defRPr/>
            </a:pPr>
            <a:r>
              <a:rPr lang="ja-JP" altLang="ja-JP" sz="1400">
                <a:solidFill>
                  <a:schemeClr val="bg1"/>
                </a:solidFill>
                <a:latin typeface="BIZ UDPゴシック"/>
              </a:rPr>
              <a:t>利用者の満足度</a:t>
            </a:r>
            <a:r>
              <a:rPr lang="ja-JP" altLang="en-US" sz="1400">
                <a:solidFill>
                  <a:schemeClr val="bg1"/>
                </a:solidFill>
                <a:latin typeface="BIZ UDPゴシック"/>
              </a:rPr>
              <a:t>：</a:t>
            </a:r>
            <a:r>
              <a:rPr lang="ja-JP" altLang="ja-JP" sz="1400">
                <a:solidFill>
                  <a:schemeClr val="bg1"/>
                </a:solidFill>
                <a:latin typeface="BIZ UDPゴシック"/>
              </a:rPr>
              <a:t>利便性向上の評価</a:t>
            </a:r>
            <a:endParaRPr lang="en-US" altLang="ja-JP" sz="1400"/>
          </a:p>
          <a:p>
            <a:pPr marL="285750" indent="-285750">
              <a:buFont typeface="Wingdings" panose="05000000000000000000" pitchFamily="2" charset="2"/>
              <a:buChar char="l"/>
              <a:defRPr/>
            </a:pPr>
            <a:r>
              <a:rPr lang="ja-JP" altLang="ja-JP" sz="1400">
                <a:solidFill>
                  <a:schemeClr val="bg1"/>
                </a:solidFill>
                <a:latin typeface="BIZ UDPゴシック"/>
              </a:rPr>
              <a:t>データ分析等</a:t>
            </a:r>
            <a:r>
              <a:rPr lang="ja-JP" altLang="en-US" sz="1400">
                <a:solidFill>
                  <a:schemeClr val="bg1"/>
                </a:solidFill>
                <a:latin typeface="BIZ UDPゴシック"/>
              </a:rPr>
              <a:t>の有用性指標：</a:t>
            </a:r>
            <a:r>
              <a:rPr lang="ja-JP" altLang="ja-JP" sz="1400">
                <a:solidFill>
                  <a:schemeClr val="bg1"/>
                </a:solidFill>
                <a:latin typeface="BIZ UDPゴシック"/>
              </a:rPr>
              <a:t>利用者（自治体や事業者の職員）からの評価</a:t>
            </a:r>
            <a:endParaRPr lang="ja-JP" altLang="ja-JP" sz="1400"/>
          </a:p>
          <a:p>
            <a:pPr marL="0" marR="0" lvl="0" indent="0" defTabSz="914400" eaLnBrk="1" fontAlgn="auto" latinLnBrk="0" hangingPunct="1">
              <a:lnSpc>
                <a:spcPct val="100000"/>
              </a:lnSpc>
              <a:spcBef>
                <a:spcPts val="30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1774205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9B11EE97-61F3-4EB1-88AA-CC1F6202EC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9B11EE97-61F3-4EB1-88AA-CC1F6202EC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745DF5B-1B9B-44D3-BEB6-FB1E031D5C03}"/>
              </a:ext>
            </a:extLst>
          </p:cNvPr>
          <p:cNvSpPr>
            <a:spLocks noGrp="1"/>
          </p:cNvSpPr>
          <p:nvPr>
            <p:ph type="body" sz="quarter" idx="36"/>
          </p:nvPr>
        </p:nvSpPr>
        <p:spPr/>
        <p:txBody>
          <a:bodyPr/>
          <a:lstStyle/>
          <a:p>
            <a:r>
              <a:rPr lang="en-US" altLang="ja-JP"/>
              <a:t>I. </a:t>
            </a:r>
            <a:r>
              <a:rPr lang="ja-JP" altLang="en-US"/>
              <a:t>プロジェクトのビジョン</a:t>
            </a:r>
          </a:p>
        </p:txBody>
      </p:sp>
      <p:sp>
        <p:nvSpPr>
          <p:cNvPr id="4" name="タイトル 3">
            <a:extLst>
              <a:ext uri="{FF2B5EF4-FFF2-40B4-BE49-F238E27FC236}">
                <a16:creationId xmlns:a16="http://schemas.microsoft.com/office/drawing/2014/main" id="{29DB748F-EFF5-4509-B381-6B8D73B31303}"/>
              </a:ext>
            </a:extLst>
          </p:cNvPr>
          <p:cNvSpPr>
            <a:spLocks noGrp="1"/>
          </p:cNvSpPr>
          <p:nvPr>
            <p:ph type="title"/>
          </p:nvPr>
        </p:nvSpPr>
        <p:spPr/>
        <p:txBody>
          <a:bodyPr vert="horz"/>
          <a:lstStyle/>
          <a:p>
            <a:r>
              <a:rPr kumimoji="1" lang="ja-JP" altLang="en-US"/>
              <a:t>５</a:t>
            </a:r>
            <a:r>
              <a:rPr kumimoji="1" lang="en-US" altLang="ja-JP"/>
              <a:t>.</a:t>
            </a:r>
            <a:r>
              <a:rPr kumimoji="1" lang="ja-JP" altLang="en-US"/>
              <a:t>想定事業機会</a:t>
            </a:r>
          </a:p>
        </p:txBody>
      </p:sp>
      <p:sp>
        <p:nvSpPr>
          <p:cNvPr id="8" name="テキスト プレースホルダー 7">
            <a:extLst>
              <a:ext uri="{FF2B5EF4-FFF2-40B4-BE49-F238E27FC236}">
                <a16:creationId xmlns:a16="http://schemas.microsoft.com/office/drawing/2014/main" id="{9D610DBF-17F7-608B-8680-1CFA54E54E02}"/>
              </a:ext>
            </a:extLst>
          </p:cNvPr>
          <p:cNvSpPr>
            <a:spLocks noGrp="1"/>
          </p:cNvSpPr>
          <p:nvPr>
            <p:ph type="body" sz="quarter" idx="4294967295"/>
          </p:nvPr>
        </p:nvSpPr>
        <p:spPr>
          <a:xfrm>
            <a:off x="300779" y="1221389"/>
            <a:ext cx="11376000" cy="323165"/>
          </a:xfrm>
        </p:spPr>
        <p:txBody>
          <a:bodyPr>
            <a:normAutofit fontScale="92500" lnSpcReduction="2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ja-JP" altLang="en-US" sz="1800" i="0" u="none" strike="noStrike" kern="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本プロジェクトで開発した</a:t>
            </a:r>
            <a:r>
              <a:rPr kumimoji="1" lang="en-US" altLang="ja-JP" sz="1800" i="0" u="none" strike="noStrike" kern="0" cap="none" spc="0" normalizeH="0" baseline="0" noProof="0" err="1">
                <a:ln>
                  <a:noFill/>
                </a:ln>
                <a:solidFill>
                  <a:srgbClr val="0070C0"/>
                </a:solidFill>
                <a:effectLst/>
                <a:uLnTx/>
                <a:uFillTx/>
                <a:latin typeface="Meiryo UI" panose="020B0604030504040204" pitchFamily="50" charset="-128"/>
                <a:ea typeface="Meiryo UI" panose="020B0604030504040204" pitchFamily="50" charset="-128"/>
                <a:cs typeface="+mn-cs"/>
              </a:rPr>
              <a:t>MaaS</a:t>
            </a:r>
            <a:r>
              <a:rPr kumimoji="1" lang="ja-JP" altLang="en-US" sz="1800" i="0" u="none" strike="noStrike" kern="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アプリの横展開</a:t>
            </a:r>
          </a:p>
        </p:txBody>
      </p:sp>
      <p:graphicFrame>
        <p:nvGraphicFramePr>
          <p:cNvPr id="2" name="表 3">
            <a:extLst>
              <a:ext uri="{FF2B5EF4-FFF2-40B4-BE49-F238E27FC236}">
                <a16:creationId xmlns:a16="http://schemas.microsoft.com/office/drawing/2014/main" id="{11947C01-3F25-5707-DF65-95146B28736C}"/>
              </a:ext>
            </a:extLst>
          </p:cNvPr>
          <p:cNvGraphicFramePr>
            <a:graphicFrameLocks noGrp="1"/>
          </p:cNvGraphicFramePr>
          <p:nvPr>
            <p:extLst>
              <p:ext uri="{D42A27DB-BD31-4B8C-83A1-F6EECF244321}">
                <p14:modId xmlns:p14="http://schemas.microsoft.com/office/powerpoint/2010/main" val="1259605220"/>
              </p:ext>
            </p:extLst>
          </p:nvPr>
        </p:nvGraphicFramePr>
        <p:xfrm>
          <a:off x="302400" y="1859243"/>
          <a:ext cx="11587200" cy="4343400"/>
        </p:xfrm>
        <a:graphic>
          <a:graphicData uri="http://schemas.openxmlformats.org/drawingml/2006/table">
            <a:tbl>
              <a:tblPr firstRow="1" bandRow="1">
                <a:tableStyleId>{5940675A-B579-460E-94D1-54222C63F5DA}</a:tableStyleId>
              </a:tblPr>
              <a:tblGrid>
                <a:gridCol w="1741004">
                  <a:extLst>
                    <a:ext uri="{9D8B030D-6E8A-4147-A177-3AD203B41FA5}">
                      <a16:colId xmlns:a16="http://schemas.microsoft.com/office/drawing/2014/main" val="1794116915"/>
                    </a:ext>
                  </a:extLst>
                </a:gridCol>
                <a:gridCol w="9846196">
                  <a:extLst>
                    <a:ext uri="{9D8B030D-6E8A-4147-A177-3AD203B41FA5}">
                      <a16:colId xmlns:a16="http://schemas.microsoft.com/office/drawing/2014/main" val="1788078460"/>
                    </a:ext>
                  </a:extLst>
                </a:gridCol>
              </a:tblGrid>
              <a:tr h="385384">
                <a:tc>
                  <a:txBody>
                    <a:bodyPr/>
                    <a:lstStyle/>
                    <a:p>
                      <a:pPr algn="ctr"/>
                      <a:r>
                        <a:rPr kumimoji="1" lang="ja-JP" altLang="en-US" sz="1600" b="1">
                          <a:latin typeface="+mn-ea"/>
                          <a:ea typeface="+mn-ea"/>
                        </a:rPr>
                        <a:t>項目</a:t>
                      </a:r>
                    </a:p>
                  </a:txBody>
                  <a:tcPr marL="112542" marR="112542" marT="56271" marB="56271">
                    <a:solidFill>
                      <a:schemeClr val="bg1">
                        <a:lumMod val="85000"/>
                      </a:schemeClr>
                    </a:solidFill>
                  </a:tcPr>
                </a:tc>
                <a:tc>
                  <a:txBody>
                    <a:bodyPr/>
                    <a:lstStyle/>
                    <a:p>
                      <a:pPr algn="ctr"/>
                      <a:r>
                        <a:rPr kumimoji="1" lang="ja-JP" altLang="en-US" sz="1600" b="1">
                          <a:latin typeface="+mn-ea"/>
                          <a:ea typeface="+mn-ea"/>
                        </a:rPr>
                        <a:t>内容</a:t>
                      </a:r>
                    </a:p>
                  </a:txBody>
                  <a:tcPr marL="112542" marR="112542" marT="56271" marB="56271">
                    <a:solidFill>
                      <a:schemeClr val="bg1">
                        <a:lumMod val="85000"/>
                      </a:schemeClr>
                    </a:solidFill>
                  </a:tcPr>
                </a:tc>
                <a:extLst>
                  <a:ext uri="{0D108BD9-81ED-4DB2-BD59-A6C34878D82A}">
                    <a16:rowId xmlns:a16="http://schemas.microsoft.com/office/drawing/2014/main" val="1225045008"/>
                  </a:ext>
                </a:extLst>
              </a:tr>
              <a:tr h="8671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a:solidFill>
                            <a:schemeClr val="tx1"/>
                          </a:solidFill>
                          <a:latin typeface="+mn-ea"/>
                          <a:ea typeface="+mn-ea"/>
                        </a:rPr>
                        <a:t>利用事業者</a:t>
                      </a:r>
                    </a:p>
                  </a:txBody>
                  <a:tcPr marL="112542" marR="112542" marT="56271" marB="56271">
                    <a:solidFill>
                      <a:schemeClr val="bg1"/>
                    </a:solidFill>
                  </a:tcPr>
                </a:tc>
                <a:tc>
                  <a:txBody>
                    <a:bodyPr/>
                    <a:lstStyle/>
                    <a:p>
                      <a:pPr marL="187574" indent="-187574">
                        <a:spcBef>
                          <a:spcPts val="0"/>
                        </a:spcBef>
                        <a:spcAft>
                          <a:spcPts val="369"/>
                        </a:spcAft>
                        <a:buChar char="•"/>
                      </a:pPr>
                      <a:r>
                        <a:rPr kumimoji="1" lang="ja-JP" altLang="en-US" sz="1600" b="0">
                          <a:solidFill>
                            <a:srgbClr val="0070C0"/>
                          </a:solidFill>
                          <a:latin typeface="+mn-ea"/>
                          <a:ea typeface="+mn-ea"/>
                        </a:rPr>
                        <a:t>近隣都市で</a:t>
                      </a:r>
                      <a:r>
                        <a:rPr kumimoji="1" lang="en-US" altLang="ja-JP" sz="1600" b="0">
                          <a:solidFill>
                            <a:srgbClr val="0070C0"/>
                          </a:solidFill>
                          <a:latin typeface="+mn-ea"/>
                          <a:ea typeface="+mn-ea"/>
                        </a:rPr>
                        <a:t>MaaS</a:t>
                      </a:r>
                      <a:r>
                        <a:rPr kumimoji="1" lang="ja-JP" altLang="en-US" sz="1600" b="0">
                          <a:solidFill>
                            <a:srgbClr val="0070C0"/>
                          </a:solidFill>
                          <a:latin typeface="+mn-ea"/>
                          <a:ea typeface="+mn-ea"/>
                        </a:rPr>
                        <a:t>アプリの導入を検討する市町村、及び交通事業者</a:t>
                      </a:r>
                      <a:endParaRPr kumimoji="1" lang="en-US" altLang="ja-JP" sz="1600" b="0">
                        <a:solidFill>
                          <a:srgbClr val="0070C0"/>
                        </a:solidFill>
                        <a:latin typeface="+mn-ea"/>
                        <a:ea typeface="+mn-ea"/>
                      </a:endParaRPr>
                    </a:p>
                  </a:txBody>
                  <a:tcPr marL="112542" marR="112542" marT="56271" marB="56271">
                    <a:solidFill>
                      <a:schemeClr val="bg1"/>
                    </a:solidFill>
                  </a:tcPr>
                </a:tc>
                <a:extLst>
                  <a:ext uri="{0D108BD9-81ED-4DB2-BD59-A6C34878D82A}">
                    <a16:rowId xmlns:a16="http://schemas.microsoft.com/office/drawing/2014/main" val="2678490041"/>
                  </a:ext>
                </a:extLst>
              </a:tr>
              <a:tr h="1274176">
                <a:tc>
                  <a:txBody>
                    <a:bodyPr/>
                    <a:lstStyle/>
                    <a:p>
                      <a:r>
                        <a:rPr kumimoji="1" lang="ja-JP" altLang="en-US" sz="1600">
                          <a:latin typeface="+mn-ea"/>
                          <a:ea typeface="+mn-ea"/>
                        </a:rPr>
                        <a:t>提供価値</a:t>
                      </a:r>
                    </a:p>
                  </a:txBody>
                  <a:tcPr marL="112542" marR="112542" marT="56271" marB="56271">
                    <a:solidFill>
                      <a:schemeClr val="bg1"/>
                    </a:solidFill>
                  </a:tcPr>
                </a:tc>
                <a:tc>
                  <a:txBody>
                    <a:bodyPr/>
                    <a:lstStyle/>
                    <a:p>
                      <a:pPr marL="218440" indent="-218440">
                        <a:spcBef>
                          <a:spcPts val="0"/>
                        </a:spcBef>
                        <a:spcAft>
                          <a:spcPts val="369"/>
                        </a:spcAft>
                        <a:buChar char="•"/>
                      </a:pPr>
                      <a:r>
                        <a:rPr kumimoji="1" lang="ja-JP" altLang="en-US" sz="1600" b="0">
                          <a:solidFill>
                            <a:srgbClr val="0070C0"/>
                          </a:solidFill>
                          <a:latin typeface="+mn-ea"/>
                          <a:ea typeface="+mn-ea"/>
                        </a:rPr>
                        <a:t>導入地域にとっては、サービス開始までのリードタイム短縮およびコスト低減が可能。</a:t>
                      </a:r>
                      <a:endParaRPr kumimoji="1" lang="en-US" altLang="ja-JP" sz="1600" b="0">
                        <a:solidFill>
                          <a:srgbClr val="0070C0"/>
                        </a:solidFill>
                        <a:latin typeface="+mn-ea"/>
                        <a:ea typeface="+mn-ea"/>
                      </a:endParaRPr>
                    </a:p>
                  </a:txBody>
                  <a:tcPr marL="112542" marR="112542" marT="56271" marB="56271">
                    <a:solidFill>
                      <a:schemeClr val="bg1"/>
                    </a:solidFill>
                  </a:tcPr>
                </a:tc>
                <a:extLst>
                  <a:ext uri="{0D108BD9-81ED-4DB2-BD59-A6C34878D82A}">
                    <a16:rowId xmlns:a16="http://schemas.microsoft.com/office/drawing/2014/main" val="349536873"/>
                  </a:ext>
                </a:extLst>
              </a:tr>
              <a:tr h="1816725">
                <a:tc>
                  <a:txBody>
                    <a:bodyPr/>
                    <a:lstStyle/>
                    <a:p>
                      <a:r>
                        <a:rPr kumimoji="1" lang="ja-JP" altLang="en-US" sz="1600">
                          <a:latin typeface="+mn-ea"/>
                          <a:ea typeface="+mn-ea"/>
                        </a:rPr>
                        <a:t>サービス展開に向けた仮説</a:t>
                      </a:r>
                    </a:p>
                  </a:txBody>
                  <a:tcPr marL="112542" marR="112542" marT="56271" marB="56271">
                    <a:solidFill>
                      <a:schemeClr val="bg1"/>
                    </a:solidFill>
                  </a:tcPr>
                </a:tc>
                <a:tc>
                  <a:txBody>
                    <a:bodyPr/>
                    <a:lstStyle/>
                    <a:p>
                      <a:pPr marL="0" indent="0">
                        <a:spcBef>
                          <a:spcPts val="0"/>
                        </a:spcBef>
                        <a:spcAft>
                          <a:spcPts val="369"/>
                        </a:spcAft>
                        <a:buFont typeface="+mj-ea"/>
                        <a:buNone/>
                      </a:pPr>
                      <a:r>
                        <a:rPr kumimoji="1" lang="ja-JP" altLang="en-US" sz="1600">
                          <a:solidFill>
                            <a:srgbClr val="0070C0"/>
                          </a:solidFill>
                          <a:latin typeface="+mn-ea"/>
                          <a:ea typeface="+mn-ea"/>
                        </a:rPr>
                        <a:t>他地域に</a:t>
                      </a:r>
                      <a:r>
                        <a:rPr kumimoji="1" lang="en-US" altLang="ja-JP" sz="1600">
                          <a:solidFill>
                            <a:srgbClr val="0070C0"/>
                          </a:solidFill>
                          <a:latin typeface="+mn-ea"/>
                          <a:ea typeface="+mn-ea"/>
                        </a:rPr>
                        <a:t>MaaS</a:t>
                      </a:r>
                      <a:r>
                        <a:rPr kumimoji="1" lang="ja-JP" altLang="en-US" sz="1600">
                          <a:solidFill>
                            <a:srgbClr val="0070C0"/>
                          </a:solidFill>
                          <a:latin typeface="+mn-ea"/>
                          <a:ea typeface="+mn-ea"/>
                        </a:rPr>
                        <a:t>アプリの提供を行い、ユーザーにとって広域で統一したサービスを提供する。</a:t>
                      </a:r>
                      <a:endParaRPr kumimoji="1" lang="en-US" altLang="ja-JP" sz="1600">
                        <a:solidFill>
                          <a:srgbClr val="0070C0"/>
                        </a:solidFill>
                        <a:latin typeface="+mn-ea"/>
                        <a:ea typeface="+mn-ea"/>
                      </a:endParaRPr>
                    </a:p>
                    <a:p>
                      <a:pPr marL="0" indent="0">
                        <a:spcBef>
                          <a:spcPts val="0"/>
                        </a:spcBef>
                        <a:spcAft>
                          <a:spcPts val="369"/>
                        </a:spcAft>
                        <a:buFont typeface="+mj-ea"/>
                        <a:buNone/>
                      </a:pPr>
                      <a:endParaRPr kumimoji="1" lang="en-US" altLang="ja-JP" sz="1600">
                        <a:solidFill>
                          <a:srgbClr val="0070C0"/>
                        </a:solidFill>
                        <a:latin typeface="+mn-ea"/>
                        <a:ea typeface="+mn-ea"/>
                      </a:endParaRPr>
                    </a:p>
                  </a:txBody>
                  <a:tcPr marL="112542" marR="112542" marT="56271" marB="56271">
                    <a:solidFill>
                      <a:schemeClr val="bg1"/>
                    </a:solidFill>
                  </a:tcPr>
                </a:tc>
                <a:extLst>
                  <a:ext uri="{0D108BD9-81ED-4DB2-BD59-A6C34878D82A}">
                    <a16:rowId xmlns:a16="http://schemas.microsoft.com/office/drawing/2014/main" val="3159424183"/>
                  </a:ext>
                </a:extLst>
              </a:tr>
            </a:tbl>
          </a:graphicData>
        </a:graphic>
      </p:graphicFrame>
      <p:sp>
        <p:nvSpPr>
          <p:cNvPr id="6" name="テキスト ボックス 5">
            <a:extLst>
              <a:ext uri="{FF2B5EF4-FFF2-40B4-BE49-F238E27FC236}">
                <a16:creationId xmlns:a16="http://schemas.microsoft.com/office/drawing/2014/main" id="{1D74506D-0E22-A09B-E5D1-B726350DCF3A}"/>
              </a:ext>
            </a:extLst>
          </p:cNvPr>
          <p:cNvSpPr txBox="1"/>
          <p:nvPr/>
        </p:nvSpPr>
        <p:spPr>
          <a:xfrm>
            <a:off x="3517641" y="3359020"/>
            <a:ext cx="5776539" cy="3158312"/>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本プロジェクトが提供する</a:t>
            </a:r>
            <a:r>
              <a:rPr kumimoji="0" lang="en-US" altLang="ja-JP" sz="1400" b="0" i="0" u="none" strike="noStrike" kern="0" cap="none" spc="0" normalizeH="0" baseline="0" noProof="0" err="1">
                <a:ln>
                  <a:noFill/>
                </a:ln>
                <a:solidFill>
                  <a:srgbClr val="FFFFFF"/>
                </a:solidFill>
                <a:effectLst/>
                <a:uLnTx/>
                <a:uFillTx/>
              </a:rPr>
              <a:t>MaaS</a:t>
            </a:r>
            <a:r>
              <a:rPr kumimoji="0" lang="ja-JP" altLang="en-US" sz="1400" b="0" i="0" u="none" strike="noStrike" kern="0" cap="none" spc="0" normalizeH="0" baseline="0" noProof="0">
                <a:ln>
                  <a:noFill/>
                </a:ln>
                <a:solidFill>
                  <a:srgbClr val="FFFFFF"/>
                </a:solidFill>
                <a:effectLst/>
                <a:uLnTx/>
                <a:uFillTx/>
              </a:rPr>
              <a:t>等のシステムを用いたビジネス展開について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利用事業者には、交通事業者等が構築・提供する</a:t>
            </a:r>
            <a:r>
              <a:rPr kumimoji="0" lang="en-US" altLang="ja-JP" sz="1400" b="0" i="0" u="none" strike="noStrike" kern="0" cap="none" spc="0" normalizeH="0" baseline="0" noProof="0" err="1">
                <a:ln>
                  <a:noFill/>
                </a:ln>
                <a:solidFill>
                  <a:srgbClr val="FFFFFF"/>
                </a:solidFill>
                <a:effectLst/>
                <a:uLnTx/>
                <a:uFillTx/>
              </a:rPr>
              <a:t>MaaS</a:t>
            </a:r>
            <a:r>
              <a:rPr kumimoji="0" lang="ja-JP" altLang="en-US" sz="1400" b="0" i="0" u="none" strike="noStrike" kern="0" cap="none" spc="0" normalizeH="0" baseline="0" noProof="0">
                <a:ln>
                  <a:noFill/>
                </a:ln>
                <a:solidFill>
                  <a:srgbClr val="FFFFFF"/>
                </a:solidFill>
                <a:effectLst/>
                <a:uLnTx/>
                <a:uFillTx/>
              </a:rPr>
              <a:t>システム等を、構築主体以外の第三者が利用する場合の主体を記載してください。（いない場合（自家利用のみ）はその旨を記載）</a:t>
            </a: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提供価値には、</a:t>
            </a:r>
            <a:r>
              <a:rPr kumimoji="0" lang="en-US" altLang="ja-JP" sz="1400" b="0" i="0" u="none" strike="noStrike" kern="0" cap="none" spc="0" normalizeH="0" baseline="0" noProof="0" err="1">
                <a:ln>
                  <a:noFill/>
                </a:ln>
                <a:solidFill>
                  <a:srgbClr val="FFFFFF"/>
                </a:solidFill>
                <a:effectLst/>
                <a:uLnTx/>
                <a:uFillTx/>
              </a:rPr>
              <a:t>MaaS</a:t>
            </a:r>
            <a:r>
              <a:rPr kumimoji="0" lang="ja-JP" altLang="en-US" sz="1400" b="0" i="0" u="none" strike="noStrike" kern="0" cap="none" spc="0" normalizeH="0" baseline="0" noProof="0">
                <a:ln>
                  <a:noFill/>
                </a:ln>
                <a:solidFill>
                  <a:srgbClr val="FFFFFF"/>
                </a:solidFill>
                <a:effectLst/>
                <a:uLnTx/>
                <a:uFillTx/>
              </a:rPr>
              <a:t>システム等を第三者に提供する際のビジネス的な価値について記載してください。</a:t>
            </a: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サービス展開に向けた仮設には、本</a:t>
            </a:r>
            <a:r>
              <a:rPr kumimoji="0" lang="en-US" altLang="ja-JP" sz="1400" b="0" i="0" u="none" strike="noStrike" kern="0" cap="none" spc="0" normalizeH="0" baseline="0" noProof="0">
                <a:ln>
                  <a:noFill/>
                </a:ln>
                <a:solidFill>
                  <a:srgbClr val="FFFFFF"/>
                </a:solidFill>
                <a:effectLst/>
                <a:uLnTx/>
                <a:uFillTx/>
              </a:rPr>
              <a:t>PJ</a:t>
            </a:r>
            <a:r>
              <a:rPr kumimoji="0" lang="ja-JP" altLang="en-US" sz="1400" b="0" i="0" u="none" strike="noStrike" kern="0" cap="none" spc="0" normalizeH="0" baseline="0" noProof="0">
                <a:ln>
                  <a:noFill/>
                </a:ln>
                <a:solidFill>
                  <a:srgbClr val="FFFFFF"/>
                </a:solidFill>
                <a:effectLst/>
                <a:uLnTx/>
                <a:uFillTx/>
              </a:rPr>
              <a:t>が提供するシステム等を利用して今後ビジネス展開を目指されている場合（例えば、フィーを取って他地域へ提供、域内の商業施設や観光事業者、自治体等へ提供など）は、どのような展開戦略を描かれているのか記載してください。</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2286457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9B11EE97-61F3-4EB1-88AA-CC1F6202EC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9B11EE97-61F3-4EB1-88AA-CC1F6202EC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745DF5B-1B9B-44D3-BEB6-FB1E031D5C03}"/>
              </a:ext>
            </a:extLst>
          </p:cNvPr>
          <p:cNvSpPr>
            <a:spLocks noGrp="1"/>
          </p:cNvSpPr>
          <p:nvPr>
            <p:ph type="body" sz="quarter" idx="36"/>
          </p:nvPr>
        </p:nvSpPr>
        <p:spPr/>
        <p:txBody>
          <a:bodyPr/>
          <a:lstStyle/>
          <a:p>
            <a:r>
              <a:rPr lang="en-US" altLang="ja-JP"/>
              <a:t>I. </a:t>
            </a:r>
            <a:r>
              <a:rPr lang="ja-JP" altLang="en-US"/>
              <a:t>プロジェクトのビジョン</a:t>
            </a:r>
          </a:p>
        </p:txBody>
      </p:sp>
      <p:sp>
        <p:nvSpPr>
          <p:cNvPr id="4" name="タイトル 3">
            <a:extLst>
              <a:ext uri="{FF2B5EF4-FFF2-40B4-BE49-F238E27FC236}">
                <a16:creationId xmlns:a16="http://schemas.microsoft.com/office/drawing/2014/main" id="{29DB748F-EFF5-4509-B381-6B8D73B31303}"/>
              </a:ext>
            </a:extLst>
          </p:cNvPr>
          <p:cNvSpPr>
            <a:spLocks noGrp="1"/>
          </p:cNvSpPr>
          <p:nvPr>
            <p:ph type="title"/>
          </p:nvPr>
        </p:nvSpPr>
        <p:spPr/>
        <p:txBody>
          <a:bodyPr vert="horz"/>
          <a:lstStyle/>
          <a:p>
            <a:r>
              <a:rPr lang="ja-JP" altLang="en-US"/>
              <a:t>６</a:t>
            </a:r>
            <a:r>
              <a:rPr kumimoji="1" lang="en-US" altLang="ja-JP"/>
              <a:t>.</a:t>
            </a:r>
            <a:r>
              <a:rPr kumimoji="1" lang="ja-JP" altLang="en-US"/>
              <a:t>中長期的な展開</a:t>
            </a:r>
          </a:p>
        </p:txBody>
      </p:sp>
      <p:sp>
        <p:nvSpPr>
          <p:cNvPr id="8" name="テキスト プレースホルダー 7">
            <a:extLst>
              <a:ext uri="{FF2B5EF4-FFF2-40B4-BE49-F238E27FC236}">
                <a16:creationId xmlns:a16="http://schemas.microsoft.com/office/drawing/2014/main" id="{9D610DBF-17F7-608B-8680-1CFA54E54E02}"/>
              </a:ext>
            </a:extLst>
          </p:cNvPr>
          <p:cNvSpPr>
            <a:spLocks noGrp="1"/>
          </p:cNvSpPr>
          <p:nvPr>
            <p:ph type="body" sz="quarter" idx="4294967295"/>
          </p:nvPr>
        </p:nvSpPr>
        <p:spPr>
          <a:xfrm>
            <a:off x="300779" y="1134673"/>
            <a:ext cx="11376000" cy="600164"/>
          </a:xfrm>
        </p:spPr>
        <p:txBody>
          <a:bodyPr>
            <a:normAutofit fontScale="92500" lnSpcReduction="1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ja-JP" altLang="en-US" sz="1800">
                <a:solidFill>
                  <a:srgbClr val="0070C0"/>
                </a:solidFill>
                <a:latin typeface="+mn-ea"/>
                <a:ea typeface="+mn-ea"/>
              </a:rPr>
              <a:t>・</a:t>
            </a:r>
            <a:r>
              <a:rPr lang="en-US" altLang="ja-JP" sz="1800">
                <a:solidFill>
                  <a:srgbClr val="0070C0"/>
                </a:solidFill>
                <a:latin typeface="+mn-ea"/>
                <a:ea typeface="+mn-ea"/>
              </a:rPr>
              <a:t>2025</a:t>
            </a:r>
            <a:r>
              <a:rPr lang="ja-JP" altLang="en-US" sz="1800">
                <a:solidFill>
                  <a:srgbClr val="0070C0"/>
                </a:solidFill>
                <a:latin typeface="+mn-ea"/>
                <a:ea typeface="+mn-ea"/>
              </a:rPr>
              <a:t>年度は、新規アプリの開発及び実証。</a:t>
            </a:r>
            <a:r>
              <a:rPr kumimoji="1" lang="en-US" altLang="ja-JP" sz="1800" b="0" i="0" u="none" strike="noStrike" kern="0" cap="none" spc="0" normalizeH="0" baseline="0" noProof="0">
                <a:ln>
                  <a:noFill/>
                </a:ln>
                <a:solidFill>
                  <a:srgbClr val="0070C0"/>
                </a:solidFill>
                <a:effectLst/>
                <a:uLnTx/>
                <a:uFillTx/>
                <a:latin typeface="+mn-ea"/>
                <a:ea typeface="+mn-ea"/>
                <a:cs typeface="+mn-cs"/>
              </a:rPr>
              <a:t>2026</a:t>
            </a:r>
            <a:r>
              <a:rPr kumimoji="1" lang="ja-JP" altLang="en-US" sz="1800" b="0" i="0" u="none" strike="noStrike" kern="0" cap="none" spc="0" normalizeH="0" baseline="0" noProof="0">
                <a:ln>
                  <a:noFill/>
                </a:ln>
                <a:solidFill>
                  <a:srgbClr val="0070C0"/>
                </a:solidFill>
                <a:effectLst/>
                <a:uLnTx/>
                <a:uFillTx/>
                <a:latin typeface="+mn-ea"/>
                <a:ea typeface="+mn-ea"/>
                <a:cs typeface="+mn-cs"/>
              </a:rPr>
              <a:t>年度以降より、他地域に横展開を行う。</a:t>
            </a:r>
            <a:endParaRPr kumimoji="1" lang="en-US" altLang="ja-JP" sz="1800" b="0" i="0" u="none" strike="noStrike" kern="0" cap="none" spc="0" normalizeH="0" baseline="0" noProof="0">
              <a:ln>
                <a:noFill/>
              </a:ln>
              <a:solidFill>
                <a:srgbClr val="0070C0"/>
              </a:solidFill>
              <a:effectLst/>
              <a:uLnTx/>
              <a:uFillTx/>
              <a:latin typeface="+mn-ea"/>
              <a:ea typeface="+mn-ea"/>
              <a:cs typeface="+mn-cs"/>
            </a:endParaRPr>
          </a:p>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ja-JP" altLang="en-US" sz="1800" b="0" i="0" u="none" strike="noStrike" kern="0" cap="none" spc="0" normalizeH="0" baseline="0" noProof="0">
                <a:ln>
                  <a:noFill/>
                </a:ln>
                <a:solidFill>
                  <a:srgbClr val="0070C0"/>
                </a:solidFill>
                <a:effectLst/>
                <a:uLnTx/>
                <a:uFillTx/>
                <a:latin typeface="+mn-ea"/>
                <a:ea typeface="+mn-ea"/>
                <a:cs typeface="+mn-cs"/>
              </a:rPr>
              <a:t>・アプリ内で提供するサービス（デジタルパス、サブスクサービス）は券種の増加、対象交通モードの拡大等高度化を実施。</a:t>
            </a:r>
            <a:endParaRPr kumimoji="1" lang="en-US" altLang="ja-JP" sz="1800" b="0" i="0" u="none" strike="noStrike" kern="0" cap="none" spc="0" normalizeH="0" baseline="0" noProof="0">
              <a:ln>
                <a:noFill/>
              </a:ln>
              <a:solidFill>
                <a:srgbClr val="0070C0"/>
              </a:solidFill>
              <a:effectLst/>
              <a:uLnTx/>
              <a:uFillTx/>
              <a:latin typeface="+mn-ea"/>
              <a:ea typeface="+mn-ea"/>
              <a:cs typeface="+mn-cs"/>
            </a:endParaRPr>
          </a:p>
        </p:txBody>
      </p:sp>
      <p:graphicFrame>
        <p:nvGraphicFramePr>
          <p:cNvPr id="6" name="表 13">
            <a:extLst>
              <a:ext uri="{FF2B5EF4-FFF2-40B4-BE49-F238E27FC236}">
                <a16:creationId xmlns:a16="http://schemas.microsoft.com/office/drawing/2014/main" id="{13871AF6-3B8D-5B6A-2FCB-302942F36F80}"/>
              </a:ext>
            </a:extLst>
          </p:cNvPr>
          <p:cNvGraphicFramePr>
            <a:graphicFrameLocks noGrp="1"/>
          </p:cNvGraphicFramePr>
          <p:nvPr>
            <p:extLst>
              <p:ext uri="{D42A27DB-BD31-4B8C-83A1-F6EECF244321}">
                <p14:modId xmlns:p14="http://schemas.microsoft.com/office/powerpoint/2010/main" val="2129775332"/>
              </p:ext>
            </p:extLst>
          </p:nvPr>
        </p:nvGraphicFramePr>
        <p:xfrm>
          <a:off x="449575" y="1889860"/>
          <a:ext cx="11078407" cy="4409105"/>
        </p:xfrm>
        <a:graphic>
          <a:graphicData uri="http://schemas.openxmlformats.org/drawingml/2006/table">
            <a:tbl>
              <a:tblPr firstRow="1" bandRow="1"/>
              <a:tblGrid>
                <a:gridCol w="2177003">
                  <a:extLst>
                    <a:ext uri="{9D8B030D-6E8A-4147-A177-3AD203B41FA5}">
                      <a16:colId xmlns:a16="http://schemas.microsoft.com/office/drawing/2014/main" val="20000"/>
                    </a:ext>
                  </a:extLst>
                </a:gridCol>
                <a:gridCol w="1733328">
                  <a:extLst>
                    <a:ext uri="{9D8B030D-6E8A-4147-A177-3AD203B41FA5}">
                      <a16:colId xmlns:a16="http://schemas.microsoft.com/office/drawing/2014/main" val="3689492803"/>
                    </a:ext>
                  </a:extLst>
                </a:gridCol>
                <a:gridCol w="1792019">
                  <a:extLst>
                    <a:ext uri="{9D8B030D-6E8A-4147-A177-3AD203B41FA5}">
                      <a16:colId xmlns:a16="http://schemas.microsoft.com/office/drawing/2014/main" val="43096170"/>
                    </a:ext>
                  </a:extLst>
                </a:gridCol>
                <a:gridCol w="1792019">
                  <a:extLst>
                    <a:ext uri="{9D8B030D-6E8A-4147-A177-3AD203B41FA5}">
                      <a16:colId xmlns:a16="http://schemas.microsoft.com/office/drawing/2014/main" val="672319415"/>
                    </a:ext>
                  </a:extLst>
                </a:gridCol>
                <a:gridCol w="1792019">
                  <a:extLst>
                    <a:ext uri="{9D8B030D-6E8A-4147-A177-3AD203B41FA5}">
                      <a16:colId xmlns:a16="http://schemas.microsoft.com/office/drawing/2014/main" val="42042467"/>
                    </a:ext>
                  </a:extLst>
                </a:gridCol>
                <a:gridCol w="1792019">
                  <a:extLst>
                    <a:ext uri="{9D8B030D-6E8A-4147-A177-3AD203B41FA5}">
                      <a16:colId xmlns:a16="http://schemas.microsoft.com/office/drawing/2014/main" val="3396614803"/>
                    </a:ext>
                  </a:extLst>
                </a:gridCol>
              </a:tblGrid>
              <a:tr h="480116">
                <a:tc>
                  <a:txBody>
                    <a:bodyPr/>
                    <a:lstStyle>
                      <a:lvl1pPr marL="0" algn="l" defTabSz="914400" rtl="0" eaLnBrk="1" latinLnBrk="0" hangingPunct="1">
                        <a:defRPr kumimoji="1" sz="1800" b="1" kern="1200">
                          <a:solidFill>
                            <a:schemeClr val="lt1"/>
                          </a:solidFill>
                          <a:latin typeface="Calibri" panose="020F0502020204030204"/>
                          <a:ea typeface="BIZ UDPゴシック"/>
                        </a:defRPr>
                      </a:lvl1pPr>
                      <a:lvl2pPr marL="457200" algn="l" defTabSz="914400" rtl="0" eaLnBrk="1" latinLnBrk="0" hangingPunct="1">
                        <a:defRPr kumimoji="1" sz="1800" b="1" kern="1200">
                          <a:solidFill>
                            <a:schemeClr val="lt1"/>
                          </a:solidFill>
                          <a:latin typeface="Calibri" panose="020F0502020204030204"/>
                          <a:ea typeface="BIZ UDPゴシック"/>
                        </a:defRPr>
                      </a:lvl2pPr>
                      <a:lvl3pPr marL="914400" algn="l" defTabSz="914400" rtl="0" eaLnBrk="1" latinLnBrk="0" hangingPunct="1">
                        <a:defRPr kumimoji="1" sz="1800" b="1" kern="1200">
                          <a:solidFill>
                            <a:schemeClr val="lt1"/>
                          </a:solidFill>
                          <a:latin typeface="Calibri" panose="020F0502020204030204"/>
                          <a:ea typeface="BIZ UDPゴシック"/>
                        </a:defRPr>
                      </a:lvl3pPr>
                      <a:lvl4pPr marL="1371600" algn="l" defTabSz="914400" rtl="0" eaLnBrk="1" latinLnBrk="0" hangingPunct="1">
                        <a:defRPr kumimoji="1" sz="1800" b="1" kern="1200">
                          <a:solidFill>
                            <a:schemeClr val="lt1"/>
                          </a:solidFill>
                          <a:latin typeface="Calibri" panose="020F0502020204030204"/>
                          <a:ea typeface="BIZ UDPゴシック"/>
                        </a:defRPr>
                      </a:lvl4pPr>
                      <a:lvl5pPr marL="1828800" algn="l" defTabSz="914400" rtl="0" eaLnBrk="1" latinLnBrk="0" hangingPunct="1">
                        <a:defRPr kumimoji="1" sz="1800" b="1" kern="1200">
                          <a:solidFill>
                            <a:schemeClr val="lt1"/>
                          </a:solidFill>
                          <a:latin typeface="Calibri" panose="020F0502020204030204"/>
                          <a:ea typeface="BIZ UDPゴシック"/>
                        </a:defRPr>
                      </a:lvl5pPr>
                      <a:lvl6pPr marL="2286000" algn="l" defTabSz="914400" rtl="0" eaLnBrk="1" latinLnBrk="0" hangingPunct="1">
                        <a:defRPr kumimoji="1" sz="1800" b="1" kern="1200">
                          <a:solidFill>
                            <a:schemeClr val="lt1"/>
                          </a:solidFill>
                          <a:latin typeface="Calibri" panose="020F0502020204030204"/>
                          <a:ea typeface="BIZ UDPゴシック"/>
                        </a:defRPr>
                      </a:lvl6pPr>
                      <a:lvl7pPr marL="2743200" algn="l" defTabSz="914400" rtl="0" eaLnBrk="1" latinLnBrk="0" hangingPunct="1">
                        <a:defRPr kumimoji="1" sz="1800" b="1" kern="1200">
                          <a:solidFill>
                            <a:schemeClr val="lt1"/>
                          </a:solidFill>
                          <a:latin typeface="Calibri" panose="020F0502020204030204"/>
                          <a:ea typeface="BIZ UDPゴシック"/>
                        </a:defRPr>
                      </a:lvl7pPr>
                      <a:lvl8pPr marL="3200400" algn="l" defTabSz="914400" rtl="0" eaLnBrk="1" latinLnBrk="0" hangingPunct="1">
                        <a:defRPr kumimoji="1" sz="1800" b="1" kern="1200">
                          <a:solidFill>
                            <a:schemeClr val="lt1"/>
                          </a:solidFill>
                          <a:latin typeface="Calibri" panose="020F0502020204030204"/>
                          <a:ea typeface="BIZ UDPゴシック"/>
                        </a:defRPr>
                      </a:lvl8pPr>
                      <a:lvl9pPr marL="3657600" algn="l" defTabSz="914400" rtl="0" eaLnBrk="1" latinLnBrk="0" hangingPunct="1">
                        <a:defRPr kumimoji="1" sz="1800" b="1" kern="1200">
                          <a:solidFill>
                            <a:schemeClr val="lt1"/>
                          </a:solidFill>
                          <a:latin typeface="Calibri" panose="020F0502020204030204"/>
                          <a:ea typeface="BIZ UDPゴシック"/>
                        </a:defRPr>
                      </a:lvl9p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algn="ctr"/>
                      <a:r>
                        <a:rPr kumimoji="1" lang="en-US" altLang="ja-JP" sz="1100" b="1">
                          <a:solidFill>
                            <a:schemeClr val="bg1"/>
                          </a:solidFill>
                          <a:latin typeface="Meiryo UI" panose="020B0604030504040204" pitchFamily="50" charset="-128"/>
                          <a:ea typeface="Meiryo UI" panose="020B0604030504040204" pitchFamily="50" charset="-128"/>
                        </a:rPr>
                        <a:t>2025</a:t>
                      </a:r>
                      <a:r>
                        <a:rPr kumimoji="1" lang="ja-JP" altLang="en-US" sz="1100" b="1">
                          <a:solidFill>
                            <a:schemeClr val="bg1"/>
                          </a:solidFill>
                          <a:latin typeface="Meiryo UI" panose="020B0604030504040204" pitchFamily="50" charset="-128"/>
                          <a:ea typeface="Meiryo UI" panose="020B0604030504040204" pitchFamily="50" charset="-128"/>
                        </a:rPr>
                        <a:t>年度</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algn="ctr"/>
                      <a:r>
                        <a:rPr kumimoji="1" lang="en-US" altLang="ja-JP" sz="1100" b="1">
                          <a:solidFill>
                            <a:schemeClr val="bg1"/>
                          </a:solidFill>
                          <a:latin typeface="Meiryo UI" panose="020B0604030504040204" pitchFamily="50" charset="-128"/>
                          <a:ea typeface="Meiryo UI" panose="020B0604030504040204" pitchFamily="50" charset="-128"/>
                        </a:rPr>
                        <a:t>2026</a:t>
                      </a:r>
                      <a:r>
                        <a:rPr kumimoji="1" lang="ja-JP" altLang="en-US" sz="1100" b="1">
                          <a:solidFill>
                            <a:schemeClr val="bg1"/>
                          </a:solidFill>
                          <a:latin typeface="Meiryo UI" panose="020B0604030504040204" pitchFamily="50" charset="-128"/>
                          <a:ea typeface="Meiryo UI" panose="020B0604030504040204" pitchFamily="50" charset="-128"/>
                        </a:rPr>
                        <a:t>年度</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algn="ctr"/>
                      <a:r>
                        <a:rPr kumimoji="1" lang="en-US" altLang="ja-JP" sz="1100" b="1">
                          <a:solidFill>
                            <a:schemeClr val="bg1"/>
                          </a:solidFill>
                          <a:latin typeface="Meiryo UI" panose="020B0604030504040204" pitchFamily="50" charset="-128"/>
                          <a:ea typeface="Meiryo UI" panose="020B0604030504040204" pitchFamily="50" charset="-128"/>
                        </a:rPr>
                        <a:t>2027</a:t>
                      </a:r>
                      <a:r>
                        <a:rPr kumimoji="1" lang="ja-JP" altLang="en-US" sz="1100" b="1">
                          <a:solidFill>
                            <a:schemeClr val="bg1"/>
                          </a:solidFill>
                          <a:latin typeface="Meiryo UI" panose="020B0604030504040204" pitchFamily="50" charset="-128"/>
                          <a:ea typeface="Meiryo UI" panose="020B0604030504040204" pitchFamily="50" charset="-128"/>
                        </a:rPr>
                        <a:t>年度</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algn="ctr"/>
                      <a:r>
                        <a:rPr kumimoji="1" lang="en-US" altLang="ja-JP" sz="1100" b="1">
                          <a:solidFill>
                            <a:schemeClr val="bg1"/>
                          </a:solidFill>
                          <a:latin typeface="Meiryo UI" panose="020B0604030504040204" pitchFamily="50" charset="-128"/>
                          <a:ea typeface="Meiryo UI" panose="020B0604030504040204" pitchFamily="50" charset="-128"/>
                        </a:rPr>
                        <a:t>2028</a:t>
                      </a:r>
                      <a:r>
                        <a:rPr kumimoji="1" lang="ja-JP" altLang="en-US" sz="1100" b="1">
                          <a:solidFill>
                            <a:schemeClr val="bg1"/>
                          </a:solidFill>
                          <a:latin typeface="Meiryo UI" panose="020B0604030504040204" pitchFamily="50" charset="-128"/>
                          <a:ea typeface="Meiryo UI" panose="020B0604030504040204" pitchFamily="50" charset="-128"/>
                        </a:rPr>
                        <a:t>年度</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algn="ctr"/>
                      <a:r>
                        <a:rPr kumimoji="1" lang="en-US" altLang="ja-JP" sz="1100" b="1">
                          <a:solidFill>
                            <a:schemeClr val="bg1"/>
                          </a:solidFill>
                          <a:latin typeface="Meiryo UI" panose="020B0604030504040204" pitchFamily="50" charset="-128"/>
                          <a:ea typeface="Meiryo UI" panose="020B0604030504040204" pitchFamily="50" charset="-128"/>
                        </a:rPr>
                        <a:t>2029</a:t>
                      </a:r>
                      <a:r>
                        <a:rPr kumimoji="1" lang="ja-JP" altLang="en-US" sz="1100" b="1">
                          <a:solidFill>
                            <a:schemeClr val="bg1"/>
                          </a:solidFill>
                          <a:latin typeface="Meiryo UI" panose="020B0604030504040204" pitchFamily="50" charset="-128"/>
                          <a:ea typeface="Meiryo UI" panose="020B0604030504040204" pitchFamily="50" charset="-128"/>
                        </a:rPr>
                        <a:t>年度</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0000"/>
                  </a:ext>
                </a:extLst>
              </a:tr>
              <a:tr h="556480">
                <a:tc>
                  <a:txBody>
                    <a:bodyPr/>
                    <a:lstStyle>
                      <a:lvl1pPr marL="0" algn="l" defTabSz="914400" rtl="0" eaLnBrk="1" latinLnBrk="0" hangingPunct="1">
                        <a:defRPr kumimoji="1" sz="1800" kern="1200">
                          <a:solidFill>
                            <a:schemeClr val="dk1"/>
                          </a:solidFill>
                          <a:latin typeface="Calibri" panose="020F0502020204030204"/>
                          <a:ea typeface="BIZ UDPゴシック"/>
                        </a:defRPr>
                      </a:lvl1pPr>
                      <a:lvl2pPr marL="457200" algn="l" defTabSz="914400" rtl="0" eaLnBrk="1" latinLnBrk="0" hangingPunct="1">
                        <a:defRPr kumimoji="1" sz="1800" kern="1200">
                          <a:solidFill>
                            <a:schemeClr val="dk1"/>
                          </a:solidFill>
                          <a:latin typeface="Calibri" panose="020F0502020204030204"/>
                          <a:ea typeface="BIZ UDPゴシック"/>
                        </a:defRPr>
                      </a:lvl2pPr>
                      <a:lvl3pPr marL="914400" algn="l" defTabSz="914400" rtl="0" eaLnBrk="1" latinLnBrk="0" hangingPunct="1">
                        <a:defRPr kumimoji="1" sz="1800" kern="1200">
                          <a:solidFill>
                            <a:schemeClr val="dk1"/>
                          </a:solidFill>
                          <a:latin typeface="Calibri" panose="020F0502020204030204"/>
                          <a:ea typeface="BIZ UDPゴシック"/>
                        </a:defRPr>
                      </a:lvl3pPr>
                      <a:lvl4pPr marL="1371600" algn="l" defTabSz="914400" rtl="0" eaLnBrk="1" latinLnBrk="0" hangingPunct="1">
                        <a:defRPr kumimoji="1" sz="1800" kern="1200">
                          <a:solidFill>
                            <a:schemeClr val="dk1"/>
                          </a:solidFill>
                          <a:latin typeface="Calibri" panose="020F0502020204030204"/>
                          <a:ea typeface="BIZ UDPゴシック"/>
                        </a:defRPr>
                      </a:lvl4pPr>
                      <a:lvl5pPr marL="1828800" algn="l" defTabSz="914400" rtl="0" eaLnBrk="1" latinLnBrk="0" hangingPunct="1">
                        <a:defRPr kumimoji="1" sz="1800" kern="1200">
                          <a:solidFill>
                            <a:schemeClr val="dk1"/>
                          </a:solidFill>
                          <a:latin typeface="Calibri" panose="020F0502020204030204"/>
                          <a:ea typeface="BIZ UDPゴシック"/>
                        </a:defRPr>
                      </a:lvl5pPr>
                      <a:lvl6pPr marL="2286000" algn="l" defTabSz="914400" rtl="0" eaLnBrk="1" latinLnBrk="0" hangingPunct="1">
                        <a:defRPr kumimoji="1" sz="1800" kern="1200">
                          <a:solidFill>
                            <a:schemeClr val="dk1"/>
                          </a:solidFill>
                          <a:latin typeface="Calibri" panose="020F0502020204030204"/>
                          <a:ea typeface="BIZ UDPゴシック"/>
                        </a:defRPr>
                      </a:lvl6pPr>
                      <a:lvl7pPr marL="2743200" algn="l" defTabSz="914400" rtl="0" eaLnBrk="1" latinLnBrk="0" hangingPunct="1">
                        <a:defRPr kumimoji="1" sz="1800" kern="1200">
                          <a:solidFill>
                            <a:schemeClr val="dk1"/>
                          </a:solidFill>
                          <a:latin typeface="Calibri" panose="020F0502020204030204"/>
                          <a:ea typeface="BIZ UDPゴシック"/>
                        </a:defRPr>
                      </a:lvl7pPr>
                      <a:lvl8pPr marL="3200400" algn="l" defTabSz="914400" rtl="0" eaLnBrk="1" latinLnBrk="0" hangingPunct="1">
                        <a:defRPr kumimoji="1" sz="1800" kern="1200">
                          <a:solidFill>
                            <a:schemeClr val="dk1"/>
                          </a:solidFill>
                          <a:latin typeface="Calibri" panose="020F0502020204030204"/>
                          <a:ea typeface="BIZ UDPゴシック"/>
                        </a:defRPr>
                      </a:lvl8pPr>
                      <a:lvl9pPr marL="3657600" algn="l" defTabSz="914400" rtl="0" eaLnBrk="1" latinLnBrk="0" hangingPunct="1">
                        <a:defRPr kumimoji="1" sz="1800" kern="1200">
                          <a:solidFill>
                            <a:schemeClr val="dk1"/>
                          </a:solidFill>
                          <a:latin typeface="Calibri" panose="020F0502020204030204"/>
                          <a:ea typeface="BIZ UDPゴシック"/>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a:solidFill>
                            <a:srgbClr val="0070C0"/>
                          </a:solidFill>
                          <a:highlight>
                            <a:srgbClr val="E4E4E4"/>
                          </a:highlight>
                          <a:latin typeface="+mn-ea"/>
                          <a:ea typeface="+mn-ea"/>
                        </a:rPr>
                        <a:t>①新規Ｍａ</a:t>
                      </a:r>
                      <a:r>
                        <a:rPr kumimoji="1" lang="en-US" altLang="ja-JP" sz="1100">
                          <a:solidFill>
                            <a:srgbClr val="0070C0"/>
                          </a:solidFill>
                          <a:highlight>
                            <a:srgbClr val="E4E4E4"/>
                          </a:highlight>
                          <a:latin typeface="+mn-ea"/>
                          <a:ea typeface="+mn-ea"/>
                        </a:rPr>
                        <a:t>aS</a:t>
                      </a:r>
                      <a:r>
                        <a:rPr kumimoji="1" lang="ja-JP" altLang="en-US" sz="1100">
                          <a:solidFill>
                            <a:srgbClr val="0070C0"/>
                          </a:solidFill>
                          <a:highlight>
                            <a:srgbClr val="E4E4E4"/>
                          </a:highlight>
                          <a:latin typeface="+mn-ea"/>
                          <a:ea typeface="+mn-ea"/>
                        </a:rPr>
                        <a:t>アプリの開発</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extLst>
                  <a:ext uri="{0D108BD9-81ED-4DB2-BD59-A6C34878D82A}">
                    <a16:rowId xmlns:a16="http://schemas.microsoft.com/office/drawing/2014/main" val="10002"/>
                  </a:ext>
                </a:extLst>
              </a:tr>
              <a:tr h="556480">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a:solidFill>
                            <a:srgbClr val="0070C0"/>
                          </a:solidFill>
                          <a:highlight>
                            <a:srgbClr val="E4E4E4"/>
                          </a:highlight>
                          <a:latin typeface="+mn-ea"/>
                          <a:ea typeface="+mn-ea"/>
                        </a:rPr>
                        <a:t>　１</a:t>
                      </a:r>
                      <a:r>
                        <a:rPr kumimoji="1" lang="en-US" altLang="ja-JP" sz="1100">
                          <a:solidFill>
                            <a:srgbClr val="0070C0"/>
                          </a:solidFill>
                          <a:highlight>
                            <a:srgbClr val="E4E4E4"/>
                          </a:highlight>
                          <a:latin typeface="+mn-ea"/>
                          <a:ea typeface="+mn-ea"/>
                        </a:rPr>
                        <a:t>)</a:t>
                      </a:r>
                      <a:r>
                        <a:rPr kumimoji="1" lang="ja-JP" altLang="en-US" sz="1100">
                          <a:solidFill>
                            <a:srgbClr val="0070C0"/>
                          </a:solidFill>
                          <a:highlight>
                            <a:srgbClr val="E4E4E4"/>
                          </a:highlight>
                          <a:latin typeface="+mn-ea"/>
                          <a:ea typeface="+mn-ea"/>
                        </a:rPr>
                        <a:t>　アプリの提供・改修</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extLst>
                  <a:ext uri="{0D108BD9-81ED-4DB2-BD59-A6C34878D82A}">
                    <a16:rowId xmlns:a16="http://schemas.microsoft.com/office/drawing/2014/main" val="3709041220"/>
                  </a:ext>
                </a:extLst>
              </a:tr>
              <a:tr h="556480">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a:solidFill>
                            <a:srgbClr val="0070C0"/>
                          </a:solidFill>
                          <a:highlight>
                            <a:srgbClr val="E4E4E4"/>
                          </a:highlight>
                          <a:latin typeface="+mn-ea"/>
                          <a:ea typeface="+mn-ea"/>
                        </a:rPr>
                        <a:t>　２</a:t>
                      </a:r>
                      <a:r>
                        <a:rPr kumimoji="1" lang="en-US" altLang="ja-JP" sz="1100">
                          <a:solidFill>
                            <a:srgbClr val="0070C0"/>
                          </a:solidFill>
                          <a:highlight>
                            <a:srgbClr val="E4E4E4"/>
                          </a:highlight>
                          <a:latin typeface="+mn-ea"/>
                          <a:ea typeface="+mn-ea"/>
                        </a:rPr>
                        <a:t>)</a:t>
                      </a:r>
                      <a:r>
                        <a:rPr kumimoji="1" lang="ja-JP" altLang="en-US" sz="1100">
                          <a:solidFill>
                            <a:srgbClr val="0070C0"/>
                          </a:solidFill>
                          <a:highlight>
                            <a:srgbClr val="E4E4E4"/>
                          </a:highlight>
                          <a:latin typeface="+mn-ea"/>
                          <a:ea typeface="+mn-ea"/>
                        </a:rPr>
                        <a:t>　他地域の横展開</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extLst>
                  <a:ext uri="{0D108BD9-81ED-4DB2-BD59-A6C34878D82A}">
                    <a16:rowId xmlns:a16="http://schemas.microsoft.com/office/drawing/2014/main" val="3201666576"/>
                  </a:ext>
                </a:extLst>
              </a:tr>
              <a:tr h="556480">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a:solidFill>
                            <a:srgbClr val="0070C0"/>
                          </a:solidFill>
                          <a:highlight>
                            <a:srgbClr val="E4E4E4"/>
                          </a:highlight>
                          <a:latin typeface="+mn-ea"/>
                          <a:ea typeface="+mn-ea"/>
                        </a:rPr>
                        <a:t>②デジタルパスの販売</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extLst>
                  <a:ext uri="{0D108BD9-81ED-4DB2-BD59-A6C34878D82A}">
                    <a16:rowId xmlns:a16="http://schemas.microsoft.com/office/drawing/2014/main" val="3060626225"/>
                  </a:ext>
                </a:extLst>
              </a:tr>
              <a:tr h="556480">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a:solidFill>
                            <a:srgbClr val="0070C0"/>
                          </a:solidFill>
                          <a:highlight>
                            <a:srgbClr val="E4E4E4"/>
                          </a:highlight>
                          <a:latin typeface="+mn-ea"/>
                          <a:ea typeface="+mn-ea"/>
                        </a:rPr>
                        <a:t>③サブスクサービスの提供</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extLst>
                  <a:ext uri="{0D108BD9-81ED-4DB2-BD59-A6C34878D82A}">
                    <a16:rowId xmlns:a16="http://schemas.microsoft.com/office/drawing/2014/main" val="3378116422"/>
                  </a:ext>
                </a:extLst>
              </a:tr>
              <a:tr h="556480">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a:solidFill>
                            <a:srgbClr val="0070C0"/>
                          </a:solidFill>
                          <a:highlight>
                            <a:srgbClr val="E4E4E4"/>
                          </a:highlight>
                          <a:latin typeface="+mn-ea"/>
                          <a:ea typeface="+mn-ea"/>
                        </a:rPr>
                        <a:t>④データ分析の実施</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extLst>
                  <a:ext uri="{0D108BD9-81ED-4DB2-BD59-A6C34878D82A}">
                    <a16:rowId xmlns:a16="http://schemas.microsoft.com/office/drawing/2014/main" val="3734978207"/>
                  </a:ext>
                </a:extLst>
              </a:tr>
              <a:tr h="590109">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a:solidFill>
                            <a:srgbClr val="0070C0"/>
                          </a:solidFill>
                          <a:highlight>
                            <a:srgbClr val="E4E4E4"/>
                          </a:highlight>
                          <a:latin typeface="+mn-ea"/>
                          <a:ea typeface="+mn-ea"/>
                        </a:rPr>
                        <a:t>⑤宿泊施設</a:t>
                      </a:r>
                      <a:r>
                        <a:rPr lang="ja-JP" altLang="en-US" sz="1100">
                          <a:solidFill>
                            <a:srgbClr val="0070C0"/>
                          </a:solidFill>
                          <a:highlight>
                            <a:srgbClr val="E4E4E4"/>
                          </a:highlight>
                          <a:latin typeface="BIZ UDPゴシック"/>
                          <a:ea typeface="BIZ UDPゴシック"/>
                        </a:rPr>
                        <a:t>との連携</a:t>
                      </a:r>
                      <a:endParaRPr lang="en-US" altLang="ja-JP" sz="1100">
                        <a:solidFill>
                          <a:srgbClr val="0070C0"/>
                        </a:solidFill>
                        <a:highlight>
                          <a:srgbClr val="E4E4E4"/>
                        </a:highlight>
                        <a:latin typeface="BIZ UDPゴシック"/>
                        <a:ea typeface="BIZ UDPゴシック"/>
                      </a:endParaRP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extLst>
                  <a:ext uri="{0D108BD9-81ED-4DB2-BD59-A6C34878D82A}">
                    <a16:rowId xmlns:a16="http://schemas.microsoft.com/office/drawing/2014/main" val="3407709189"/>
                  </a:ext>
                </a:extLst>
              </a:tr>
            </a:tbl>
          </a:graphicData>
        </a:graphic>
      </p:graphicFrame>
      <p:sp>
        <p:nvSpPr>
          <p:cNvPr id="45" name="テキスト ボックス 28">
            <a:extLst>
              <a:ext uri="{FF2B5EF4-FFF2-40B4-BE49-F238E27FC236}">
                <a16:creationId xmlns:a16="http://schemas.microsoft.com/office/drawing/2014/main" id="{6AB4E816-CB11-35AA-5A71-1E40283D38C1}"/>
              </a:ext>
            </a:extLst>
          </p:cNvPr>
          <p:cNvSpPr txBox="1"/>
          <p:nvPr/>
        </p:nvSpPr>
        <p:spPr>
          <a:xfrm>
            <a:off x="10663553" y="5486262"/>
            <a:ext cx="1483680"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mn-ea"/>
                <a:cs typeface="+mn-cs"/>
              </a:rPr>
              <a:t>地域公共交通会議</a:t>
            </a:r>
          </a:p>
        </p:txBody>
      </p:sp>
      <p:sp>
        <p:nvSpPr>
          <p:cNvPr id="26" name="ホームベース 14">
            <a:extLst>
              <a:ext uri="{FF2B5EF4-FFF2-40B4-BE49-F238E27FC236}">
                <a16:creationId xmlns:a16="http://schemas.microsoft.com/office/drawing/2014/main" id="{F42B1F71-FB1C-9E1B-0ECA-C4D32E62E704}"/>
              </a:ext>
            </a:extLst>
          </p:cNvPr>
          <p:cNvSpPr/>
          <p:nvPr/>
        </p:nvSpPr>
        <p:spPr>
          <a:xfrm>
            <a:off x="2633989" y="3003193"/>
            <a:ext cx="1079594" cy="159886"/>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アプリの開発</a:t>
            </a:r>
          </a:p>
        </p:txBody>
      </p:sp>
      <p:sp>
        <p:nvSpPr>
          <p:cNvPr id="46" name="ホームベース 14">
            <a:extLst>
              <a:ext uri="{FF2B5EF4-FFF2-40B4-BE49-F238E27FC236}">
                <a16:creationId xmlns:a16="http://schemas.microsoft.com/office/drawing/2014/main" id="{232394C1-BFF0-0A48-DE61-8654824ECAF8}"/>
              </a:ext>
            </a:extLst>
          </p:cNvPr>
          <p:cNvSpPr/>
          <p:nvPr/>
        </p:nvSpPr>
        <p:spPr>
          <a:xfrm>
            <a:off x="3713583" y="3003194"/>
            <a:ext cx="7735078"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提供</a:t>
            </a:r>
          </a:p>
        </p:txBody>
      </p:sp>
      <p:sp>
        <p:nvSpPr>
          <p:cNvPr id="48" name="ホームベース 14">
            <a:extLst>
              <a:ext uri="{FF2B5EF4-FFF2-40B4-BE49-F238E27FC236}">
                <a16:creationId xmlns:a16="http://schemas.microsoft.com/office/drawing/2014/main" id="{B96AB325-E7D2-90A6-37E3-DAC97580596D}"/>
              </a:ext>
            </a:extLst>
          </p:cNvPr>
          <p:cNvSpPr/>
          <p:nvPr/>
        </p:nvSpPr>
        <p:spPr>
          <a:xfrm>
            <a:off x="4376057" y="3238158"/>
            <a:ext cx="1719943"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改修</a:t>
            </a:r>
          </a:p>
        </p:txBody>
      </p:sp>
      <p:sp>
        <p:nvSpPr>
          <p:cNvPr id="50" name="ホームベース 14">
            <a:extLst>
              <a:ext uri="{FF2B5EF4-FFF2-40B4-BE49-F238E27FC236}">
                <a16:creationId xmlns:a16="http://schemas.microsoft.com/office/drawing/2014/main" id="{DC638333-4E40-BF19-E470-22C0FDE77C69}"/>
              </a:ext>
            </a:extLst>
          </p:cNvPr>
          <p:cNvSpPr/>
          <p:nvPr/>
        </p:nvSpPr>
        <p:spPr>
          <a:xfrm>
            <a:off x="9731838" y="3238158"/>
            <a:ext cx="1719943"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改修</a:t>
            </a:r>
          </a:p>
        </p:txBody>
      </p:sp>
      <p:sp>
        <p:nvSpPr>
          <p:cNvPr id="52" name="ホームベース 14">
            <a:extLst>
              <a:ext uri="{FF2B5EF4-FFF2-40B4-BE49-F238E27FC236}">
                <a16:creationId xmlns:a16="http://schemas.microsoft.com/office/drawing/2014/main" id="{72CB7B7F-A4A4-373B-9B60-33B8081555C9}"/>
              </a:ext>
            </a:extLst>
          </p:cNvPr>
          <p:cNvSpPr/>
          <p:nvPr/>
        </p:nvSpPr>
        <p:spPr>
          <a:xfrm>
            <a:off x="7935695" y="3242626"/>
            <a:ext cx="1719943"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改修</a:t>
            </a:r>
          </a:p>
        </p:txBody>
      </p:sp>
      <p:sp>
        <p:nvSpPr>
          <p:cNvPr id="53" name="ホームベース 14">
            <a:extLst>
              <a:ext uri="{FF2B5EF4-FFF2-40B4-BE49-F238E27FC236}">
                <a16:creationId xmlns:a16="http://schemas.microsoft.com/office/drawing/2014/main" id="{0CEE6221-D471-4A3B-6B1D-5DA1181ED5D8}"/>
              </a:ext>
            </a:extLst>
          </p:cNvPr>
          <p:cNvSpPr/>
          <p:nvPr/>
        </p:nvSpPr>
        <p:spPr>
          <a:xfrm>
            <a:off x="6155876" y="3238158"/>
            <a:ext cx="1719943"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改修</a:t>
            </a:r>
          </a:p>
        </p:txBody>
      </p:sp>
      <p:sp>
        <p:nvSpPr>
          <p:cNvPr id="54" name="ホームベース 14">
            <a:extLst>
              <a:ext uri="{FF2B5EF4-FFF2-40B4-BE49-F238E27FC236}">
                <a16:creationId xmlns:a16="http://schemas.microsoft.com/office/drawing/2014/main" id="{2521B17C-7C64-0A98-2328-D38AB7403211}"/>
              </a:ext>
            </a:extLst>
          </p:cNvPr>
          <p:cNvSpPr/>
          <p:nvPr/>
        </p:nvSpPr>
        <p:spPr>
          <a:xfrm>
            <a:off x="4376057" y="3686027"/>
            <a:ext cx="1779819"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en-US" altLang="ja-JP" sz="800" kern="0">
                <a:solidFill>
                  <a:prstClr val="black">
                    <a:lumMod val="85000"/>
                    <a:lumOff val="15000"/>
                  </a:prstClr>
                </a:solidFill>
                <a:latin typeface="Noto Sans CJK JP"/>
                <a:ea typeface="BIZ UDPゴシック"/>
              </a:rPr>
              <a:t>A</a:t>
            </a: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地域への横展開</a:t>
            </a:r>
          </a:p>
        </p:txBody>
      </p:sp>
      <p:sp>
        <p:nvSpPr>
          <p:cNvPr id="55" name="ホームベース 14">
            <a:extLst>
              <a:ext uri="{FF2B5EF4-FFF2-40B4-BE49-F238E27FC236}">
                <a16:creationId xmlns:a16="http://schemas.microsoft.com/office/drawing/2014/main" id="{E265CD22-8CCD-BEC2-9F70-0F812B2D122A}"/>
              </a:ext>
            </a:extLst>
          </p:cNvPr>
          <p:cNvSpPr/>
          <p:nvPr/>
        </p:nvSpPr>
        <p:spPr>
          <a:xfrm>
            <a:off x="6172200" y="3686027"/>
            <a:ext cx="1779819"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Ｂ地域への横展開</a:t>
            </a:r>
          </a:p>
        </p:txBody>
      </p:sp>
      <p:sp>
        <p:nvSpPr>
          <p:cNvPr id="56" name="ホームベース 14">
            <a:extLst>
              <a:ext uri="{FF2B5EF4-FFF2-40B4-BE49-F238E27FC236}">
                <a16:creationId xmlns:a16="http://schemas.microsoft.com/office/drawing/2014/main" id="{D80FADCD-508A-A3F0-AD53-46A220944E72}"/>
              </a:ext>
            </a:extLst>
          </p:cNvPr>
          <p:cNvSpPr/>
          <p:nvPr/>
        </p:nvSpPr>
        <p:spPr>
          <a:xfrm>
            <a:off x="2633989" y="4116526"/>
            <a:ext cx="1359513"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デジタルパスの開発</a:t>
            </a:r>
          </a:p>
        </p:txBody>
      </p:sp>
      <p:sp>
        <p:nvSpPr>
          <p:cNvPr id="57" name="ホームベース 14">
            <a:extLst>
              <a:ext uri="{FF2B5EF4-FFF2-40B4-BE49-F238E27FC236}">
                <a16:creationId xmlns:a16="http://schemas.microsoft.com/office/drawing/2014/main" id="{3D2EC2C8-D922-15BD-1D7F-A4894199DCC1}"/>
              </a:ext>
            </a:extLst>
          </p:cNvPr>
          <p:cNvSpPr/>
          <p:nvPr/>
        </p:nvSpPr>
        <p:spPr>
          <a:xfrm>
            <a:off x="4068156" y="4116526"/>
            <a:ext cx="7459826"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提供</a:t>
            </a:r>
          </a:p>
        </p:txBody>
      </p:sp>
      <p:sp>
        <p:nvSpPr>
          <p:cNvPr id="58" name="ホームベース 14">
            <a:extLst>
              <a:ext uri="{FF2B5EF4-FFF2-40B4-BE49-F238E27FC236}">
                <a16:creationId xmlns:a16="http://schemas.microsoft.com/office/drawing/2014/main" id="{FBF60423-3684-EB6A-F3FA-B4DA542E2CEC}"/>
              </a:ext>
            </a:extLst>
          </p:cNvPr>
          <p:cNvSpPr/>
          <p:nvPr/>
        </p:nvSpPr>
        <p:spPr>
          <a:xfrm>
            <a:off x="4376056" y="4351491"/>
            <a:ext cx="1719943"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新券種の追加</a:t>
            </a:r>
          </a:p>
        </p:txBody>
      </p:sp>
      <p:sp>
        <p:nvSpPr>
          <p:cNvPr id="59" name="ホームベース 14">
            <a:extLst>
              <a:ext uri="{FF2B5EF4-FFF2-40B4-BE49-F238E27FC236}">
                <a16:creationId xmlns:a16="http://schemas.microsoft.com/office/drawing/2014/main" id="{25C13D92-AE46-15D8-4DE0-3EBF59E86C14}"/>
              </a:ext>
            </a:extLst>
          </p:cNvPr>
          <p:cNvSpPr/>
          <p:nvPr/>
        </p:nvSpPr>
        <p:spPr>
          <a:xfrm>
            <a:off x="9748553" y="4349619"/>
            <a:ext cx="1719943"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新券種の追加</a:t>
            </a:r>
          </a:p>
        </p:txBody>
      </p:sp>
      <p:sp>
        <p:nvSpPr>
          <p:cNvPr id="60" name="ホームベース 14">
            <a:extLst>
              <a:ext uri="{FF2B5EF4-FFF2-40B4-BE49-F238E27FC236}">
                <a16:creationId xmlns:a16="http://schemas.microsoft.com/office/drawing/2014/main" id="{3DDB9EC7-D4CF-A825-BEB3-379C5C292BF7}"/>
              </a:ext>
            </a:extLst>
          </p:cNvPr>
          <p:cNvSpPr/>
          <p:nvPr/>
        </p:nvSpPr>
        <p:spPr>
          <a:xfrm>
            <a:off x="7969124" y="4349619"/>
            <a:ext cx="1719943"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新券種の追加</a:t>
            </a:r>
          </a:p>
        </p:txBody>
      </p:sp>
      <p:sp>
        <p:nvSpPr>
          <p:cNvPr id="61" name="ホームベース 14">
            <a:extLst>
              <a:ext uri="{FF2B5EF4-FFF2-40B4-BE49-F238E27FC236}">
                <a16:creationId xmlns:a16="http://schemas.microsoft.com/office/drawing/2014/main" id="{D806F27E-AE81-AD1F-0C69-FEDD24153855}"/>
              </a:ext>
            </a:extLst>
          </p:cNvPr>
          <p:cNvSpPr/>
          <p:nvPr/>
        </p:nvSpPr>
        <p:spPr>
          <a:xfrm>
            <a:off x="6202137" y="4350053"/>
            <a:ext cx="1719943"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新券種の追加</a:t>
            </a:r>
          </a:p>
        </p:txBody>
      </p:sp>
      <p:sp>
        <p:nvSpPr>
          <p:cNvPr id="62" name="ホームベース 14">
            <a:extLst>
              <a:ext uri="{FF2B5EF4-FFF2-40B4-BE49-F238E27FC236}">
                <a16:creationId xmlns:a16="http://schemas.microsoft.com/office/drawing/2014/main" id="{F168829E-C6CD-267B-90D6-DEEBFA875727}"/>
              </a:ext>
            </a:extLst>
          </p:cNvPr>
          <p:cNvSpPr/>
          <p:nvPr/>
        </p:nvSpPr>
        <p:spPr>
          <a:xfrm>
            <a:off x="4068156" y="4699120"/>
            <a:ext cx="7459826"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提供</a:t>
            </a:r>
          </a:p>
        </p:txBody>
      </p:sp>
      <p:sp>
        <p:nvSpPr>
          <p:cNvPr id="63" name="ホームベース 14">
            <a:extLst>
              <a:ext uri="{FF2B5EF4-FFF2-40B4-BE49-F238E27FC236}">
                <a16:creationId xmlns:a16="http://schemas.microsoft.com/office/drawing/2014/main" id="{E7044045-2525-7DFC-BE82-92CC301A364C}"/>
              </a:ext>
            </a:extLst>
          </p:cNvPr>
          <p:cNvSpPr/>
          <p:nvPr/>
        </p:nvSpPr>
        <p:spPr>
          <a:xfrm>
            <a:off x="2633988" y="4708360"/>
            <a:ext cx="1359513" cy="137771"/>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サービス内容の調整</a:t>
            </a:r>
          </a:p>
        </p:txBody>
      </p:sp>
      <p:sp>
        <p:nvSpPr>
          <p:cNvPr id="64" name="ホームベース 14">
            <a:extLst>
              <a:ext uri="{FF2B5EF4-FFF2-40B4-BE49-F238E27FC236}">
                <a16:creationId xmlns:a16="http://schemas.microsoft.com/office/drawing/2014/main" id="{570D2F9D-B46E-0FE7-D098-C80B6E817DD8}"/>
              </a:ext>
            </a:extLst>
          </p:cNvPr>
          <p:cNvSpPr/>
          <p:nvPr/>
        </p:nvSpPr>
        <p:spPr>
          <a:xfrm>
            <a:off x="4379361" y="4916448"/>
            <a:ext cx="1719943"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交通モード拡大</a:t>
            </a:r>
          </a:p>
        </p:txBody>
      </p:sp>
      <p:sp>
        <p:nvSpPr>
          <p:cNvPr id="65" name="ホームベース 14">
            <a:extLst>
              <a:ext uri="{FF2B5EF4-FFF2-40B4-BE49-F238E27FC236}">
                <a16:creationId xmlns:a16="http://schemas.microsoft.com/office/drawing/2014/main" id="{498DA9C1-7013-B6F9-4216-276E05A4BD2A}"/>
              </a:ext>
            </a:extLst>
          </p:cNvPr>
          <p:cNvSpPr/>
          <p:nvPr/>
        </p:nvSpPr>
        <p:spPr>
          <a:xfrm>
            <a:off x="2633988" y="5339157"/>
            <a:ext cx="1359513" cy="137771"/>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データ分析</a:t>
            </a:r>
          </a:p>
        </p:txBody>
      </p:sp>
      <p:sp>
        <p:nvSpPr>
          <p:cNvPr id="66" name="星 5 27">
            <a:extLst>
              <a:ext uri="{FF2B5EF4-FFF2-40B4-BE49-F238E27FC236}">
                <a16:creationId xmlns:a16="http://schemas.microsoft.com/office/drawing/2014/main" id="{D9E43F4D-7829-47ED-8B1E-45040016443B}"/>
              </a:ext>
            </a:extLst>
          </p:cNvPr>
          <p:cNvSpPr>
            <a:spLocks noChangeAspect="1"/>
          </p:cNvSpPr>
          <p:nvPr/>
        </p:nvSpPr>
        <p:spPr>
          <a:xfrm>
            <a:off x="4068156" y="5281714"/>
            <a:ext cx="180000" cy="180000"/>
          </a:xfrm>
          <a:prstGeom prst="star5">
            <a:avLst/>
          </a:prstGeom>
          <a:noFill/>
          <a:ln w="28575" cap="flat" cmpd="sng" algn="ctr">
            <a:solidFill>
              <a:srgbClr val="F3817B"/>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ja-JP" altLang="en-US" sz="1800" b="0" i="0" u="none" strike="noStrike" kern="0" cap="none" spc="0" normalizeH="0" baseline="0" noProof="0">
              <a:ln>
                <a:noFill/>
              </a:ln>
              <a:solidFill>
                <a:srgbClr val="FFFFFF"/>
              </a:solidFill>
              <a:effectLst/>
              <a:uLnTx/>
              <a:uFillTx/>
              <a:latin typeface="Noto Sans CJK JP"/>
              <a:ea typeface="BIZ UDPゴシック"/>
              <a:cs typeface="+mn-cs"/>
            </a:endParaRPr>
          </a:p>
        </p:txBody>
      </p:sp>
      <p:sp>
        <p:nvSpPr>
          <p:cNvPr id="67" name="テキスト ボックス 28">
            <a:extLst>
              <a:ext uri="{FF2B5EF4-FFF2-40B4-BE49-F238E27FC236}">
                <a16:creationId xmlns:a16="http://schemas.microsoft.com/office/drawing/2014/main" id="{06F42584-FA32-6D5D-94B2-B9B2AC6F187A}"/>
              </a:ext>
            </a:extLst>
          </p:cNvPr>
          <p:cNvSpPr txBox="1"/>
          <p:nvPr/>
        </p:nvSpPr>
        <p:spPr>
          <a:xfrm>
            <a:off x="7234606" y="5467150"/>
            <a:ext cx="1483680"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mn-ea"/>
                <a:cs typeface="+mn-cs"/>
              </a:rPr>
              <a:t>地域公共交通会議</a:t>
            </a:r>
          </a:p>
        </p:txBody>
      </p:sp>
      <p:sp>
        <p:nvSpPr>
          <p:cNvPr id="68" name="ホームベース 14">
            <a:extLst>
              <a:ext uri="{FF2B5EF4-FFF2-40B4-BE49-F238E27FC236}">
                <a16:creationId xmlns:a16="http://schemas.microsoft.com/office/drawing/2014/main" id="{595181F3-7218-2FB2-3338-5BC6F6C2333E}"/>
              </a:ext>
            </a:extLst>
          </p:cNvPr>
          <p:cNvSpPr/>
          <p:nvPr/>
        </p:nvSpPr>
        <p:spPr>
          <a:xfrm>
            <a:off x="6155875" y="4934085"/>
            <a:ext cx="1719943"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エリア拡大</a:t>
            </a:r>
          </a:p>
        </p:txBody>
      </p:sp>
      <p:sp>
        <p:nvSpPr>
          <p:cNvPr id="69" name="ホームベース 14">
            <a:extLst>
              <a:ext uri="{FF2B5EF4-FFF2-40B4-BE49-F238E27FC236}">
                <a16:creationId xmlns:a16="http://schemas.microsoft.com/office/drawing/2014/main" id="{7B2A67A1-3CD6-3265-CBC9-997F31C1D200}"/>
              </a:ext>
            </a:extLst>
          </p:cNvPr>
          <p:cNvSpPr/>
          <p:nvPr/>
        </p:nvSpPr>
        <p:spPr>
          <a:xfrm>
            <a:off x="4376056" y="5323795"/>
            <a:ext cx="1408924" cy="137919"/>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データ分析</a:t>
            </a:r>
          </a:p>
        </p:txBody>
      </p:sp>
      <p:sp>
        <p:nvSpPr>
          <p:cNvPr id="70" name="ホームベース 14">
            <a:extLst>
              <a:ext uri="{FF2B5EF4-FFF2-40B4-BE49-F238E27FC236}">
                <a16:creationId xmlns:a16="http://schemas.microsoft.com/office/drawing/2014/main" id="{90736702-00DF-3A72-90D5-0C8B004C7AB7}"/>
              </a:ext>
            </a:extLst>
          </p:cNvPr>
          <p:cNvSpPr/>
          <p:nvPr/>
        </p:nvSpPr>
        <p:spPr>
          <a:xfrm>
            <a:off x="9745906" y="5320784"/>
            <a:ext cx="1408924" cy="137919"/>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データ分析</a:t>
            </a:r>
          </a:p>
        </p:txBody>
      </p:sp>
      <p:sp>
        <p:nvSpPr>
          <p:cNvPr id="71" name="ホームベース 14">
            <a:extLst>
              <a:ext uri="{FF2B5EF4-FFF2-40B4-BE49-F238E27FC236}">
                <a16:creationId xmlns:a16="http://schemas.microsoft.com/office/drawing/2014/main" id="{CF1D8BB8-B6B3-2C33-03FA-E60A0D1CDFCB}"/>
              </a:ext>
            </a:extLst>
          </p:cNvPr>
          <p:cNvSpPr/>
          <p:nvPr/>
        </p:nvSpPr>
        <p:spPr>
          <a:xfrm>
            <a:off x="7963830" y="5320785"/>
            <a:ext cx="1408924" cy="137919"/>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データ分析</a:t>
            </a:r>
          </a:p>
        </p:txBody>
      </p:sp>
      <p:sp>
        <p:nvSpPr>
          <p:cNvPr id="72" name="ホームベース 14">
            <a:extLst>
              <a:ext uri="{FF2B5EF4-FFF2-40B4-BE49-F238E27FC236}">
                <a16:creationId xmlns:a16="http://schemas.microsoft.com/office/drawing/2014/main" id="{9FE3B7A4-456F-F739-AD24-F3647FB5FD3C}"/>
              </a:ext>
            </a:extLst>
          </p:cNvPr>
          <p:cNvSpPr/>
          <p:nvPr/>
        </p:nvSpPr>
        <p:spPr>
          <a:xfrm>
            <a:off x="6172200" y="5323795"/>
            <a:ext cx="1408924" cy="137919"/>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データ分析</a:t>
            </a:r>
          </a:p>
        </p:txBody>
      </p:sp>
      <p:sp>
        <p:nvSpPr>
          <p:cNvPr id="73" name="星 5 27">
            <a:extLst>
              <a:ext uri="{FF2B5EF4-FFF2-40B4-BE49-F238E27FC236}">
                <a16:creationId xmlns:a16="http://schemas.microsoft.com/office/drawing/2014/main" id="{AF260EF1-76F9-4FF2-2460-1C56458BC2D5}"/>
              </a:ext>
            </a:extLst>
          </p:cNvPr>
          <p:cNvSpPr>
            <a:spLocks noChangeAspect="1"/>
          </p:cNvSpPr>
          <p:nvPr/>
        </p:nvSpPr>
        <p:spPr>
          <a:xfrm>
            <a:off x="7708069" y="5299743"/>
            <a:ext cx="180000" cy="180000"/>
          </a:xfrm>
          <a:prstGeom prst="star5">
            <a:avLst/>
          </a:prstGeom>
          <a:noFill/>
          <a:ln w="28575" cap="flat" cmpd="sng" algn="ctr">
            <a:solidFill>
              <a:srgbClr val="F3817B"/>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ja-JP" altLang="en-US" sz="1800" b="0" i="0" u="none" strike="noStrike" kern="0" cap="none" spc="0" normalizeH="0" baseline="0" noProof="0">
              <a:ln>
                <a:noFill/>
              </a:ln>
              <a:solidFill>
                <a:srgbClr val="FFFFFF"/>
              </a:solidFill>
              <a:effectLst/>
              <a:uLnTx/>
              <a:uFillTx/>
              <a:latin typeface="Noto Sans CJK JP"/>
              <a:ea typeface="BIZ UDPゴシック"/>
              <a:cs typeface="+mn-cs"/>
            </a:endParaRPr>
          </a:p>
        </p:txBody>
      </p:sp>
      <p:sp>
        <p:nvSpPr>
          <p:cNvPr id="74" name="星 5 27">
            <a:extLst>
              <a:ext uri="{FF2B5EF4-FFF2-40B4-BE49-F238E27FC236}">
                <a16:creationId xmlns:a16="http://schemas.microsoft.com/office/drawing/2014/main" id="{D8CFCA9D-A30E-65C5-51D8-0E8415A92BA3}"/>
              </a:ext>
            </a:extLst>
          </p:cNvPr>
          <p:cNvSpPr>
            <a:spLocks noChangeAspect="1"/>
          </p:cNvSpPr>
          <p:nvPr/>
        </p:nvSpPr>
        <p:spPr>
          <a:xfrm>
            <a:off x="9442517" y="5278703"/>
            <a:ext cx="180000" cy="180000"/>
          </a:xfrm>
          <a:prstGeom prst="star5">
            <a:avLst/>
          </a:prstGeom>
          <a:noFill/>
          <a:ln w="28575" cap="flat" cmpd="sng" algn="ctr">
            <a:solidFill>
              <a:srgbClr val="F3817B"/>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ja-JP" altLang="en-US" sz="1800" b="0" i="0" u="none" strike="noStrike" kern="0" cap="none" spc="0" normalizeH="0" baseline="0" noProof="0">
              <a:ln>
                <a:noFill/>
              </a:ln>
              <a:solidFill>
                <a:srgbClr val="FFFFFF"/>
              </a:solidFill>
              <a:effectLst/>
              <a:uLnTx/>
              <a:uFillTx/>
              <a:latin typeface="Noto Sans CJK JP"/>
              <a:ea typeface="BIZ UDPゴシック"/>
              <a:cs typeface="+mn-cs"/>
            </a:endParaRPr>
          </a:p>
        </p:txBody>
      </p:sp>
      <p:sp>
        <p:nvSpPr>
          <p:cNvPr id="75" name="星 5 27">
            <a:extLst>
              <a:ext uri="{FF2B5EF4-FFF2-40B4-BE49-F238E27FC236}">
                <a16:creationId xmlns:a16="http://schemas.microsoft.com/office/drawing/2014/main" id="{D2889404-490C-64C3-A608-F8ABB7A2BC2C}"/>
              </a:ext>
            </a:extLst>
          </p:cNvPr>
          <p:cNvSpPr>
            <a:spLocks noChangeAspect="1"/>
          </p:cNvSpPr>
          <p:nvPr/>
        </p:nvSpPr>
        <p:spPr>
          <a:xfrm>
            <a:off x="11206798" y="5292426"/>
            <a:ext cx="180000" cy="180000"/>
          </a:xfrm>
          <a:prstGeom prst="star5">
            <a:avLst/>
          </a:prstGeom>
          <a:noFill/>
          <a:ln w="28575" cap="flat" cmpd="sng" algn="ctr">
            <a:solidFill>
              <a:srgbClr val="F3817B"/>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ja-JP" altLang="en-US" sz="1800" b="0" i="0" u="none" strike="noStrike" kern="0" cap="none" spc="0" normalizeH="0" baseline="0" noProof="0">
              <a:ln>
                <a:noFill/>
              </a:ln>
              <a:solidFill>
                <a:srgbClr val="FFFFFF"/>
              </a:solidFill>
              <a:effectLst/>
              <a:uLnTx/>
              <a:uFillTx/>
              <a:latin typeface="Noto Sans CJK JP"/>
              <a:ea typeface="BIZ UDPゴシック"/>
              <a:cs typeface="+mn-cs"/>
            </a:endParaRPr>
          </a:p>
        </p:txBody>
      </p:sp>
      <p:sp>
        <p:nvSpPr>
          <p:cNvPr id="76" name="星 5 27">
            <a:extLst>
              <a:ext uri="{FF2B5EF4-FFF2-40B4-BE49-F238E27FC236}">
                <a16:creationId xmlns:a16="http://schemas.microsoft.com/office/drawing/2014/main" id="{6394E1DD-D404-614B-547D-2716A0F4AF79}"/>
              </a:ext>
            </a:extLst>
          </p:cNvPr>
          <p:cNvSpPr>
            <a:spLocks noChangeAspect="1"/>
          </p:cNvSpPr>
          <p:nvPr/>
        </p:nvSpPr>
        <p:spPr>
          <a:xfrm>
            <a:off x="5882337" y="5292426"/>
            <a:ext cx="180000" cy="180000"/>
          </a:xfrm>
          <a:prstGeom prst="star5">
            <a:avLst/>
          </a:prstGeom>
          <a:noFill/>
          <a:ln w="28575" cap="flat" cmpd="sng" algn="ctr">
            <a:solidFill>
              <a:srgbClr val="F3817B"/>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ja-JP" altLang="en-US" sz="1800" b="0" i="0" u="none" strike="noStrike" kern="0" cap="none" spc="0" normalizeH="0" baseline="0" noProof="0">
              <a:ln>
                <a:noFill/>
              </a:ln>
              <a:solidFill>
                <a:srgbClr val="FFFFFF"/>
              </a:solidFill>
              <a:effectLst/>
              <a:uLnTx/>
              <a:uFillTx/>
              <a:latin typeface="Noto Sans CJK JP"/>
              <a:ea typeface="BIZ UDPゴシック"/>
              <a:cs typeface="+mn-cs"/>
            </a:endParaRPr>
          </a:p>
        </p:txBody>
      </p:sp>
      <p:sp>
        <p:nvSpPr>
          <p:cNvPr id="77" name="テキスト ボックス 28">
            <a:extLst>
              <a:ext uri="{FF2B5EF4-FFF2-40B4-BE49-F238E27FC236}">
                <a16:creationId xmlns:a16="http://schemas.microsoft.com/office/drawing/2014/main" id="{90CAD514-F405-E007-58A0-446AD4E18431}"/>
              </a:ext>
            </a:extLst>
          </p:cNvPr>
          <p:cNvSpPr txBox="1"/>
          <p:nvPr/>
        </p:nvSpPr>
        <p:spPr>
          <a:xfrm>
            <a:off x="5419077" y="5470776"/>
            <a:ext cx="1483680"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mn-ea"/>
                <a:cs typeface="+mn-cs"/>
              </a:rPr>
              <a:t>地域公共交通会議</a:t>
            </a:r>
          </a:p>
        </p:txBody>
      </p:sp>
      <p:sp>
        <p:nvSpPr>
          <p:cNvPr id="78" name="テキスト ボックス 28">
            <a:extLst>
              <a:ext uri="{FF2B5EF4-FFF2-40B4-BE49-F238E27FC236}">
                <a16:creationId xmlns:a16="http://schemas.microsoft.com/office/drawing/2014/main" id="{29D7761A-1891-F6FD-8FBB-FCE98C5C8472}"/>
              </a:ext>
            </a:extLst>
          </p:cNvPr>
          <p:cNvSpPr txBox="1"/>
          <p:nvPr/>
        </p:nvSpPr>
        <p:spPr>
          <a:xfrm>
            <a:off x="3690680" y="5486262"/>
            <a:ext cx="1483680"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mn-ea"/>
                <a:cs typeface="+mn-cs"/>
              </a:rPr>
              <a:t>地域公共交通会議</a:t>
            </a:r>
          </a:p>
        </p:txBody>
      </p:sp>
      <p:sp>
        <p:nvSpPr>
          <p:cNvPr id="79" name="テキスト ボックス 28">
            <a:extLst>
              <a:ext uri="{FF2B5EF4-FFF2-40B4-BE49-F238E27FC236}">
                <a16:creationId xmlns:a16="http://schemas.microsoft.com/office/drawing/2014/main" id="{29C28240-D0C1-5B6D-0D9D-503370A8EFE3}"/>
              </a:ext>
            </a:extLst>
          </p:cNvPr>
          <p:cNvSpPr txBox="1"/>
          <p:nvPr/>
        </p:nvSpPr>
        <p:spPr>
          <a:xfrm>
            <a:off x="8963003" y="5474381"/>
            <a:ext cx="1483680"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mn-ea"/>
                <a:cs typeface="+mn-cs"/>
              </a:rPr>
              <a:t>地域公共交通会議</a:t>
            </a:r>
          </a:p>
        </p:txBody>
      </p:sp>
      <p:sp>
        <p:nvSpPr>
          <p:cNvPr id="80" name="テキスト ボックス 79">
            <a:extLst>
              <a:ext uri="{FF2B5EF4-FFF2-40B4-BE49-F238E27FC236}">
                <a16:creationId xmlns:a16="http://schemas.microsoft.com/office/drawing/2014/main" id="{843C2477-7A1A-A014-F38D-4274EA0D565B}"/>
              </a:ext>
            </a:extLst>
          </p:cNvPr>
          <p:cNvSpPr txBox="1"/>
          <p:nvPr/>
        </p:nvSpPr>
        <p:spPr>
          <a:xfrm>
            <a:off x="3048000" y="3263384"/>
            <a:ext cx="6096000" cy="369332"/>
          </a:xfrm>
          <a:prstGeom prst="rect">
            <a:avLst/>
          </a:prstGeom>
          <a:noFill/>
        </p:spPr>
        <p:txBody>
          <a:bodyPr wrap="square">
            <a:spAutoFit/>
          </a:bodyPr>
          <a:lstStyle/>
          <a:p>
            <a:endParaRPr lang="ja-JP" altLang="en-US"/>
          </a:p>
        </p:txBody>
      </p:sp>
      <p:sp>
        <p:nvSpPr>
          <p:cNvPr id="81" name="テキスト ボックス 80">
            <a:extLst>
              <a:ext uri="{FF2B5EF4-FFF2-40B4-BE49-F238E27FC236}">
                <a16:creationId xmlns:a16="http://schemas.microsoft.com/office/drawing/2014/main" id="{DD64FA28-A7EF-8744-9F1B-288CFBC22F5A}"/>
              </a:ext>
            </a:extLst>
          </p:cNvPr>
          <p:cNvSpPr txBox="1"/>
          <p:nvPr/>
        </p:nvSpPr>
        <p:spPr>
          <a:xfrm>
            <a:off x="3048000" y="3263384"/>
            <a:ext cx="6096000" cy="369332"/>
          </a:xfrm>
          <a:prstGeom prst="rect">
            <a:avLst/>
          </a:prstGeom>
          <a:noFill/>
        </p:spPr>
        <p:txBody>
          <a:bodyPr wrap="square">
            <a:spAutoFit/>
          </a:bodyPr>
          <a:lstStyle/>
          <a:p>
            <a:endParaRPr lang="ja-JP" altLang="en-US"/>
          </a:p>
        </p:txBody>
      </p:sp>
      <p:sp>
        <p:nvSpPr>
          <p:cNvPr id="82" name="テキスト ボックス 81">
            <a:extLst>
              <a:ext uri="{FF2B5EF4-FFF2-40B4-BE49-F238E27FC236}">
                <a16:creationId xmlns:a16="http://schemas.microsoft.com/office/drawing/2014/main" id="{207DD5C8-3E4A-06CC-A764-1D74F5C95612}"/>
              </a:ext>
            </a:extLst>
          </p:cNvPr>
          <p:cNvSpPr txBox="1"/>
          <p:nvPr/>
        </p:nvSpPr>
        <p:spPr>
          <a:xfrm>
            <a:off x="3048000" y="3263384"/>
            <a:ext cx="6096000" cy="369332"/>
          </a:xfrm>
          <a:prstGeom prst="rect">
            <a:avLst/>
          </a:prstGeom>
          <a:noFill/>
        </p:spPr>
        <p:txBody>
          <a:bodyPr wrap="square">
            <a:spAutoFit/>
          </a:bodyPr>
          <a:lstStyle/>
          <a:p>
            <a:endParaRPr lang="ja-JP" altLang="en-US"/>
          </a:p>
        </p:txBody>
      </p:sp>
      <p:sp>
        <p:nvSpPr>
          <p:cNvPr id="83" name="ホームベース 14">
            <a:extLst>
              <a:ext uri="{FF2B5EF4-FFF2-40B4-BE49-F238E27FC236}">
                <a16:creationId xmlns:a16="http://schemas.microsoft.com/office/drawing/2014/main" id="{766A1172-CA8A-710B-32C5-4ADE3076D563}"/>
              </a:ext>
            </a:extLst>
          </p:cNvPr>
          <p:cNvSpPr/>
          <p:nvPr/>
        </p:nvSpPr>
        <p:spPr>
          <a:xfrm>
            <a:off x="4393682" y="5877735"/>
            <a:ext cx="1779819"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宿泊施設の追加（第２段階）</a:t>
            </a:r>
          </a:p>
        </p:txBody>
      </p:sp>
      <p:sp>
        <p:nvSpPr>
          <p:cNvPr id="84" name="ホームベース 14">
            <a:extLst>
              <a:ext uri="{FF2B5EF4-FFF2-40B4-BE49-F238E27FC236}">
                <a16:creationId xmlns:a16="http://schemas.microsoft.com/office/drawing/2014/main" id="{2F48067B-F578-6C95-6C4E-C61CF7C83EDA}"/>
              </a:ext>
            </a:extLst>
          </p:cNvPr>
          <p:cNvSpPr/>
          <p:nvPr/>
        </p:nvSpPr>
        <p:spPr>
          <a:xfrm>
            <a:off x="6202137" y="5884527"/>
            <a:ext cx="1779819"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宿泊施設の追加（第３段階</a:t>
            </a:r>
            <a:r>
              <a:rPr kumimoji="0" lang="en-US" altLang="ja-JP"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		</a:t>
            </a:r>
            <a:endPar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endParaRPr>
          </a:p>
        </p:txBody>
      </p:sp>
      <p:sp>
        <p:nvSpPr>
          <p:cNvPr id="85" name="ホームベース 14">
            <a:extLst>
              <a:ext uri="{FF2B5EF4-FFF2-40B4-BE49-F238E27FC236}">
                <a16:creationId xmlns:a16="http://schemas.microsoft.com/office/drawing/2014/main" id="{468FBE78-0D5B-6A13-74B3-72C2D9892EE5}"/>
              </a:ext>
            </a:extLst>
          </p:cNvPr>
          <p:cNvSpPr/>
          <p:nvPr/>
        </p:nvSpPr>
        <p:spPr>
          <a:xfrm>
            <a:off x="8020921" y="5885475"/>
            <a:ext cx="3447575" cy="137919"/>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エリア拡大</a:t>
            </a:r>
          </a:p>
        </p:txBody>
      </p:sp>
      <p:sp>
        <p:nvSpPr>
          <p:cNvPr id="86" name="ホームベース 14">
            <a:extLst>
              <a:ext uri="{FF2B5EF4-FFF2-40B4-BE49-F238E27FC236}">
                <a16:creationId xmlns:a16="http://schemas.microsoft.com/office/drawing/2014/main" id="{47FF8061-1060-C7B6-64D4-1B040CAD80A3}"/>
              </a:ext>
            </a:extLst>
          </p:cNvPr>
          <p:cNvSpPr/>
          <p:nvPr/>
        </p:nvSpPr>
        <p:spPr>
          <a:xfrm>
            <a:off x="2603534" y="5881268"/>
            <a:ext cx="1779819"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宿泊施設との連携（第</a:t>
            </a:r>
            <a:r>
              <a:rPr kumimoji="0" lang="en-US" altLang="ja-JP"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1</a:t>
            </a: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段階）</a:t>
            </a:r>
          </a:p>
        </p:txBody>
      </p:sp>
    </p:spTree>
    <p:extLst>
      <p:ext uri="{BB962C8B-B14F-4D97-AF65-F5344CB8AC3E}">
        <p14:creationId xmlns:p14="http://schemas.microsoft.com/office/powerpoint/2010/main" val="28485588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7A908D4C-AB64-4D6C-A9D7-43C0FEFAFC61}"/>
              </a:ext>
            </a:extLst>
          </p:cNvPr>
          <p:cNvSpPr/>
          <p:nvPr/>
        </p:nvSpPr>
        <p:spPr>
          <a:xfrm>
            <a:off x="118188" y="3058051"/>
            <a:ext cx="3639912" cy="261884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endParaRPr kumimoji="1" lang="ja-JP" altLang="en-US" sz="1600">
              <a:solidFill>
                <a:schemeClr val="tx1"/>
              </a:solidFill>
            </a:endParaRPr>
          </a:p>
        </p:txBody>
      </p:sp>
      <p:graphicFrame>
        <p:nvGraphicFramePr>
          <p:cNvPr id="8" name="オブジェクト 7" hidden="1">
            <a:extLst>
              <a:ext uri="{FF2B5EF4-FFF2-40B4-BE49-F238E27FC236}">
                <a16:creationId xmlns:a16="http://schemas.microsoft.com/office/drawing/2014/main" id="{1BBE9D25-4DE5-46EE-8FED-CB8ED36E5506}"/>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99" imgH="499" progId="TCLayout.ActiveDocument.1">
                  <p:embed/>
                </p:oleObj>
              </mc:Choice>
              <mc:Fallback>
                <p:oleObj name="think-cell スライド" r:id="rId4" imgW="499" imgH="499" progId="TCLayout.ActiveDocument.1">
                  <p:embed/>
                  <p:pic>
                    <p:nvPicPr>
                      <p:cNvPr id="8" name="オブジェクト 7" hidden="1">
                        <a:extLst>
                          <a:ext uri="{FF2B5EF4-FFF2-40B4-BE49-F238E27FC236}">
                            <a16:creationId xmlns:a16="http://schemas.microsoft.com/office/drawing/2014/main" id="{1BBE9D25-4DE5-46EE-8FED-CB8ED36E5506}"/>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11" name="テキスト プレースホルダー 10">
            <a:extLst>
              <a:ext uri="{FF2B5EF4-FFF2-40B4-BE49-F238E27FC236}">
                <a16:creationId xmlns:a16="http://schemas.microsoft.com/office/drawing/2014/main" id="{D6B57F77-6747-8345-B97F-B6205C839C6A}"/>
              </a:ext>
            </a:extLst>
          </p:cNvPr>
          <p:cNvSpPr>
            <a:spLocks noGrp="1"/>
          </p:cNvSpPr>
          <p:nvPr>
            <p:ph type="body" sz="quarter" idx="36"/>
          </p:nvPr>
        </p:nvSpPr>
        <p:spPr/>
        <p:txBody>
          <a:bodyPr/>
          <a:lstStyle/>
          <a:p>
            <a:endParaRPr lang="ja-JP" altLang="en-US"/>
          </a:p>
        </p:txBody>
      </p:sp>
      <p:sp>
        <p:nvSpPr>
          <p:cNvPr id="2" name="タイトル 1">
            <a:extLst>
              <a:ext uri="{FF2B5EF4-FFF2-40B4-BE49-F238E27FC236}">
                <a16:creationId xmlns:a16="http://schemas.microsoft.com/office/drawing/2014/main" id="{05AAEBB6-71D6-4253-80ED-017092C77AD9}"/>
              </a:ext>
            </a:extLst>
          </p:cNvPr>
          <p:cNvSpPr>
            <a:spLocks noGrp="1"/>
          </p:cNvSpPr>
          <p:nvPr>
            <p:ph type="title"/>
          </p:nvPr>
        </p:nvSpPr>
        <p:spPr/>
        <p:txBody>
          <a:bodyPr vert="horz"/>
          <a:lstStyle/>
          <a:p>
            <a:r>
              <a:rPr kumimoji="1" lang="ja-JP" altLang="en-US"/>
              <a:t>目次</a:t>
            </a:r>
          </a:p>
        </p:txBody>
      </p:sp>
      <p:sp>
        <p:nvSpPr>
          <p:cNvPr id="4" name="正方形/長方形 3">
            <a:extLst>
              <a:ext uri="{FF2B5EF4-FFF2-40B4-BE49-F238E27FC236}">
                <a16:creationId xmlns:a16="http://schemas.microsoft.com/office/drawing/2014/main" id="{3C4C9EEB-C87D-198B-1D63-23C5838AE97A}"/>
              </a:ext>
            </a:extLst>
          </p:cNvPr>
          <p:cNvSpPr/>
          <p:nvPr/>
        </p:nvSpPr>
        <p:spPr>
          <a:xfrm>
            <a:off x="157615" y="1101036"/>
            <a:ext cx="11876770" cy="5541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numCol="3" rtlCol="0" anchor="t"/>
          <a:lstStyle/>
          <a:p>
            <a:pPr marL="342900" indent="-342900">
              <a:buFont typeface="+mj-lt"/>
              <a:buAutoNum type="romanU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プロジェクトのビジョン</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解決すべき社会課題</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創出価値</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課題解決のアプローチ</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en-US" altLang="ja-JP" sz="1600" dirty="0">
                <a:solidFill>
                  <a:srgbClr val="000000"/>
                </a:solidFill>
                <a:latin typeface="BIZ UDPゴシック"/>
                <a:ea typeface="BIZ UDPゴシック"/>
              </a:rPr>
              <a:t>KPI</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想定事業機会</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中長期的な展開</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交通サービスの高度化</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サービス全体像</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lang="ja-JP" altLang="en-US" sz="1600" dirty="0">
                <a:solidFill>
                  <a:srgbClr val="000000"/>
                </a:solidFill>
                <a:latin typeface="BIZ UDPゴシック"/>
                <a:ea typeface="BIZ UDPゴシック"/>
              </a:rPr>
              <a:t>実証仮説</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lang="ja-JP" altLang="en-US" sz="1600" dirty="0">
                <a:solidFill>
                  <a:srgbClr val="000000"/>
                </a:solidFill>
                <a:latin typeface="BIZ UDPゴシック"/>
                <a:ea typeface="BIZ UDPゴシック"/>
              </a:rPr>
              <a:t>スコープ詳細　</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プロジェクト実施エリア</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利用する技術要素</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ユーザインタフェース</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事業の推進体制</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lvl="1">
              <a:defRPr/>
            </a:pPr>
            <a:endParaRPr lang="en-US" altLang="ja-JP" sz="1600" dirty="0">
              <a:solidFill>
                <a:srgbClr val="000000"/>
              </a:solidFill>
              <a:latin typeface="BIZ UDPゴシック"/>
              <a:ea typeface="BIZ UDPゴシック"/>
            </a:endParaRPr>
          </a:p>
          <a:p>
            <a:pPr lvl="1">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lvl="1">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lvl="1">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モビリティデータの取得と活用</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lang="ja-JP" altLang="en-US" sz="1600" dirty="0">
                <a:solidFill>
                  <a:srgbClr val="000000"/>
                </a:solidFill>
                <a:latin typeface="BIZ UDPゴシック"/>
                <a:ea typeface="BIZ UDPゴシック"/>
              </a:rPr>
              <a:t>データ活用の</a:t>
            </a: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全体像</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実証仮説</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スコープ詳細</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データ活用実施エリア</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利用する技術要素</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利用するデータ一覧</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ユーザインターフェース</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事業の推進体制</a:t>
            </a:r>
            <a:endParaRPr lang="en-US" altLang="ja-JP" sz="1600" dirty="0">
              <a:solidFill>
                <a:srgbClr val="000000"/>
              </a:solidFill>
              <a:latin typeface="BIZ UDPゴシック"/>
              <a:ea typeface="BIZ UDPゴシック"/>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US" altLang="ja-JP" sz="1600" dirty="0">
              <a:solidFill>
                <a:srgbClr val="000000"/>
              </a:solidFill>
              <a:latin typeface="BIZ UDPゴシック"/>
              <a:ea typeface="BIZ UDPゴシック"/>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エンドコンテンツとの連携</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サービス全体像</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lang="ja-JP" altLang="en-US" sz="1600" dirty="0">
                <a:solidFill>
                  <a:srgbClr val="000000"/>
                </a:solidFill>
                <a:latin typeface="BIZ UDPゴシック"/>
                <a:ea typeface="BIZ UDPゴシック"/>
              </a:rPr>
              <a:t>実証仮説</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lang="ja-JP" altLang="en-US" sz="1600" dirty="0">
                <a:solidFill>
                  <a:srgbClr val="000000"/>
                </a:solidFill>
                <a:latin typeface="BIZ UDPゴシック"/>
                <a:ea typeface="BIZ UDPゴシック"/>
              </a:rPr>
              <a:t>スコープ詳細　</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プロジェクト実施エリア</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利用する技術要素</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ユーザインタフェース</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事業の推進体制</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スケジュール</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スケジュール（</a:t>
            </a:r>
            <a:r>
              <a:rPr lang="en-US" altLang="ja-JP" sz="1600" dirty="0">
                <a:solidFill>
                  <a:srgbClr val="000000"/>
                </a:solidFill>
                <a:latin typeface="BIZ UDPゴシック"/>
                <a:ea typeface="BIZ UDPゴシック"/>
              </a:rPr>
              <a:t>WBS</a:t>
            </a:r>
            <a:r>
              <a:rPr lang="ja-JP" altLang="en-US" sz="1600" dirty="0">
                <a:solidFill>
                  <a:srgbClr val="000000"/>
                </a:solidFill>
                <a:latin typeface="BIZ UDPゴシック"/>
                <a:ea typeface="BIZ UDPゴシック"/>
              </a:rPr>
              <a:t>ガントチャート）</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プロジェクトのフロー</a:t>
            </a:r>
            <a:endParaRPr lang="en-US" altLang="ja-JP" sz="1600" dirty="0">
              <a:solidFill>
                <a:srgbClr val="000000"/>
              </a:solidFill>
              <a:latin typeface="BIZ UDPゴシック"/>
              <a:ea typeface="BIZ UDPゴシック"/>
            </a:endParaRPr>
          </a:p>
          <a:p>
            <a:pPr marL="800100" lvl="1" indent="-342900">
              <a:buFont typeface="+mj-lt"/>
              <a:buAutoNum type="arabicPeriod"/>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マネジメント計画</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リスク・課題</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コスト</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リソース（プロジェクト実施体制）</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コミュニケーション</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品質</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成果物</a:t>
            </a:r>
            <a:endParaRPr lang="en-US" altLang="ja-JP" sz="1600" dirty="0">
              <a:solidFill>
                <a:srgbClr val="000000"/>
              </a:solidFill>
              <a:latin typeface="BIZ UDPゴシック"/>
              <a:ea typeface="BIZ UDPゴシック"/>
            </a:endParaRPr>
          </a:p>
          <a:p>
            <a:pPr lvl="1">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R="0" lvl="2" algn="l" defTabSz="914400" rtl="0" eaLnBrk="1" fontAlgn="auto" latinLnBrk="0" hangingPunct="1">
              <a:lnSpc>
                <a:spcPct val="100000"/>
              </a:lnSpc>
              <a:spcBef>
                <a:spcPts val="0"/>
              </a:spcBef>
              <a:spcAft>
                <a:spcPts val="0"/>
              </a:spcAft>
              <a:buClrTx/>
              <a:buSzTx/>
              <a:tabLst/>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p:txBody>
      </p:sp>
    </p:spTree>
    <p:extLst>
      <p:ext uri="{BB962C8B-B14F-4D97-AF65-F5344CB8AC3E}">
        <p14:creationId xmlns:p14="http://schemas.microsoft.com/office/powerpoint/2010/main" val="7961427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en-US" altLang="ja-JP"/>
              <a:t>1.</a:t>
            </a:r>
            <a:r>
              <a:rPr lang="ja-JP" altLang="en-US"/>
              <a:t>サービス全体像</a:t>
            </a:r>
          </a:p>
        </p:txBody>
      </p:sp>
      <p:grpSp>
        <p:nvGrpSpPr>
          <p:cNvPr id="3" name="グループ化 2">
            <a:extLst>
              <a:ext uri="{FF2B5EF4-FFF2-40B4-BE49-F238E27FC236}">
                <a16:creationId xmlns:a16="http://schemas.microsoft.com/office/drawing/2014/main" id="{EBC23DA4-F36B-555D-CA5C-39F94E08823F}"/>
              </a:ext>
            </a:extLst>
          </p:cNvPr>
          <p:cNvGrpSpPr/>
          <p:nvPr/>
        </p:nvGrpSpPr>
        <p:grpSpPr>
          <a:xfrm>
            <a:off x="302400" y="1661738"/>
            <a:ext cx="11587200" cy="309600"/>
            <a:chOff x="302400" y="1990800"/>
            <a:chExt cx="11587200" cy="309600"/>
          </a:xfrm>
        </p:grpSpPr>
        <p:grpSp>
          <p:nvGrpSpPr>
            <p:cNvPr id="4" name="PanelGroup1">
              <a:extLst>
                <a:ext uri="{FF2B5EF4-FFF2-40B4-BE49-F238E27FC236}">
                  <a16:creationId xmlns:a16="http://schemas.microsoft.com/office/drawing/2014/main" id="{182836E8-0A6C-6508-BE54-D9FA5966D104}"/>
                </a:ext>
              </a:extLst>
            </p:cNvPr>
            <p:cNvGrpSpPr/>
            <p:nvPr/>
          </p:nvGrpSpPr>
          <p:grpSpPr>
            <a:xfrm>
              <a:off x="302400" y="1990800"/>
              <a:ext cx="5761200" cy="309600"/>
              <a:chOff x="302400" y="1990800"/>
              <a:chExt cx="5761200" cy="309600"/>
            </a:xfrm>
          </p:grpSpPr>
          <p:sp>
            <p:nvSpPr>
              <p:cNvPr id="12" name="正方形/長方形 11">
                <a:extLst>
                  <a:ext uri="{FF2B5EF4-FFF2-40B4-BE49-F238E27FC236}">
                    <a16:creationId xmlns:a16="http://schemas.microsoft.com/office/drawing/2014/main" id="{0885EF34-1A86-AA39-1A1A-5F99ABF6B7EF}"/>
                  </a:ext>
                </a:extLst>
              </p:cNvPr>
              <p:cNvSpPr/>
              <p:nvPr/>
            </p:nvSpPr>
            <p:spPr>
              <a:xfrm>
                <a:off x="302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全体像</a:t>
                </a:r>
              </a:p>
            </p:txBody>
          </p:sp>
          <p:cxnSp>
            <p:nvCxnSpPr>
              <p:cNvPr id="13" name="直線矢印コネクタ 12">
                <a:extLst>
                  <a:ext uri="{FF2B5EF4-FFF2-40B4-BE49-F238E27FC236}">
                    <a16:creationId xmlns:a16="http://schemas.microsoft.com/office/drawing/2014/main" id="{819B2E49-17B8-3727-8812-69FD5702E69C}"/>
                  </a:ext>
                </a:extLst>
              </p:cNvPr>
              <p:cNvCxnSpPr/>
              <p:nvPr/>
            </p:nvCxnSpPr>
            <p:spPr>
              <a:xfrm>
                <a:off x="302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7" name="PanelGroup2">
              <a:extLst>
                <a:ext uri="{FF2B5EF4-FFF2-40B4-BE49-F238E27FC236}">
                  <a16:creationId xmlns:a16="http://schemas.microsoft.com/office/drawing/2014/main" id="{2FB98B28-3911-4D54-DF63-480395E4E9E6}"/>
                </a:ext>
              </a:extLst>
            </p:cNvPr>
            <p:cNvGrpSpPr/>
            <p:nvPr/>
          </p:nvGrpSpPr>
          <p:grpSpPr>
            <a:xfrm>
              <a:off x="6128400" y="1990800"/>
              <a:ext cx="5761200" cy="309600"/>
              <a:chOff x="6128400" y="1990800"/>
              <a:chExt cx="5761200" cy="309600"/>
            </a:xfrm>
          </p:grpSpPr>
          <p:sp>
            <p:nvSpPr>
              <p:cNvPr id="8" name="正方形/長方形 7">
                <a:extLst>
                  <a:ext uri="{FF2B5EF4-FFF2-40B4-BE49-F238E27FC236}">
                    <a16:creationId xmlns:a16="http://schemas.microsoft.com/office/drawing/2014/main" id="{95ACE118-4131-DE79-F02F-66722864A02D}"/>
                  </a:ext>
                </a:extLst>
              </p:cNvPr>
              <p:cNvSpPr/>
              <p:nvPr/>
            </p:nvSpPr>
            <p:spPr>
              <a:xfrm>
                <a:off x="6128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イメージ</a:t>
                </a:r>
              </a:p>
            </p:txBody>
          </p:sp>
          <p:cxnSp>
            <p:nvCxnSpPr>
              <p:cNvPr id="10" name="直線矢印コネクタ 9">
                <a:extLst>
                  <a:ext uri="{FF2B5EF4-FFF2-40B4-BE49-F238E27FC236}">
                    <a16:creationId xmlns:a16="http://schemas.microsoft.com/office/drawing/2014/main" id="{EEF86A98-39B5-3E9C-8313-F6410191C7AD}"/>
                  </a:ext>
                </a:extLst>
              </p:cNvPr>
              <p:cNvCxnSpPr/>
              <p:nvPr/>
            </p:nvCxnSpPr>
            <p:spPr>
              <a:xfrm>
                <a:off x="6128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sp>
        <p:nvSpPr>
          <p:cNvPr id="17" name="テキスト プレースホルダー 16">
            <a:extLst>
              <a:ext uri="{FF2B5EF4-FFF2-40B4-BE49-F238E27FC236}">
                <a16:creationId xmlns:a16="http://schemas.microsoft.com/office/drawing/2014/main" id="{ED5B4037-6A33-091F-CAB0-26A3BC43E5EE}"/>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6" name="テキスト ボックス 5">
            <a:extLst>
              <a:ext uri="{FF2B5EF4-FFF2-40B4-BE49-F238E27FC236}">
                <a16:creationId xmlns:a16="http://schemas.microsoft.com/office/drawing/2014/main" id="{95B7D5A6-3733-419F-5F47-1323A3D8D852}"/>
              </a:ext>
            </a:extLst>
          </p:cNvPr>
          <p:cNvSpPr txBox="1"/>
          <p:nvPr/>
        </p:nvSpPr>
        <p:spPr>
          <a:xfrm>
            <a:off x="300779" y="2079520"/>
            <a:ext cx="5761200" cy="4463159"/>
          </a:xfrm>
          <a:prstGeom prst="rect">
            <a:avLst/>
          </a:prstGeom>
          <a:noFill/>
        </p:spPr>
        <p:txBody>
          <a:bodyPr wrap="square" anchor="t">
            <a:noAutofit/>
          </a:bodyPr>
          <a:lstStyle/>
          <a:p>
            <a:pPr marR="0" lvl="0" algn="l" defTabSz="914400" rtl="0" eaLnBrk="1" fontAlgn="auto" latinLnBrk="0" hangingPunct="1">
              <a:lnSpc>
                <a:spcPct val="100000"/>
              </a:lnSpc>
              <a:spcBef>
                <a:spcPts val="300"/>
              </a:spcBef>
              <a:spcAft>
                <a:spcPts val="0"/>
              </a:spcAft>
              <a:buClrTx/>
              <a:buSzTx/>
              <a:tabLst/>
              <a:defRPr/>
            </a:pPr>
            <a:r>
              <a:rPr lang="en-US" altLang="ja-JP" sz="1200">
                <a:solidFill>
                  <a:srgbClr val="0070C0"/>
                </a:solidFill>
                <a:latin typeface="BIZ UDPゴシック"/>
                <a:ea typeface="BIZ UDPゴシック"/>
              </a:rPr>
              <a:t>XX</a:t>
            </a:r>
            <a:r>
              <a:rPr lang="ja-JP" altLang="en-US" sz="1200">
                <a:solidFill>
                  <a:srgbClr val="0070C0"/>
                </a:solidFill>
                <a:latin typeface="BIZ UDPゴシック"/>
                <a:ea typeface="BIZ UDPゴシック"/>
              </a:rPr>
              <a:t>地域の交通空白を解消するため、地域の交通事業者と連携した</a:t>
            </a:r>
            <a:r>
              <a:rPr lang="en-US" altLang="ja-JP" sz="1200" err="1">
                <a:solidFill>
                  <a:srgbClr val="0070C0"/>
                </a:solidFill>
                <a:latin typeface="BIZ UDPゴシック"/>
                <a:ea typeface="BIZ UDPゴシック"/>
              </a:rPr>
              <a:t>MaaS</a:t>
            </a:r>
            <a:r>
              <a:rPr lang="ja-JP" altLang="en-US" sz="1200">
                <a:solidFill>
                  <a:srgbClr val="0070C0"/>
                </a:solidFill>
                <a:latin typeface="BIZ UDPゴシック"/>
                <a:ea typeface="BIZ UDPゴシック"/>
              </a:rPr>
              <a:t>プラットフォームを開発し、地域交通へのアクセシビリティを改善する。</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①新規</a:t>
            </a:r>
            <a:r>
              <a:rPr lang="en-US" altLang="ja-JP" sz="1200" err="1">
                <a:solidFill>
                  <a:srgbClr val="0070C0"/>
                </a:solidFill>
                <a:latin typeface="BIZ UDPゴシック"/>
                <a:ea typeface="BIZ UDPゴシック"/>
              </a:rPr>
              <a:t>MaaS</a:t>
            </a:r>
            <a:r>
              <a:rPr lang="ja-JP" altLang="en-US" sz="1200">
                <a:solidFill>
                  <a:srgbClr val="0070C0"/>
                </a:solidFill>
                <a:latin typeface="BIZ UDPゴシック"/>
                <a:ea typeface="BIZ UDPゴシック"/>
              </a:rPr>
              <a:t>アプリの開発</a:t>
            </a:r>
            <a:endParaRPr lang="en-US" altLang="ja-JP" sz="1200">
              <a:solidFill>
                <a:srgbClr val="0070C0"/>
              </a:solidFill>
              <a:latin typeface="BIZ UDPゴシック"/>
              <a:ea typeface="BIZ UDPゴシック"/>
            </a:endParaRPr>
          </a:p>
          <a:p>
            <a:pPr>
              <a:spcBef>
                <a:spcPts val="300"/>
              </a:spcBef>
              <a:defRPr/>
            </a:pPr>
            <a:r>
              <a:rPr lang="ja-JP" altLang="en-US" sz="1200">
                <a:solidFill>
                  <a:srgbClr val="0070C0"/>
                </a:solidFill>
                <a:latin typeface="BIZ UDPゴシック"/>
                <a:ea typeface="BIZ UDPゴシック"/>
              </a:rPr>
              <a:t>　当該エリア内のシームレスな移動を可能とするため、</a:t>
            </a:r>
            <a:r>
              <a:rPr lang="en-US" altLang="ja-JP" sz="1200" err="1">
                <a:solidFill>
                  <a:srgbClr val="0070C0"/>
                </a:solidFill>
                <a:latin typeface="BIZ UDPゴシック"/>
                <a:ea typeface="BIZ UDPゴシック"/>
              </a:rPr>
              <a:t>MaaS</a:t>
            </a:r>
            <a:r>
              <a:rPr lang="ja-JP" altLang="en-US" sz="1200">
                <a:solidFill>
                  <a:srgbClr val="0070C0"/>
                </a:solidFill>
                <a:latin typeface="BIZ UDPゴシック"/>
                <a:ea typeface="BIZ UDPゴシック"/>
              </a:rPr>
              <a:t>アプリの開発及び実</a:t>
            </a:r>
            <a:endParaRPr lang="en-US" altLang="ja-JP" sz="1200">
              <a:solidFill>
                <a:srgbClr val="0070C0"/>
              </a:solidFill>
              <a:latin typeface="BIZ UDPゴシック"/>
              <a:ea typeface="BIZ UDPゴシック"/>
            </a:endParaRPr>
          </a:p>
          <a:p>
            <a:pPr>
              <a:spcBef>
                <a:spcPts val="300"/>
              </a:spcBef>
              <a:defRPr/>
            </a:pPr>
            <a:r>
              <a:rPr lang="ja-JP" altLang="en-US" sz="1200">
                <a:solidFill>
                  <a:srgbClr val="0070C0"/>
                </a:solidFill>
                <a:latin typeface="BIZ UDPゴシック"/>
                <a:ea typeface="BIZ UDPゴシック"/>
              </a:rPr>
              <a:t>　証を行う。</a:t>
            </a:r>
            <a:endParaRPr lang="en-US" altLang="ja-JP" sz="1200">
              <a:solidFill>
                <a:srgbClr val="0070C0"/>
              </a:solidFill>
              <a:latin typeface="BIZ UDPゴシック"/>
              <a:ea typeface="BIZ UDPゴシック"/>
            </a:endParaRPr>
          </a:p>
          <a:p>
            <a:pPr>
              <a:spcBef>
                <a:spcPts val="300"/>
              </a:spcBef>
              <a:defRPr/>
            </a:pP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②デジタルパスの販売</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①で開発したアプリにおいて、エリア内の交通のフリー乗車券と商業施設のクーポ</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ンをセットにし他デジタルパスの販売を実施。</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③サブスクサービスの提供</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当該エリア内で主にマイカー通勤者に対して公共交通利用への転換を促すため、さ</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びスクサービスの提供を実施。</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endParaRPr kumimoji="1" lang="en-US" altLang="ja-JP" sz="1200" b="0" i="0" u="none" strike="noStrike" kern="1200" cap="none" spc="0" normalizeH="0" baseline="0" noProof="0">
              <a:ln>
                <a:noFill/>
              </a:ln>
              <a:solidFill>
                <a:srgbClr val="0070C0"/>
              </a:solidFill>
              <a:effectLst/>
              <a:uLnTx/>
              <a:uFillTx/>
              <a:latin typeface="BIZ UDPゴシック"/>
              <a:ea typeface="BIZ UDPゴシック"/>
              <a:cs typeface="+mn-cs"/>
            </a:endParaRPr>
          </a:p>
        </p:txBody>
      </p:sp>
      <p:sp>
        <p:nvSpPr>
          <p:cNvPr id="50" name="テキスト ボックス 49">
            <a:extLst>
              <a:ext uri="{FF2B5EF4-FFF2-40B4-BE49-F238E27FC236}">
                <a16:creationId xmlns:a16="http://schemas.microsoft.com/office/drawing/2014/main" id="{5B635FEA-2811-3A33-A6E6-95440B42D811}"/>
              </a:ext>
            </a:extLst>
          </p:cNvPr>
          <p:cNvSpPr txBox="1"/>
          <p:nvPr/>
        </p:nvSpPr>
        <p:spPr>
          <a:xfrm>
            <a:off x="6280186" y="4311100"/>
            <a:ext cx="5670325" cy="1578177"/>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プロジェクトのイメージビジュアルを掲載してください。</a:t>
            </a:r>
            <a:endParaRPr kumimoji="0" lang="en-US" altLang="ja-JP" sz="1400" b="0" i="0" u="none" strike="noStrike" kern="0" cap="none" spc="0" normalizeH="0" baseline="0" noProof="0">
              <a:ln>
                <a:noFill/>
              </a:ln>
              <a:solidFill>
                <a:srgbClr val="FFFFFF"/>
              </a:solidFill>
              <a:effectLst/>
              <a:uLnTx/>
              <a:uFillTx/>
            </a:endParaRPr>
          </a:p>
        </p:txBody>
      </p:sp>
      <p:sp>
        <p:nvSpPr>
          <p:cNvPr id="53" name="テキスト ボックス 52">
            <a:extLst>
              <a:ext uri="{FF2B5EF4-FFF2-40B4-BE49-F238E27FC236}">
                <a16:creationId xmlns:a16="http://schemas.microsoft.com/office/drawing/2014/main" id="{600AE28E-2F7C-E1F6-5796-97DD1A8A0830}"/>
              </a:ext>
            </a:extLst>
          </p:cNvPr>
          <p:cNvSpPr txBox="1"/>
          <p:nvPr/>
        </p:nvSpPr>
        <p:spPr>
          <a:xfrm>
            <a:off x="300779" y="4311099"/>
            <a:ext cx="5670325" cy="1578177"/>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プロジェクトの全体像と個別のスコープについて明確に記載してください。</a:t>
            </a:r>
            <a:endParaRPr kumimoji="0" lang="en-US" altLang="ja-JP"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24250912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a:xfrm>
            <a:off x="300778" y="655357"/>
            <a:ext cx="11891221" cy="432000"/>
          </a:xfrm>
        </p:spPr>
        <p:txBody>
          <a:bodyPr vert="horz"/>
          <a:lstStyle/>
          <a:p>
            <a:r>
              <a:rPr lang="ja-JP" altLang="en-US"/>
              <a:t>１</a:t>
            </a:r>
            <a:r>
              <a:rPr lang="en-US" altLang="ja-JP"/>
              <a:t>.</a:t>
            </a:r>
            <a:r>
              <a:rPr lang="ja-JP" altLang="en-US"/>
              <a:t>サービス全体像│実現する</a:t>
            </a:r>
            <a:r>
              <a:rPr lang="en-US" altLang="ja-JP"/>
              <a:t>UX</a:t>
            </a:r>
            <a:endParaRPr lang="ja-JP" altLang="en-US"/>
          </a:p>
        </p:txBody>
      </p:sp>
      <p:sp>
        <p:nvSpPr>
          <p:cNvPr id="11" name="テキスト プレースホルダー 10">
            <a:extLst>
              <a:ext uri="{FF2B5EF4-FFF2-40B4-BE49-F238E27FC236}">
                <a16:creationId xmlns:a16="http://schemas.microsoft.com/office/drawing/2014/main" id="{5B8ABDA1-3D2A-BE6F-2D47-4B44E4CE9142}"/>
              </a:ext>
            </a:extLst>
          </p:cNvPr>
          <p:cNvSpPr>
            <a:spLocks noGrp="1"/>
          </p:cNvSpPr>
          <p:nvPr>
            <p:ph type="body" sz="quarter" idx="4294967295"/>
          </p:nvPr>
        </p:nvSpPr>
        <p:spPr>
          <a:xfrm>
            <a:off x="300778" y="1743000"/>
            <a:ext cx="11376000" cy="323165"/>
          </a:xfrm>
        </p:spPr>
        <p:txBody>
          <a:bodyPr>
            <a:normAutofit fontScale="92500" lnSpcReduction="2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マリーを記載</a:t>
            </a: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7" name="フローチャート: 他ページ結合子 16">
            <a:extLst>
              <a:ext uri="{FF2B5EF4-FFF2-40B4-BE49-F238E27FC236}">
                <a16:creationId xmlns:a16="http://schemas.microsoft.com/office/drawing/2014/main" id="{53F10FF5-7C3A-04E7-4D0E-3EC2A9EB89FC}"/>
              </a:ext>
            </a:extLst>
          </p:cNvPr>
          <p:cNvSpPr/>
          <p:nvPr/>
        </p:nvSpPr>
        <p:spPr bwMode="gray">
          <a:xfrm>
            <a:off x="209722" y="3438793"/>
            <a:ext cx="2164078" cy="872923"/>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r>
              <a:rPr kumimoji="1" lang="ja-JP" altLang="en-US" sz="1600">
                <a:solidFill>
                  <a:srgbClr val="0070C0"/>
                </a:solidFill>
              </a:rPr>
              <a:t>予約・決済</a:t>
            </a:r>
          </a:p>
        </p:txBody>
      </p:sp>
      <p:sp>
        <p:nvSpPr>
          <p:cNvPr id="18" name="正方形/長方形 17">
            <a:extLst>
              <a:ext uri="{FF2B5EF4-FFF2-40B4-BE49-F238E27FC236}">
                <a16:creationId xmlns:a16="http://schemas.microsoft.com/office/drawing/2014/main" id="{E9664A3C-1A6D-1DEA-5030-08206BBAF59D}"/>
              </a:ext>
            </a:extLst>
          </p:cNvPr>
          <p:cNvSpPr/>
          <p:nvPr/>
        </p:nvSpPr>
        <p:spPr bwMode="gray">
          <a:xfrm>
            <a:off x="2374364" y="1904109"/>
            <a:ext cx="4783566" cy="338527"/>
          </a:xfrm>
          <a:prstGeom prst="rect">
            <a:avLst/>
          </a:prstGeom>
          <a:noFill/>
          <a:ln w="6350">
            <a:noFill/>
            <a:miter lim="800000"/>
            <a:headEnd/>
            <a:tailEnd/>
          </a:ln>
          <a:effectLst/>
          <a:extLst>
            <a:ext uri="{91240B29-F687-4F45-9708-019B960494DF}">
              <a14:hiddenLine xmlns:a14="http://schemas.microsoft.com/office/drawing/2010/main" w="6350">
                <a:solidFill>
                  <a:schemeClr val="tx1"/>
                </a:solidFill>
                <a:miter lim="800000"/>
                <a:headEnd/>
                <a:tailEnd/>
              </a14:hiddenLine>
            </a:ext>
          </a:extLst>
        </p:spPr>
        <p:txBody>
          <a:bodyPr vert="horz" wrap="none" lIns="72000" tIns="72000" rIns="72000" bIns="72000" numCol="1" rtlCol="0" anchor="ctr" anchorCtr="0" compatLnSpc="1">
            <a:prstTxWarp prst="textNoShape">
              <a:avLst/>
            </a:prstTxWarp>
            <a:noAutofit/>
          </a:bodyPr>
          <a:lstStyle/>
          <a:p>
            <a:pPr algn="ctr"/>
            <a:r>
              <a:rPr kumimoji="1" lang="ja-JP" altLang="en-US" sz="1400">
                <a:latin typeface="+mn-ea"/>
              </a:rPr>
              <a:t>従来の</a:t>
            </a:r>
            <a:r>
              <a:rPr kumimoji="1" lang="en-US" altLang="ja-JP" sz="1400">
                <a:latin typeface="+mn-ea"/>
              </a:rPr>
              <a:t>UX</a:t>
            </a:r>
            <a:endParaRPr kumimoji="1" lang="ja-JP" altLang="en-US" sz="1400">
              <a:latin typeface="+mn-ea"/>
            </a:endParaRPr>
          </a:p>
        </p:txBody>
      </p:sp>
      <p:cxnSp>
        <p:nvCxnSpPr>
          <p:cNvPr id="19" name="直線矢印コネクタ 18">
            <a:extLst>
              <a:ext uri="{FF2B5EF4-FFF2-40B4-BE49-F238E27FC236}">
                <a16:creationId xmlns:a16="http://schemas.microsoft.com/office/drawing/2014/main" id="{988F5D47-E5D3-5BF3-75A0-F784D65E7675}"/>
              </a:ext>
            </a:extLst>
          </p:cNvPr>
          <p:cNvCxnSpPr>
            <a:cxnSpLocks/>
          </p:cNvCxnSpPr>
          <p:nvPr/>
        </p:nvCxnSpPr>
        <p:spPr>
          <a:xfrm>
            <a:off x="2521691" y="2242636"/>
            <a:ext cx="4488909" cy="0"/>
          </a:xfrm>
          <a:prstGeom prst="straightConnector1">
            <a:avLst/>
          </a:prstGeom>
          <a:noFill/>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正方形/長方形 19">
            <a:extLst>
              <a:ext uri="{FF2B5EF4-FFF2-40B4-BE49-F238E27FC236}">
                <a16:creationId xmlns:a16="http://schemas.microsoft.com/office/drawing/2014/main" id="{A1D40746-BF49-AC90-B951-2E85999D00C9}"/>
              </a:ext>
            </a:extLst>
          </p:cNvPr>
          <p:cNvSpPr/>
          <p:nvPr/>
        </p:nvSpPr>
        <p:spPr bwMode="gray">
          <a:xfrm>
            <a:off x="7021258" y="1904109"/>
            <a:ext cx="4783566" cy="338527"/>
          </a:xfrm>
          <a:prstGeom prst="rect">
            <a:avLst/>
          </a:prstGeom>
          <a:noFill/>
          <a:ln w="6350">
            <a:noFill/>
            <a:miter lim="800000"/>
            <a:headEnd/>
            <a:tailEnd/>
          </a:ln>
          <a:effectLst/>
          <a:extLst>
            <a:ext uri="{91240B29-F687-4F45-9708-019B960494DF}">
              <a14:hiddenLine xmlns:a14="http://schemas.microsoft.com/office/drawing/2010/main" w="6350">
                <a:solidFill>
                  <a:schemeClr val="tx1"/>
                </a:solidFill>
                <a:miter lim="800000"/>
                <a:headEnd/>
                <a:tailEnd/>
              </a14:hiddenLine>
            </a:ext>
          </a:extLst>
        </p:spPr>
        <p:txBody>
          <a:bodyPr vert="horz" wrap="none" lIns="72000" tIns="72000" rIns="72000" bIns="72000" numCol="1" rtlCol="0" anchor="ctr" anchorCtr="0" compatLnSpc="1">
            <a:prstTxWarp prst="textNoShape">
              <a:avLst/>
            </a:prstTxWarp>
            <a:noAutofit/>
          </a:bodyPr>
          <a:lstStyle/>
          <a:p>
            <a:pPr algn="ctr"/>
            <a:r>
              <a:rPr kumimoji="1" lang="ja-JP" altLang="en-US" sz="1400">
                <a:latin typeface="+mn-ea"/>
              </a:rPr>
              <a:t>本プロジェクトが目指す</a:t>
            </a:r>
            <a:r>
              <a:rPr kumimoji="1" lang="en-US" altLang="ja-JP" sz="1400">
                <a:latin typeface="+mn-ea"/>
              </a:rPr>
              <a:t>UX</a:t>
            </a:r>
            <a:endParaRPr kumimoji="1" lang="ja-JP" altLang="en-US" sz="1400">
              <a:latin typeface="+mn-ea"/>
            </a:endParaRPr>
          </a:p>
        </p:txBody>
      </p:sp>
      <p:cxnSp>
        <p:nvCxnSpPr>
          <p:cNvPr id="21" name="直線矢印コネクタ 20">
            <a:extLst>
              <a:ext uri="{FF2B5EF4-FFF2-40B4-BE49-F238E27FC236}">
                <a16:creationId xmlns:a16="http://schemas.microsoft.com/office/drawing/2014/main" id="{2C5A1D27-39E7-7A74-E0C6-11903FAA5D16}"/>
              </a:ext>
            </a:extLst>
          </p:cNvPr>
          <p:cNvCxnSpPr>
            <a:cxnSpLocks/>
          </p:cNvCxnSpPr>
          <p:nvPr/>
        </p:nvCxnSpPr>
        <p:spPr>
          <a:xfrm>
            <a:off x="7168585" y="2242636"/>
            <a:ext cx="4488909" cy="0"/>
          </a:xfrm>
          <a:prstGeom prst="straightConnector1">
            <a:avLst/>
          </a:prstGeom>
          <a:noFill/>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フローチャート: 他ページ結合子 21">
            <a:extLst>
              <a:ext uri="{FF2B5EF4-FFF2-40B4-BE49-F238E27FC236}">
                <a16:creationId xmlns:a16="http://schemas.microsoft.com/office/drawing/2014/main" id="{E3A53034-9097-A2B0-BA00-9805C113B3C4}"/>
              </a:ext>
            </a:extLst>
          </p:cNvPr>
          <p:cNvSpPr/>
          <p:nvPr/>
        </p:nvSpPr>
        <p:spPr bwMode="gray">
          <a:xfrm>
            <a:off x="209722" y="4488187"/>
            <a:ext cx="2164078" cy="876812"/>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チケッティング</a:t>
            </a:r>
          </a:p>
        </p:txBody>
      </p:sp>
      <p:sp>
        <p:nvSpPr>
          <p:cNvPr id="23" name="フローチャート: 他ページ結合子 22">
            <a:extLst>
              <a:ext uri="{FF2B5EF4-FFF2-40B4-BE49-F238E27FC236}">
                <a16:creationId xmlns:a16="http://schemas.microsoft.com/office/drawing/2014/main" id="{548B53C1-9515-859C-4FF6-ED37AFEFE4B3}"/>
              </a:ext>
            </a:extLst>
          </p:cNvPr>
          <p:cNvSpPr/>
          <p:nvPr/>
        </p:nvSpPr>
        <p:spPr bwMode="gray">
          <a:xfrm>
            <a:off x="210286" y="5578327"/>
            <a:ext cx="2164078" cy="669181"/>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目的地での</a:t>
            </a:r>
            <a:endParaRPr kumimoji="1" lang="en-US" altLang="ja-JP" sz="1600">
              <a:solidFill>
                <a:srgbClr val="0070C0"/>
              </a:solidFill>
              <a:latin typeface="+mn-ea"/>
            </a:endParaRPr>
          </a:p>
          <a:p>
            <a:pPr algn="ctr">
              <a:spcBef>
                <a:spcPts val="0"/>
              </a:spcBef>
              <a:spcAft>
                <a:spcPts val="300"/>
              </a:spcAft>
            </a:pPr>
            <a:r>
              <a:rPr kumimoji="1" lang="ja-JP" altLang="en-US" sz="1600">
                <a:solidFill>
                  <a:srgbClr val="0070C0"/>
                </a:solidFill>
                <a:latin typeface="+mn-ea"/>
              </a:rPr>
              <a:t>アクティビティ</a:t>
            </a:r>
          </a:p>
        </p:txBody>
      </p:sp>
      <p:cxnSp>
        <p:nvCxnSpPr>
          <p:cNvPr id="24" name="直線コネクタ 23">
            <a:extLst>
              <a:ext uri="{FF2B5EF4-FFF2-40B4-BE49-F238E27FC236}">
                <a16:creationId xmlns:a16="http://schemas.microsoft.com/office/drawing/2014/main" id="{67CF960F-BF89-4129-340B-68AB5FDE8755}"/>
              </a:ext>
            </a:extLst>
          </p:cNvPr>
          <p:cNvCxnSpPr>
            <a:cxnSpLocks/>
          </p:cNvCxnSpPr>
          <p:nvPr/>
        </p:nvCxnSpPr>
        <p:spPr>
          <a:xfrm>
            <a:off x="2469871" y="3225464"/>
            <a:ext cx="9187622" cy="0"/>
          </a:xfrm>
          <a:prstGeom prst="line">
            <a:avLst/>
          </a:prstGeom>
          <a:noFill/>
          <a:ln w="9525" cmpd="sng">
            <a:solidFill>
              <a:srgbClr val="919191"/>
            </a:solidFill>
            <a:prstDash val="dash"/>
          </a:ln>
        </p:spPr>
        <p:style>
          <a:lnRef idx="1">
            <a:schemeClr val="accent1"/>
          </a:lnRef>
          <a:fillRef idx="0">
            <a:schemeClr val="accent1"/>
          </a:fillRef>
          <a:effectRef idx="0">
            <a:schemeClr val="accent1"/>
          </a:effectRef>
          <a:fontRef idx="minor">
            <a:schemeClr val="tx1"/>
          </a:fontRef>
        </p:style>
      </p:cxnSp>
      <p:sp>
        <p:nvSpPr>
          <p:cNvPr id="25" name="フローチャート: 他ページ結合子 24">
            <a:extLst>
              <a:ext uri="{FF2B5EF4-FFF2-40B4-BE49-F238E27FC236}">
                <a16:creationId xmlns:a16="http://schemas.microsoft.com/office/drawing/2014/main" id="{B623064F-1224-9D0A-91B9-574A09BD6B31}"/>
              </a:ext>
            </a:extLst>
          </p:cNvPr>
          <p:cNvSpPr/>
          <p:nvPr/>
        </p:nvSpPr>
        <p:spPr bwMode="gray">
          <a:xfrm>
            <a:off x="209722" y="2304824"/>
            <a:ext cx="2164078" cy="920640"/>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経路検索</a:t>
            </a:r>
          </a:p>
        </p:txBody>
      </p:sp>
      <p:cxnSp>
        <p:nvCxnSpPr>
          <p:cNvPr id="26" name="直線コネクタ 25">
            <a:extLst>
              <a:ext uri="{FF2B5EF4-FFF2-40B4-BE49-F238E27FC236}">
                <a16:creationId xmlns:a16="http://schemas.microsoft.com/office/drawing/2014/main" id="{D275D890-34D1-720A-5568-058C5CE60E89}"/>
              </a:ext>
            </a:extLst>
          </p:cNvPr>
          <p:cNvCxnSpPr>
            <a:cxnSpLocks/>
          </p:cNvCxnSpPr>
          <p:nvPr/>
        </p:nvCxnSpPr>
        <p:spPr>
          <a:xfrm>
            <a:off x="2469871" y="4423646"/>
            <a:ext cx="9187622" cy="0"/>
          </a:xfrm>
          <a:prstGeom prst="line">
            <a:avLst/>
          </a:prstGeom>
          <a:noFill/>
          <a:ln w="9525" cmpd="sng">
            <a:solidFill>
              <a:srgbClr val="919191"/>
            </a:solidFill>
            <a:prstDash val="dash"/>
          </a:ln>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E7CB3556-2936-30A4-AEC6-65D0A1738CDB}"/>
              </a:ext>
            </a:extLst>
          </p:cNvPr>
          <p:cNvCxnSpPr>
            <a:cxnSpLocks/>
          </p:cNvCxnSpPr>
          <p:nvPr/>
        </p:nvCxnSpPr>
        <p:spPr>
          <a:xfrm>
            <a:off x="2469871" y="5414820"/>
            <a:ext cx="9187622" cy="0"/>
          </a:xfrm>
          <a:prstGeom prst="line">
            <a:avLst/>
          </a:prstGeom>
          <a:noFill/>
          <a:ln w="9525" cmpd="sng">
            <a:solidFill>
              <a:srgbClr val="919191"/>
            </a:solidFill>
            <a:prstDash val="dash"/>
          </a:ln>
        </p:spPr>
        <p:style>
          <a:lnRef idx="1">
            <a:schemeClr val="accent1"/>
          </a:lnRef>
          <a:fillRef idx="0">
            <a:schemeClr val="accent1"/>
          </a:fillRef>
          <a:effectRef idx="0">
            <a:schemeClr val="accent1"/>
          </a:effectRef>
          <a:fontRef idx="minor">
            <a:schemeClr val="tx1"/>
          </a:fontRef>
        </p:style>
      </p:cxnSp>
      <p:sp>
        <p:nvSpPr>
          <p:cNvPr id="28" name="テキスト ボックス 27">
            <a:extLst>
              <a:ext uri="{FF2B5EF4-FFF2-40B4-BE49-F238E27FC236}">
                <a16:creationId xmlns:a16="http://schemas.microsoft.com/office/drawing/2014/main" id="{90FD0E77-3888-581E-76F2-D03B3D6A162F}"/>
              </a:ext>
            </a:extLst>
          </p:cNvPr>
          <p:cNvSpPr txBox="1"/>
          <p:nvPr/>
        </p:nvSpPr>
        <p:spPr>
          <a:xfrm>
            <a:off x="2693619" y="2338595"/>
            <a:ext cx="4341889" cy="503590"/>
          </a:xfrm>
          <a:prstGeom prst="rect">
            <a:avLst/>
          </a:prstGeom>
          <a:noFill/>
        </p:spPr>
        <p:txBody>
          <a:bodyPr wrap="square" lIns="36000" tIns="36000" rIns="36000" bIns="36000" rtlCol="0">
            <a:spAutoFit/>
          </a:body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地域の</a:t>
            </a:r>
            <a:r>
              <a:rPr lang="en-US" altLang="ja-JP" sz="1400">
                <a:solidFill>
                  <a:srgbClr val="0070C0"/>
                </a:solidFill>
                <a:latin typeface="+mn-ea"/>
              </a:rPr>
              <a:t>AI</a:t>
            </a:r>
            <a:r>
              <a:rPr lang="ja-JP" altLang="en-US" sz="1400">
                <a:solidFill>
                  <a:srgbClr val="0070C0"/>
                </a:solidFill>
                <a:latin typeface="+mn-ea"/>
              </a:rPr>
              <a:t>オンデマンド交通を反映した経路検索が</a:t>
            </a:r>
            <a:br>
              <a:rPr lang="en-US" altLang="ja-JP" sz="1400">
                <a:solidFill>
                  <a:srgbClr val="0070C0"/>
                </a:solidFill>
                <a:latin typeface="+mn-ea"/>
              </a:rPr>
            </a:br>
            <a:r>
              <a:rPr lang="ja-JP" altLang="en-US" sz="1400">
                <a:solidFill>
                  <a:srgbClr val="0070C0"/>
                </a:solidFill>
                <a:latin typeface="+mn-ea"/>
              </a:rPr>
              <a:t>できない</a:t>
            </a:r>
            <a:endParaRPr lang="en-US" altLang="ja-JP" sz="1400">
              <a:solidFill>
                <a:srgbClr val="0070C0"/>
              </a:solidFill>
              <a:latin typeface="+mn-ea"/>
            </a:endParaRPr>
          </a:p>
        </p:txBody>
      </p:sp>
      <p:sp>
        <p:nvSpPr>
          <p:cNvPr id="29" name="テキスト ボックス 28">
            <a:extLst>
              <a:ext uri="{FF2B5EF4-FFF2-40B4-BE49-F238E27FC236}">
                <a16:creationId xmlns:a16="http://schemas.microsoft.com/office/drawing/2014/main" id="{51548927-EDC2-8320-9763-1100DEEB5C3D}"/>
              </a:ext>
            </a:extLst>
          </p:cNvPr>
          <p:cNvSpPr txBox="1"/>
          <p:nvPr/>
        </p:nvSpPr>
        <p:spPr>
          <a:xfrm>
            <a:off x="2693619" y="3341080"/>
            <a:ext cx="4316980" cy="288147"/>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交通モード個別のサイトで予約・決済</a:t>
            </a:r>
            <a:endParaRPr kumimoji="1" lang="en-US" altLang="ja-JP" sz="1400">
              <a:solidFill>
                <a:srgbClr val="0070C0"/>
              </a:solidFill>
              <a:latin typeface="+mn-ea"/>
            </a:endParaRPr>
          </a:p>
        </p:txBody>
      </p:sp>
      <p:sp>
        <p:nvSpPr>
          <p:cNvPr id="30" name="テキスト ボックス 29">
            <a:extLst>
              <a:ext uri="{FF2B5EF4-FFF2-40B4-BE49-F238E27FC236}">
                <a16:creationId xmlns:a16="http://schemas.microsoft.com/office/drawing/2014/main" id="{ABA7E6E7-22B8-6897-CAD1-5BB1F7243A11}"/>
              </a:ext>
            </a:extLst>
          </p:cNvPr>
          <p:cNvSpPr txBox="1"/>
          <p:nvPr/>
        </p:nvSpPr>
        <p:spPr>
          <a:xfrm>
            <a:off x="7157930" y="2335267"/>
            <a:ext cx="4885789" cy="503590"/>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lang="en-US" altLang="ja-JP">
                <a:solidFill>
                  <a:srgbClr val="0070C0"/>
                </a:solidFill>
              </a:rPr>
              <a:t>AI</a:t>
            </a:r>
            <a:r>
              <a:rPr lang="ja-JP" altLang="en-US">
                <a:solidFill>
                  <a:srgbClr val="0070C0"/>
                </a:solidFill>
              </a:rPr>
              <a:t>オンデマンド交通、コミュバス、シェアサイクル等のミクロな交通モードを含めた経路検索が可能。</a:t>
            </a:r>
            <a:endParaRPr kumimoji="1" lang="en-US" altLang="ja-JP" sz="1400">
              <a:solidFill>
                <a:srgbClr val="0070C0"/>
              </a:solidFill>
              <a:latin typeface="+mn-ea"/>
            </a:endParaRPr>
          </a:p>
        </p:txBody>
      </p:sp>
      <p:sp>
        <p:nvSpPr>
          <p:cNvPr id="31" name="テキスト ボックス 30">
            <a:extLst>
              <a:ext uri="{FF2B5EF4-FFF2-40B4-BE49-F238E27FC236}">
                <a16:creationId xmlns:a16="http://schemas.microsoft.com/office/drawing/2014/main" id="{97AC2652-6A11-4525-3831-C5116BDDAFD4}"/>
              </a:ext>
            </a:extLst>
          </p:cNvPr>
          <p:cNvSpPr txBox="1"/>
          <p:nvPr/>
        </p:nvSpPr>
        <p:spPr>
          <a:xfrm>
            <a:off x="7157930" y="3288878"/>
            <a:ext cx="4857760" cy="503590"/>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en-US" altLang="ja-JP" sz="1400" err="1">
                <a:solidFill>
                  <a:srgbClr val="0070C0"/>
                </a:solidFill>
                <a:latin typeface="+mn-ea"/>
              </a:rPr>
              <a:t>MaaS</a:t>
            </a:r>
            <a:r>
              <a:rPr kumimoji="1" lang="ja-JP" altLang="en-US" sz="1400">
                <a:solidFill>
                  <a:srgbClr val="0070C0"/>
                </a:solidFill>
                <a:latin typeface="+mn-ea"/>
              </a:rPr>
              <a:t>アプリの経路検索結果より、該当区間のチケットの予約、決済が可能</a:t>
            </a:r>
            <a:endParaRPr kumimoji="1" lang="en-US" altLang="ja-JP" sz="1400">
              <a:solidFill>
                <a:srgbClr val="0070C0"/>
              </a:solidFill>
              <a:latin typeface="+mn-ea"/>
            </a:endParaRPr>
          </a:p>
        </p:txBody>
      </p:sp>
      <p:sp>
        <p:nvSpPr>
          <p:cNvPr id="32" name="テキスト ボックス 31">
            <a:extLst>
              <a:ext uri="{FF2B5EF4-FFF2-40B4-BE49-F238E27FC236}">
                <a16:creationId xmlns:a16="http://schemas.microsoft.com/office/drawing/2014/main" id="{226A0974-299A-DA5C-F13B-FA16A7D473D9}"/>
              </a:ext>
            </a:extLst>
          </p:cNvPr>
          <p:cNvSpPr txBox="1"/>
          <p:nvPr/>
        </p:nvSpPr>
        <p:spPr>
          <a:xfrm>
            <a:off x="2693619" y="4482772"/>
            <a:ext cx="4316980" cy="503590"/>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該当エリアの周遊チケットは存在するが紙券での対応</a:t>
            </a:r>
            <a:endParaRPr kumimoji="1" lang="en-US" altLang="ja-JP" sz="1400">
              <a:solidFill>
                <a:srgbClr val="0070C0"/>
              </a:solidFill>
              <a:latin typeface="+mn-ea"/>
            </a:endParaRPr>
          </a:p>
        </p:txBody>
      </p:sp>
      <p:sp>
        <p:nvSpPr>
          <p:cNvPr id="33" name="テキスト ボックス 32">
            <a:extLst>
              <a:ext uri="{FF2B5EF4-FFF2-40B4-BE49-F238E27FC236}">
                <a16:creationId xmlns:a16="http://schemas.microsoft.com/office/drawing/2014/main" id="{C9FC6D16-CAD4-5B3E-F8B5-81D2A2D8CDCA}"/>
              </a:ext>
            </a:extLst>
          </p:cNvPr>
          <p:cNvSpPr txBox="1"/>
          <p:nvPr/>
        </p:nvSpPr>
        <p:spPr>
          <a:xfrm>
            <a:off x="7168585" y="4523652"/>
            <a:ext cx="4857760" cy="503590"/>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チケットをデジタル化し、鉄道の改札で</a:t>
            </a:r>
            <a:r>
              <a:rPr kumimoji="1" lang="en-US" altLang="ja-JP" sz="1400">
                <a:solidFill>
                  <a:srgbClr val="0070C0"/>
                </a:solidFill>
                <a:latin typeface="+mn-ea"/>
              </a:rPr>
              <a:t>QR</a:t>
            </a:r>
            <a:r>
              <a:rPr kumimoji="1" lang="ja-JP" altLang="en-US" sz="1400">
                <a:solidFill>
                  <a:srgbClr val="0070C0"/>
                </a:solidFill>
                <a:latin typeface="+mn-ea"/>
              </a:rPr>
              <a:t>コードを読み取り機に提示することで利用が可能。</a:t>
            </a:r>
          </a:p>
        </p:txBody>
      </p:sp>
      <p:sp>
        <p:nvSpPr>
          <p:cNvPr id="34" name="テキスト ボックス 33">
            <a:extLst>
              <a:ext uri="{FF2B5EF4-FFF2-40B4-BE49-F238E27FC236}">
                <a16:creationId xmlns:a16="http://schemas.microsoft.com/office/drawing/2014/main" id="{C89FC4AA-2731-E92F-D907-2D16595912E8}"/>
              </a:ext>
            </a:extLst>
          </p:cNvPr>
          <p:cNvSpPr txBox="1"/>
          <p:nvPr/>
        </p:nvSpPr>
        <p:spPr>
          <a:xfrm>
            <a:off x="2688819" y="5483595"/>
            <a:ext cx="4316980" cy="288147"/>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各施設で利用券を購入</a:t>
            </a:r>
          </a:p>
        </p:txBody>
      </p:sp>
      <p:sp>
        <p:nvSpPr>
          <p:cNvPr id="35" name="テキスト ボックス 34">
            <a:extLst>
              <a:ext uri="{FF2B5EF4-FFF2-40B4-BE49-F238E27FC236}">
                <a16:creationId xmlns:a16="http://schemas.microsoft.com/office/drawing/2014/main" id="{708AB7D6-2CDF-65E4-DFCF-96EFAC6FF818}"/>
              </a:ext>
            </a:extLst>
          </p:cNvPr>
          <p:cNvSpPr txBox="1"/>
          <p:nvPr/>
        </p:nvSpPr>
        <p:spPr>
          <a:xfrm>
            <a:off x="7143703" y="5483595"/>
            <a:ext cx="4857760" cy="719034"/>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様々な交通手段のフリー乗車券と地域や特定施設の特典を組み合わせたデジタル乗車券をオンラインで購入、サービス利用時は</a:t>
            </a:r>
            <a:r>
              <a:rPr kumimoji="1" lang="en-US" altLang="ja-JP" sz="1400">
                <a:solidFill>
                  <a:srgbClr val="0070C0"/>
                </a:solidFill>
                <a:latin typeface="+mn-ea"/>
              </a:rPr>
              <a:t>QR</a:t>
            </a:r>
            <a:r>
              <a:rPr kumimoji="1" lang="ja-JP" altLang="en-US" sz="1400">
                <a:solidFill>
                  <a:srgbClr val="0070C0"/>
                </a:solidFill>
                <a:latin typeface="+mn-ea"/>
              </a:rPr>
              <a:t>読み取り端末にかざすことで利用する。</a:t>
            </a:r>
          </a:p>
        </p:txBody>
      </p:sp>
      <p:sp>
        <p:nvSpPr>
          <p:cNvPr id="6" name="テキスト プレースホルダー 10">
            <a:extLst>
              <a:ext uri="{FF2B5EF4-FFF2-40B4-BE49-F238E27FC236}">
                <a16:creationId xmlns:a16="http://schemas.microsoft.com/office/drawing/2014/main" id="{06F06DD2-9B90-695B-AD25-50F75DE8988B}"/>
              </a:ext>
            </a:extLst>
          </p:cNvPr>
          <p:cNvSpPr txBox="1">
            <a:spLocks/>
          </p:cNvSpPr>
          <p:nvPr/>
        </p:nvSpPr>
        <p:spPr>
          <a:xfrm>
            <a:off x="300778" y="1197432"/>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kumimoji="1" lang="ja-JP" altLang="en-US" sz="1800" b="0" i="0" u="none" strike="noStrike" kern="1200" cap="none" spc="0" normalizeH="0" baseline="0" noProof="0">
                <a:ln>
                  <a:noFill/>
                </a:ln>
                <a:solidFill>
                  <a:srgbClr val="0070C0"/>
                </a:solidFill>
                <a:effectLst/>
                <a:uLnTx/>
                <a:uFillTx/>
                <a:latin typeface="BIZ UDPゴシック"/>
                <a:ea typeface="BIZ UDPゴシック"/>
                <a:cs typeface="+mn-cs"/>
              </a:rPr>
              <a:t>①新規</a:t>
            </a:r>
            <a:r>
              <a:rPr kumimoji="1" lang="en-US" altLang="ja-JP" sz="1800" b="0" i="0" u="none" strike="noStrike" kern="1200" cap="none" spc="0" normalizeH="0" baseline="0" noProof="0" err="1">
                <a:ln>
                  <a:noFill/>
                </a:ln>
                <a:solidFill>
                  <a:srgbClr val="0070C0"/>
                </a:solidFill>
                <a:effectLst/>
                <a:uLnTx/>
                <a:uFillTx/>
                <a:latin typeface="BIZ UDPゴシック"/>
                <a:ea typeface="BIZ UDPゴシック"/>
                <a:cs typeface="+mn-cs"/>
              </a:rPr>
              <a:t>MaaS</a:t>
            </a:r>
            <a:r>
              <a:rPr kumimoji="1" lang="ja-JP" altLang="en-US" sz="1800" b="0" i="0" u="none" strike="noStrike" kern="1200" cap="none" spc="0" normalizeH="0" baseline="0" noProof="0">
                <a:ln>
                  <a:noFill/>
                </a:ln>
                <a:solidFill>
                  <a:srgbClr val="0070C0"/>
                </a:solidFill>
                <a:effectLst/>
                <a:uLnTx/>
                <a:uFillTx/>
                <a:latin typeface="BIZ UDPゴシック"/>
                <a:ea typeface="BIZ UDPゴシック"/>
                <a:cs typeface="+mn-cs"/>
              </a:rPr>
              <a:t>アプリの開発</a:t>
            </a:r>
            <a:endParaRPr kumimoji="1" lang="en-US" altLang="ja-JP" sz="1800" b="0" i="0" u="none" strike="noStrike" kern="1200" cap="none" spc="0" normalizeH="0" baseline="0" noProof="0">
              <a:ln>
                <a:noFill/>
              </a:ln>
              <a:solidFill>
                <a:srgbClr val="0070C0"/>
              </a:solidFill>
              <a:effectLst/>
              <a:uLnTx/>
              <a:uFillTx/>
              <a:latin typeface="BIZ UDPゴシック"/>
              <a:ea typeface="BIZ UDPゴシック"/>
              <a:cs typeface="+mn-cs"/>
            </a:endParaRPr>
          </a:p>
        </p:txBody>
      </p:sp>
      <p:sp>
        <p:nvSpPr>
          <p:cNvPr id="8" name="テキスト ボックス 7">
            <a:extLst>
              <a:ext uri="{FF2B5EF4-FFF2-40B4-BE49-F238E27FC236}">
                <a16:creationId xmlns:a16="http://schemas.microsoft.com/office/drawing/2014/main" id="{01400420-A405-9FA0-FB58-53E4DBC1233D}"/>
              </a:ext>
            </a:extLst>
          </p:cNvPr>
          <p:cNvSpPr txBox="1"/>
          <p:nvPr/>
        </p:nvSpPr>
        <p:spPr>
          <a:xfrm>
            <a:off x="2521130" y="2986007"/>
            <a:ext cx="7455989" cy="2360039"/>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本プロジェクトが提供するＭａａＳ（アプリ、システム、商品、その他）によって、利用者体験が現在と比べてどのように変わるのか（どのような体験の変化を目指すのか）を具体的に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事業で提供するサービス単位で分けて記載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例　① 新規</a:t>
            </a:r>
            <a:r>
              <a:rPr kumimoji="0" lang="en-US" altLang="ja-JP" sz="1400" b="0" i="0" u="none" strike="noStrike" kern="0" cap="none" spc="0" normalizeH="0" baseline="0" noProof="0" err="1">
                <a:ln>
                  <a:noFill/>
                </a:ln>
                <a:solidFill>
                  <a:srgbClr val="FFFFFF"/>
                </a:solidFill>
                <a:effectLst/>
                <a:uLnTx/>
                <a:uFillTx/>
              </a:rPr>
              <a:t>MaaS</a:t>
            </a:r>
            <a:r>
              <a:rPr kumimoji="0" lang="ja-JP" altLang="en-US" sz="1400" b="0" i="0" u="none" strike="noStrike" kern="0" cap="none" spc="0" normalizeH="0" baseline="0" noProof="0">
                <a:ln>
                  <a:noFill/>
                </a:ln>
                <a:solidFill>
                  <a:srgbClr val="FFFFFF"/>
                </a:solidFill>
                <a:effectLst/>
                <a:uLnTx/>
                <a:uFillTx/>
              </a:rPr>
              <a:t>アプリの開発・サービス提供</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     </a:t>
            </a:r>
            <a:r>
              <a:rPr kumimoji="0" lang="ja-JP" altLang="en-US" sz="1400" b="0" i="0" u="none" strike="noStrike" kern="0" cap="none" spc="0" normalizeH="0" baseline="0" noProof="0">
                <a:ln>
                  <a:noFill/>
                </a:ln>
                <a:solidFill>
                  <a:srgbClr val="FFFFFF"/>
                </a:solidFill>
                <a:effectLst/>
                <a:uLnTx/>
                <a:uFillTx/>
              </a:rPr>
              <a:t>② サブスクサービスの提供</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　　 ③ プロモーションの実施​</a:t>
            </a:r>
            <a:endParaRPr kumimoji="0" lang="en-US" altLang="ja-JP"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36851163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a:xfrm>
            <a:off x="300778" y="655357"/>
            <a:ext cx="11891221" cy="432000"/>
          </a:xfrm>
        </p:spPr>
        <p:txBody>
          <a:bodyPr vert="horz"/>
          <a:lstStyle/>
          <a:p>
            <a:r>
              <a:rPr lang="ja-JP" altLang="en-US"/>
              <a:t>１</a:t>
            </a:r>
            <a:r>
              <a:rPr lang="en-US" altLang="ja-JP"/>
              <a:t>.</a:t>
            </a:r>
            <a:r>
              <a:rPr lang="ja-JP" altLang="en-US"/>
              <a:t>サービス全体像│実現する</a:t>
            </a:r>
            <a:r>
              <a:rPr lang="en-US" altLang="ja-JP"/>
              <a:t>UX</a:t>
            </a:r>
            <a:endParaRPr lang="ja-JP" altLang="en-US"/>
          </a:p>
        </p:txBody>
      </p:sp>
      <p:sp>
        <p:nvSpPr>
          <p:cNvPr id="11" name="テキスト プレースホルダー 10">
            <a:extLst>
              <a:ext uri="{FF2B5EF4-FFF2-40B4-BE49-F238E27FC236}">
                <a16:creationId xmlns:a16="http://schemas.microsoft.com/office/drawing/2014/main" id="{5B8ABDA1-3D2A-BE6F-2D47-4B44E4CE9142}"/>
              </a:ext>
            </a:extLst>
          </p:cNvPr>
          <p:cNvSpPr>
            <a:spLocks noGrp="1"/>
          </p:cNvSpPr>
          <p:nvPr>
            <p:ph type="body" sz="quarter" idx="4294967295"/>
          </p:nvPr>
        </p:nvSpPr>
        <p:spPr>
          <a:xfrm>
            <a:off x="300778" y="1743000"/>
            <a:ext cx="11376000" cy="323165"/>
          </a:xfrm>
        </p:spPr>
        <p:txBody>
          <a:bodyPr>
            <a:normAutofit fontScale="92500" lnSpcReduction="2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マリーを記載</a:t>
            </a: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7" name="フローチャート: 他ページ結合子 16">
            <a:extLst>
              <a:ext uri="{FF2B5EF4-FFF2-40B4-BE49-F238E27FC236}">
                <a16:creationId xmlns:a16="http://schemas.microsoft.com/office/drawing/2014/main" id="{53F10FF5-7C3A-04E7-4D0E-3EC2A9EB89FC}"/>
              </a:ext>
            </a:extLst>
          </p:cNvPr>
          <p:cNvSpPr/>
          <p:nvPr/>
        </p:nvSpPr>
        <p:spPr bwMode="gray">
          <a:xfrm>
            <a:off x="209722" y="3035663"/>
            <a:ext cx="2164078" cy="757505"/>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情報発信</a:t>
            </a:r>
          </a:p>
        </p:txBody>
      </p:sp>
      <p:sp>
        <p:nvSpPr>
          <p:cNvPr id="18" name="正方形/長方形 17">
            <a:extLst>
              <a:ext uri="{FF2B5EF4-FFF2-40B4-BE49-F238E27FC236}">
                <a16:creationId xmlns:a16="http://schemas.microsoft.com/office/drawing/2014/main" id="{E9664A3C-1A6D-1DEA-5030-08206BBAF59D}"/>
              </a:ext>
            </a:extLst>
          </p:cNvPr>
          <p:cNvSpPr/>
          <p:nvPr/>
        </p:nvSpPr>
        <p:spPr bwMode="gray">
          <a:xfrm>
            <a:off x="2374364" y="1904109"/>
            <a:ext cx="4783566" cy="338527"/>
          </a:xfrm>
          <a:prstGeom prst="rect">
            <a:avLst/>
          </a:prstGeom>
          <a:noFill/>
          <a:ln w="6350">
            <a:noFill/>
            <a:miter lim="800000"/>
            <a:headEnd/>
            <a:tailEnd/>
          </a:ln>
          <a:effectLst/>
          <a:extLst>
            <a:ext uri="{91240B29-F687-4F45-9708-019B960494DF}">
              <a14:hiddenLine xmlns:a14="http://schemas.microsoft.com/office/drawing/2010/main" w="6350">
                <a:solidFill>
                  <a:schemeClr val="tx1"/>
                </a:solidFill>
                <a:miter lim="800000"/>
                <a:headEnd/>
                <a:tailEnd/>
              </a14:hiddenLine>
            </a:ext>
          </a:extLst>
        </p:spPr>
        <p:txBody>
          <a:bodyPr vert="horz" wrap="none" lIns="72000" tIns="72000" rIns="72000" bIns="72000" numCol="1" rtlCol="0" anchor="ctr" anchorCtr="0" compatLnSpc="1">
            <a:prstTxWarp prst="textNoShape">
              <a:avLst/>
            </a:prstTxWarp>
            <a:noAutofit/>
          </a:bodyPr>
          <a:lstStyle/>
          <a:p>
            <a:pPr algn="ctr"/>
            <a:r>
              <a:rPr kumimoji="1" lang="ja-JP" altLang="en-US" sz="1400">
                <a:latin typeface="+mn-ea"/>
              </a:rPr>
              <a:t>従来の</a:t>
            </a:r>
            <a:r>
              <a:rPr kumimoji="1" lang="en-US" altLang="ja-JP" sz="1400">
                <a:latin typeface="+mn-ea"/>
              </a:rPr>
              <a:t>UX</a:t>
            </a:r>
            <a:endParaRPr kumimoji="1" lang="ja-JP" altLang="en-US" sz="1400">
              <a:latin typeface="+mn-ea"/>
            </a:endParaRPr>
          </a:p>
        </p:txBody>
      </p:sp>
      <p:cxnSp>
        <p:nvCxnSpPr>
          <p:cNvPr id="19" name="直線矢印コネクタ 18">
            <a:extLst>
              <a:ext uri="{FF2B5EF4-FFF2-40B4-BE49-F238E27FC236}">
                <a16:creationId xmlns:a16="http://schemas.microsoft.com/office/drawing/2014/main" id="{988F5D47-E5D3-5BF3-75A0-F784D65E7675}"/>
              </a:ext>
            </a:extLst>
          </p:cNvPr>
          <p:cNvCxnSpPr>
            <a:cxnSpLocks/>
          </p:cNvCxnSpPr>
          <p:nvPr/>
        </p:nvCxnSpPr>
        <p:spPr>
          <a:xfrm>
            <a:off x="2521691" y="2242636"/>
            <a:ext cx="4488909" cy="0"/>
          </a:xfrm>
          <a:prstGeom prst="straightConnector1">
            <a:avLst/>
          </a:prstGeom>
          <a:noFill/>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正方形/長方形 19">
            <a:extLst>
              <a:ext uri="{FF2B5EF4-FFF2-40B4-BE49-F238E27FC236}">
                <a16:creationId xmlns:a16="http://schemas.microsoft.com/office/drawing/2014/main" id="{A1D40746-BF49-AC90-B951-2E85999D00C9}"/>
              </a:ext>
            </a:extLst>
          </p:cNvPr>
          <p:cNvSpPr/>
          <p:nvPr/>
        </p:nvSpPr>
        <p:spPr bwMode="gray">
          <a:xfrm>
            <a:off x="7021258" y="1904109"/>
            <a:ext cx="4783566" cy="338527"/>
          </a:xfrm>
          <a:prstGeom prst="rect">
            <a:avLst/>
          </a:prstGeom>
          <a:noFill/>
          <a:ln w="6350">
            <a:noFill/>
            <a:miter lim="800000"/>
            <a:headEnd/>
            <a:tailEnd/>
          </a:ln>
          <a:effectLst/>
          <a:extLst>
            <a:ext uri="{91240B29-F687-4F45-9708-019B960494DF}">
              <a14:hiddenLine xmlns:a14="http://schemas.microsoft.com/office/drawing/2010/main" w="6350">
                <a:solidFill>
                  <a:schemeClr val="tx1"/>
                </a:solidFill>
                <a:miter lim="800000"/>
                <a:headEnd/>
                <a:tailEnd/>
              </a14:hiddenLine>
            </a:ext>
          </a:extLst>
        </p:spPr>
        <p:txBody>
          <a:bodyPr vert="horz" wrap="none" lIns="72000" tIns="72000" rIns="72000" bIns="72000" numCol="1" rtlCol="0" anchor="ctr" anchorCtr="0" compatLnSpc="1">
            <a:prstTxWarp prst="textNoShape">
              <a:avLst/>
            </a:prstTxWarp>
            <a:noAutofit/>
          </a:bodyPr>
          <a:lstStyle/>
          <a:p>
            <a:pPr algn="ctr"/>
            <a:r>
              <a:rPr kumimoji="1" lang="ja-JP" altLang="en-US" sz="1400">
                <a:latin typeface="+mn-ea"/>
              </a:rPr>
              <a:t>本プロジェクトが目指す</a:t>
            </a:r>
            <a:r>
              <a:rPr kumimoji="1" lang="en-US" altLang="ja-JP" sz="1400">
                <a:latin typeface="+mn-ea"/>
              </a:rPr>
              <a:t>UX</a:t>
            </a:r>
            <a:endParaRPr kumimoji="1" lang="ja-JP" altLang="en-US" sz="1400">
              <a:latin typeface="+mn-ea"/>
            </a:endParaRPr>
          </a:p>
        </p:txBody>
      </p:sp>
      <p:cxnSp>
        <p:nvCxnSpPr>
          <p:cNvPr id="21" name="直線矢印コネクタ 20">
            <a:extLst>
              <a:ext uri="{FF2B5EF4-FFF2-40B4-BE49-F238E27FC236}">
                <a16:creationId xmlns:a16="http://schemas.microsoft.com/office/drawing/2014/main" id="{2C5A1D27-39E7-7A74-E0C6-11903FAA5D16}"/>
              </a:ext>
            </a:extLst>
          </p:cNvPr>
          <p:cNvCxnSpPr>
            <a:cxnSpLocks/>
          </p:cNvCxnSpPr>
          <p:nvPr/>
        </p:nvCxnSpPr>
        <p:spPr>
          <a:xfrm>
            <a:off x="7168585" y="2242636"/>
            <a:ext cx="4488909" cy="0"/>
          </a:xfrm>
          <a:prstGeom prst="straightConnector1">
            <a:avLst/>
          </a:prstGeom>
          <a:noFill/>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フローチャート: 他ページ結合子 21">
            <a:extLst>
              <a:ext uri="{FF2B5EF4-FFF2-40B4-BE49-F238E27FC236}">
                <a16:creationId xmlns:a16="http://schemas.microsoft.com/office/drawing/2014/main" id="{E3A53034-9097-A2B0-BA00-9805C113B3C4}"/>
              </a:ext>
            </a:extLst>
          </p:cNvPr>
          <p:cNvSpPr/>
          <p:nvPr/>
        </p:nvSpPr>
        <p:spPr bwMode="gray">
          <a:xfrm>
            <a:off x="209722" y="4001614"/>
            <a:ext cx="2164078" cy="589536"/>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チケット購入・移動</a:t>
            </a:r>
          </a:p>
        </p:txBody>
      </p:sp>
      <p:cxnSp>
        <p:nvCxnSpPr>
          <p:cNvPr id="24" name="直線コネクタ 23">
            <a:extLst>
              <a:ext uri="{FF2B5EF4-FFF2-40B4-BE49-F238E27FC236}">
                <a16:creationId xmlns:a16="http://schemas.microsoft.com/office/drawing/2014/main" id="{67CF960F-BF89-4129-340B-68AB5FDE8755}"/>
              </a:ext>
            </a:extLst>
          </p:cNvPr>
          <p:cNvCxnSpPr>
            <a:cxnSpLocks/>
          </p:cNvCxnSpPr>
          <p:nvPr/>
        </p:nvCxnSpPr>
        <p:spPr>
          <a:xfrm>
            <a:off x="2469871" y="3014451"/>
            <a:ext cx="9187622" cy="0"/>
          </a:xfrm>
          <a:prstGeom prst="line">
            <a:avLst/>
          </a:prstGeom>
          <a:noFill/>
          <a:ln w="9525" cmpd="sng">
            <a:solidFill>
              <a:srgbClr val="919191"/>
            </a:solidFill>
            <a:prstDash val="dash"/>
          </a:ln>
        </p:spPr>
        <p:style>
          <a:lnRef idx="1">
            <a:schemeClr val="accent1"/>
          </a:lnRef>
          <a:fillRef idx="0">
            <a:schemeClr val="accent1"/>
          </a:fillRef>
          <a:effectRef idx="0">
            <a:schemeClr val="accent1"/>
          </a:effectRef>
          <a:fontRef idx="minor">
            <a:schemeClr val="tx1"/>
          </a:fontRef>
        </p:style>
      </p:cxnSp>
      <p:sp>
        <p:nvSpPr>
          <p:cNvPr id="25" name="フローチャート: 他ページ結合子 24">
            <a:extLst>
              <a:ext uri="{FF2B5EF4-FFF2-40B4-BE49-F238E27FC236}">
                <a16:creationId xmlns:a16="http://schemas.microsoft.com/office/drawing/2014/main" id="{B623064F-1224-9D0A-91B9-574A09BD6B31}"/>
              </a:ext>
            </a:extLst>
          </p:cNvPr>
          <p:cNvSpPr/>
          <p:nvPr/>
        </p:nvSpPr>
        <p:spPr bwMode="gray">
          <a:xfrm>
            <a:off x="209722" y="2304824"/>
            <a:ext cx="2164078" cy="588401"/>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商品造成</a:t>
            </a:r>
          </a:p>
        </p:txBody>
      </p:sp>
      <p:cxnSp>
        <p:nvCxnSpPr>
          <p:cNvPr id="26" name="直線コネクタ 25">
            <a:extLst>
              <a:ext uri="{FF2B5EF4-FFF2-40B4-BE49-F238E27FC236}">
                <a16:creationId xmlns:a16="http://schemas.microsoft.com/office/drawing/2014/main" id="{D275D890-34D1-720A-5568-058C5CE60E89}"/>
              </a:ext>
            </a:extLst>
          </p:cNvPr>
          <p:cNvCxnSpPr>
            <a:cxnSpLocks/>
          </p:cNvCxnSpPr>
          <p:nvPr/>
        </p:nvCxnSpPr>
        <p:spPr>
          <a:xfrm>
            <a:off x="2469871" y="4001613"/>
            <a:ext cx="9187622" cy="0"/>
          </a:xfrm>
          <a:prstGeom prst="line">
            <a:avLst/>
          </a:prstGeom>
          <a:noFill/>
          <a:ln w="9525" cmpd="sng">
            <a:solidFill>
              <a:srgbClr val="919191"/>
            </a:solidFill>
            <a:prstDash val="dash"/>
          </a:ln>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E7CB3556-2936-30A4-AEC6-65D0A1738CDB}"/>
              </a:ext>
            </a:extLst>
          </p:cNvPr>
          <p:cNvCxnSpPr>
            <a:cxnSpLocks/>
          </p:cNvCxnSpPr>
          <p:nvPr/>
        </p:nvCxnSpPr>
        <p:spPr>
          <a:xfrm>
            <a:off x="2469871" y="4739581"/>
            <a:ext cx="9187622" cy="0"/>
          </a:xfrm>
          <a:prstGeom prst="line">
            <a:avLst/>
          </a:prstGeom>
          <a:noFill/>
          <a:ln w="9525" cmpd="sng">
            <a:solidFill>
              <a:srgbClr val="919191"/>
            </a:solidFill>
            <a:prstDash val="dash"/>
          </a:ln>
        </p:spPr>
        <p:style>
          <a:lnRef idx="1">
            <a:schemeClr val="accent1"/>
          </a:lnRef>
          <a:fillRef idx="0">
            <a:schemeClr val="accent1"/>
          </a:fillRef>
          <a:effectRef idx="0">
            <a:schemeClr val="accent1"/>
          </a:effectRef>
          <a:fontRef idx="minor">
            <a:schemeClr val="tx1"/>
          </a:fontRef>
        </p:style>
      </p:cxnSp>
      <p:sp>
        <p:nvSpPr>
          <p:cNvPr id="28" name="テキスト ボックス 27">
            <a:extLst>
              <a:ext uri="{FF2B5EF4-FFF2-40B4-BE49-F238E27FC236}">
                <a16:creationId xmlns:a16="http://schemas.microsoft.com/office/drawing/2014/main" id="{90FD0E77-3888-581E-76F2-D03B3D6A162F}"/>
              </a:ext>
            </a:extLst>
          </p:cNvPr>
          <p:cNvSpPr txBox="1"/>
          <p:nvPr/>
        </p:nvSpPr>
        <p:spPr>
          <a:xfrm>
            <a:off x="2693619" y="2338595"/>
            <a:ext cx="4341889" cy="542062"/>
          </a:xfrm>
          <a:prstGeom prst="rect">
            <a:avLst/>
          </a:prstGeom>
          <a:noFill/>
        </p:spPr>
        <p:txBody>
          <a:bodyPr wrap="square" lIns="36000" tIns="36000" rIns="36000" bIns="36000" rtlCol="0">
            <a:spAutoFit/>
          </a:body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商品の企画から発売まで時間がかかる。</a:t>
            </a:r>
            <a:endParaRPr kumimoji="1" lang="en-US" altLang="ja-JP" sz="1400">
              <a:solidFill>
                <a:srgbClr val="0070C0"/>
              </a:solidFill>
              <a:latin typeface="+mn-ea"/>
            </a:endParaRPr>
          </a:p>
          <a:p>
            <a:pPr marL="285750" indent="-285750">
              <a:spcBef>
                <a:spcPts val="300"/>
              </a:spcBef>
              <a:buFont typeface="Arial" panose="020B0604020202020204" pitchFamily="34" charset="0"/>
              <a:buChar char="•"/>
            </a:pPr>
            <a:r>
              <a:rPr kumimoji="1" lang="ja-JP" altLang="en-US" sz="1400">
                <a:solidFill>
                  <a:srgbClr val="0070C0"/>
                </a:solidFill>
                <a:latin typeface="+mn-ea"/>
              </a:rPr>
              <a:t>どのようにつくれば良いのか分からない。</a:t>
            </a:r>
          </a:p>
        </p:txBody>
      </p:sp>
      <p:sp>
        <p:nvSpPr>
          <p:cNvPr id="29" name="テキスト ボックス 28">
            <a:extLst>
              <a:ext uri="{FF2B5EF4-FFF2-40B4-BE49-F238E27FC236}">
                <a16:creationId xmlns:a16="http://schemas.microsoft.com/office/drawing/2014/main" id="{51548927-EDC2-8320-9763-1100DEEB5C3D}"/>
              </a:ext>
            </a:extLst>
          </p:cNvPr>
          <p:cNvSpPr txBox="1"/>
          <p:nvPr/>
        </p:nvSpPr>
        <p:spPr>
          <a:xfrm>
            <a:off x="2693619" y="3087864"/>
            <a:ext cx="4316980" cy="757506"/>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イベントや施設など目的地情報を集める手段がない。</a:t>
            </a:r>
          </a:p>
          <a:p>
            <a:pPr marL="285750" indent="-285750">
              <a:spcBef>
                <a:spcPts val="300"/>
              </a:spcBef>
              <a:buFont typeface="Arial" panose="020B0604020202020204" pitchFamily="34" charset="0"/>
              <a:buChar char="•"/>
            </a:pPr>
            <a:r>
              <a:rPr kumimoji="1" lang="ja-JP" altLang="en-US" sz="1400">
                <a:solidFill>
                  <a:srgbClr val="0070C0"/>
                </a:solidFill>
                <a:latin typeface="+mn-ea"/>
              </a:rPr>
              <a:t>目的地までの経路はわかるが、遅れ情報や運休まではわからない。</a:t>
            </a:r>
          </a:p>
        </p:txBody>
      </p:sp>
      <p:sp>
        <p:nvSpPr>
          <p:cNvPr id="30" name="テキスト ボックス 29">
            <a:extLst>
              <a:ext uri="{FF2B5EF4-FFF2-40B4-BE49-F238E27FC236}">
                <a16:creationId xmlns:a16="http://schemas.microsoft.com/office/drawing/2014/main" id="{ABA7E6E7-22B8-6897-CAD1-5BB1F7243A11}"/>
              </a:ext>
            </a:extLst>
          </p:cNvPr>
          <p:cNvSpPr txBox="1"/>
          <p:nvPr/>
        </p:nvSpPr>
        <p:spPr>
          <a:xfrm>
            <a:off x="7157930" y="2335267"/>
            <a:ext cx="5034069" cy="542062"/>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協議会でノウハウを集約し周知・共有を行う。</a:t>
            </a:r>
            <a:endParaRPr kumimoji="1" lang="en-US" altLang="ja-JP" sz="1400">
              <a:solidFill>
                <a:srgbClr val="0070C0"/>
              </a:solidFill>
              <a:latin typeface="+mn-ea"/>
            </a:endParaRPr>
          </a:p>
          <a:p>
            <a:pPr marL="285750" indent="-285750">
              <a:spcBef>
                <a:spcPts val="300"/>
              </a:spcBef>
              <a:buFont typeface="Arial" panose="020B0604020202020204" pitchFamily="34" charset="0"/>
              <a:buChar char="•"/>
            </a:pPr>
            <a:r>
              <a:rPr kumimoji="1" lang="ja-JP" altLang="en-US" sz="1400">
                <a:solidFill>
                  <a:srgbClr val="0070C0"/>
                </a:solidFill>
                <a:latin typeface="+mn-ea"/>
              </a:rPr>
              <a:t>ノーコードツールにより簡単かつスピーディに造成可能に。</a:t>
            </a:r>
          </a:p>
        </p:txBody>
      </p:sp>
      <p:sp>
        <p:nvSpPr>
          <p:cNvPr id="31" name="テキスト ボックス 30">
            <a:extLst>
              <a:ext uri="{FF2B5EF4-FFF2-40B4-BE49-F238E27FC236}">
                <a16:creationId xmlns:a16="http://schemas.microsoft.com/office/drawing/2014/main" id="{97AC2652-6A11-4525-3831-C5116BDDAFD4}"/>
              </a:ext>
            </a:extLst>
          </p:cNvPr>
          <p:cNvSpPr txBox="1"/>
          <p:nvPr/>
        </p:nvSpPr>
        <p:spPr>
          <a:xfrm>
            <a:off x="7157930" y="3035662"/>
            <a:ext cx="4857760" cy="757506"/>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イベントや施設情報などの目的地に関する情報が同一アプリで把握できる。</a:t>
            </a:r>
          </a:p>
          <a:p>
            <a:pPr marL="285750" indent="-285750">
              <a:spcBef>
                <a:spcPts val="300"/>
              </a:spcBef>
              <a:buFont typeface="Arial" panose="020B0604020202020204" pitchFamily="34" charset="0"/>
              <a:buChar char="•"/>
            </a:pPr>
            <a:r>
              <a:rPr kumimoji="1" lang="ja-JP" altLang="en-US" sz="1400">
                <a:solidFill>
                  <a:srgbClr val="0070C0"/>
                </a:solidFill>
                <a:latin typeface="+mn-ea"/>
              </a:rPr>
              <a:t>目的地までの経路や交通のリアルタイム情報がわかる。</a:t>
            </a:r>
          </a:p>
        </p:txBody>
      </p:sp>
      <p:sp>
        <p:nvSpPr>
          <p:cNvPr id="32" name="テキスト ボックス 31">
            <a:extLst>
              <a:ext uri="{FF2B5EF4-FFF2-40B4-BE49-F238E27FC236}">
                <a16:creationId xmlns:a16="http://schemas.microsoft.com/office/drawing/2014/main" id="{226A0974-299A-DA5C-F13B-FA16A7D473D9}"/>
              </a:ext>
            </a:extLst>
          </p:cNvPr>
          <p:cNvSpPr txBox="1"/>
          <p:nvPr/>
        </p:nvSpPr>
        <p:spPr>
          <a:xfrm>
            <a:off x="2693619" y="4046679"/>
            <a:ext cx="4316980" cy="503590"/>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複数の交通を乗り継ぐ場合、各社それぞれのサービスを利用し、予約・決済をする必要がある。</a:t>
            </a:r>
          </a:p>
        </p:txBody>
      </p:sp>
      <p:sp>
        <p:nvSpPr>
          <p:cNvPr id="33" name="テキスト ボックス 32">
            <a:extLst>
              <a:ext uri="{FF2B5EF4-FFF2-40B4-BE49-F238E27FC236}">
                <a16:creationId xmlns:a16="http://schemas.microsoft.com/office/drawing/2014/main" id="{C9FC6D16-CAD4-5B3E-F8B5-81D2A2D8CDCA}"/>
              </a:ext>
            </a:extLst>
          </p:cNvPr>
          <p:cNvSpPr txBox="1"/>
          <p:nvPr/>
        </p:nvSpPr>
        <p:spPr>
          <a:xfrm>
            <a:off x="7168585" y="4087559"/>
            <a:ext cx="4857760" cy="503590"/>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en-US" altLang="ja-JP" sz="1400">
                <a:solidFill>
                  <a:srgbClr val="0070C0"/>
                </a:solidFill>
                <a:latin typeface="+mn-ea"/>
              </a:rPr>
              <a:t>1</a:t>
            </a:r>
            <a:r>
              <a:rPr kumimoji="1" lang="ja-JP" altLang="en-US" sz="1400">
                <a:solidFill>
                  <a:srgbClr val="0070C0"/>
                </a:solidFill>
                <a:latin typeface="+mn-ea"/>
              </a:rPr>
              <a:t>つのアプリから画面を提示、または</a:t>
            </a:r>
            <a:r>
              <a:rPr kumimoji="1" lang="en-US" altLang="ja-JP" sz="1400">
                <a:solidFill>
                  <a:srgbClr val="0070C0"/>
                </a:solidFill>
                <a:latin typeface="+mn-ea"/>
              </a:rPr>
              <a:t>QR</a:t>
            </a:r>
            <a:r>
              <a:rPr kumimoji="1" lang="ja-JP" altLang="en-US" sz="1400">
                <a:solidFill>
                  <a:srgbClr val="0070C0"/>
                </a:solidFill>
                <a:latin typeface="+mn-ea"/>
              </a:rPr>
              <a:t>をかざすだけで、スムーズに移動することができる。</a:t>
            </a:r>
          </a:p>
        </p:txBody>
      </p:sp>
      <p:sp>
        <p:nvSpPr>
          <p:cNvPr id="6" name="テキスト プレースホルダー 10">
            <a:extLst>
              <a:ext uri="{FF2B5EF4-FFF2-40B4-BE49-F238E27FC236}">
                <a16:creationId xmlns:a16="http://schemas.microsoft.com/office/drawing/2014/main" id="{06F06DD2-9B90-695B-AD25-50F75DE8988B}"/>
              </a:ext>
            </a:extLst>
          </p:cNvPr>
          <p:cNvSpPr txBox="1">
            <a:spLocks/>
          </p:cNvSpPr>
          <p:nvPr/>
        </p:nvSpPr>
        <p:spPr>
          <a:xfrm>
            <a:off x="300778" y="1197432"/>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R="0" lvl="0" algn="l" defTabSz="914400" rtl="0" eaLnBrk="1" fontAlgn="auto" latinLnBrk="0" hangingPunct="1">
              <a:lnSpc>
                <a:spcPct val="100000"/>
              </a:lnSpc>
              <a:spcBef>
                <a:spcPts val="300"/>
              </a:spcBef>
              <a:spcAft>
                <a:spcPts val="0"/>
              </a:spcAft>
              <a:buClrTx/>
              <a:buSzTx/>
              <a:tabLst/>
              <a:defRPr/>
            </a:pPr>
            <a:r>
              <a:rPr lang="ja-JP" altLang="en-US" sz="1800">
                <a:solidFill>
                  <a:srgbClr val="0070C0"/>
                </a:solidFill>
                <a:latin typeface="BIZ UDPゴシック"/>
                <a:ea typeface="BIZ UDPゴシック"/>
              </a:rPr>
              <a:t>②デジタルパスの販売</a:t>
            </a:r>
            <a:endParaRPr lang="en-US" altLang="ja-JP" sz="1800">
              <a:solidFill>
                <a:srgbClr val="0070C0"/>
              </a:solidFill>
              <a:latin typeface="BIZ UDPゴシック"/>
              <a:ea typeface="BIZ UDPゴシック"/>
            </a:endParaRPr>
          </a:p>
        </p:txBody>
      </p:sp>
      <p:sp>
        <p:nvSpPr>
          <p:cNvPr id="3" name="テキスト ボックス 2">
            <a:extLst>
              <a:ext uri="{FF2B5EF4-FFF2-40B4-BE49-F238E27FC236}">
                <a16:creationId xmlns:a16="http://schemas.microsoft.com/office/drawing/2014/main" id="{59B34644-110E-1C8E-FC11-B0A08110804F}"/>
              </a:ext>
            </a:extLst>
          </p:cNvPr>
          <p:cNvSpPr txBox="1"/>
          <p:nvPr/>
        </p:nvSpPr>
        <p:spPr>
          <a:xfrm>
            <a:off x="7168585" y="4785528"/>
            <a:ext cx="4857760" cy="503590"/>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利用実績からユーザーに再来訪を促すプッシュ通知やクーポンの配布など、再来訪を促すような施策検討が可能。</a:t>
            </a:r>
          </a:p>
        </p:txBody>
      </p:sp>
      <p:sp>
        <p:nvSpPr>
          <p:cNvPr id="7" name="フローチャート: 他ページ結合子 6">
            <a:extLst>
              <a:ext uri="{FF2B5EF4-FFF2-40B4-BE49-F238E27FC236}">
                <a16:creationId xmlns:a16="http://schemas.microsoft.com/office/drawing/2014/main" id="{9E1F97B9-D0E5-41B1-D2C7-9ACEFF3039F1}"/>
              </a:ext>
            </a:extLst>
          </p:cNvPr>
          <p:cNvSpPr/>
          <p:nvPr/>
        </p:nvSpPr>
        <p:spPr bwMode="gray">
          <a:xfrm>
            <a:off x="209722" y="4742555"/>
            <a:ext cx="2164078" cy="589536"/>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アフターフォロー</a:t>
            </a:r>
          </a:p>
        </p:txBody>
      </p:sp>
      <p:sp>
        <p:nvSpPr>
          <p:cNvPr id="8" name="フローチャート: 他ページ結合子 7">
            <a:extLst>
              <a:ext uri="{FF2B5EF4-FFF2-40B4-BE49-F238E27FC236}">
                <a16:creationId xmlns:a16="http://schemas.microsoft.com/office/drawing/2014/main" id="{9806A545-7B24-7E3B-5128-CCBF51102301}"/>
              </a:ext>
            </a:extLst>
          </p:cNvPr>
          <p:cNvSpPr/>
          <p:nvPr/>
        </p:nvSpPr>
        <p:spPr bwMode="gray">
          <a:xfrm>
            <a:off x="209722" y="5507140"/>
            <a:ext cx="2164078" cy="589536"/>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サービス改善</a:t>
            </a:r>
          </a:p>
        </p:txBody>
      </p:sp>
      <p:cxnSp>
        <p:nvCxnSpPr>
          <p:cNvPr id="10" name="直線コネクタ 9">
            <a:extLst>
              <a:ext uri="{FF2B5EF4-FFF2-40B4-BE49-F238E27FC236}">
                <a16:creationId xmlns:a16="http://schemas.microsoft.com/office/drawing/2014/main" id="{7AB227D4-2B59-71E8-9257-8212D4AA605A}"/>
              </a:ext>
            </a:extLst>
          </p:cNvPr>
          <p:cNvCxnSpPr>
            <a:cxnSpLocks/>
          </p:cNvCxnSpPr>
          <p:nvPr/>
        </p:nvCxnSpPr>
        <p:spPr>
          <a:xfrm>
            <a:off x="2469871" y="5489490"/>
            <a:ext cx="9187622" cy="0"/>
          </a:xfrm>
          <a:prstGeom prst="line">
            <a:avLst/>
          </a:prstGeom>
          <a:noFill/>
          <a:ln w="9525" cmpd="sng">
            <a:solidFill>
              <a:srgbClr val="919191"/>
            </a:solidFill>
            <a:prstDash val="dash"/>
          </a:ln>
        </p:spPr>
        <p:style>
          <a:lnRef idx="1">
            <a:schemeClr val="accent1"/>
          </a:lnRef>
          <a:fillRef idx="0">
            <a:schemeClr val="accent1"/>
          </a:fillRef>
          <a:effectRef idx="0">
            <a:schemeClr val="accent1"/>
          </a:effectRef>
          <a:fontRef idx="minor">
            <a:schemeClr val="tx1"/>
          </a:fontRef>
        </p:style>
      </p:cxnSp>
      <p:sp>
        <p:nvSpPr>
          <p:cNvPr id="12" name="テキスト ボックス 11">
            <a:extLst>
              <a:ext uri="{FF2B5EF4-FFF2-40B4-BE49-F238E27FC236}">
                <a16:creationId xmlns:a16="http://schemas.microsoft.com/office/drawing/2014/main" id="{97073F6A-3E4A-69EF-5342-4F0020D33B85}"/>
              </a:ext>
            </a:extLst>
          </p:cNvPr>
          <p:cNvSpPr txBox="1"/>
          <p:nvPr/>
        </p:nvSpPr>
        <p:spPr>
          <a:xfrm>
            <a:off x="2693619" y="4801619"/>
            <a:ext cx="4316980" cy="503590"/>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利用実績等から再来訪を促すような具体的な施策はとれていない。</a:t>
            </a:r>
          </a:p>
        </p:txBody>
      </p:sp>
      <p:cxnSp>
        <p:nvCxnSpPr>
          <p:cNvPr id="13" name="直線コネクタ 12">
            <a:extLst>
              <a:ext uri="{FF2B5EF4-FFF2-40B4-BE49-F238E27FC236}">
                <a16:creationId xmlns:a16="http://schemas.microsoft.com/office/drawing/2014/main" id="{DF0A3789-2513-7F7E-6347-DBBE95C7B4F6}"/>
              </a:ext>
            </a:extLst>
          </p:cNvPr>
          <p:cNvCxnSpPr>
            <a:cxnSpLocks/>
          </p:cNvCxnSpPr>
          <p:nvPr/>
        </p:nvCxnSpPr>
        <p:spPr>
          <a:xfrm>
            <a:off x="2469871" y="6224916"/>
            <a:ext cx="9187622" cy="0"/>
          </a:xfrm>
          <a:prstGeom prst="line">
            <a:avLst/>
          </a:prstGeom>
          <a:noFill/>
          <a:ln w="9525" cmpd="sng">
            <a:solidFill>
              <a:srgbClr val="919191"/>
            </a:solidFill>
            <a:prstDash val="dash"/>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C01E8876-7CB8-4130-D9EB-1A867271B772}"/>
              </a:ext>
            </a:extLst>
          </p:cNvPr>
          <p:cNvSpPr txBox="1"/>
          <p:nvPr/>
        </p:nvSpPr>
        <p:spPr>
          <a:xfrm>
            <a:off x="2693619" y="5593086"/>
            <a:ext cx="4316980" cy="503590"/>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乗降実績や属性情報など、利用実績のデータがない。</a:t>
            </a:r>
          </a:p>
        </p:txBody>
      </p:sp>
      <p:sp>
        <p:nvSpPr>
          <p:cNvPr id="15" name="テキスト ボックス 14">
            <a:extLst>
              <a:ext uri="{FF2B5EF4-FFF2-40B4-BE49-F238E27FC236}">
                <a16:creationId xmlns:a16="http://schemas.microsoft.com/office/drawing/2014/main" id="{E5C9762A-A073-07A3-7CE0-56A1CD76D492}"/>
              </a:ext>
            </a:extLst>
          </p:cNvPr>
          <p:cNvSpPr txBox="1"/>
          <p:nvPr/>
        </p:nvSpPr>
        <p:spPr>
          <a:xfrm>
            <a:off x="7168585" y="5550113"/>
            <a:ext cx="4316980" cy="503590"/>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収集したデータを活用した商品設計やプロモーションなどを実施することができる。</a:t>
            </a:r>
          </a:p>
        </p:txBody>
      </p:sp>
      <p:sp>
        <p:nvSpPr>
          <p:cNvPr id="36" name="テキスト ボックス 35">
            <a:extLst>
              <a:ext uri="{FF2B5EF4-FFF2-40B4-BE49-F238E27FC236}">
                <a16:creationId xmlns:a16="http://schemas.microsoft.com/office/drawing/2014/main" id="{53AE2DB5-E8E9-D05F-00E2-5156E585C9A8}"/>
              </a:ext>
            </a:extLst>
          </p:cNvPr>
          <p:cNvSpPr txBox="1"/>
          <p:nvPr/>
        </p:nvSpPr>
        <p:spPr>
          <a:xfrm>
            <a:off x="2521130" y="2986007"/>
            <a:ext cx="7455989" cy="2360039"/>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本プロジェクトが提供するＭａａＳ（アプリ、システム、商品、その他）によって、利用者体験が現在と比べてどのように変わるのか（どのような体験の変化を目指すのか）を具体的に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事業で提供するサービス単位で分けて記載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例　① 新規</a:t>
            </a:r>
            <a:r>
              <a:rPr kumimoji="0" lang="en-US" altLang="ja-JP" sz="1400" b="0" i="0" u="none" strike="noStrike" kern="0" cap="none" spc="0" normalizeH="0" baseline="0" noProof="0" err="1">
                <a:ln>
                  <a:noFill/>
                </a:ln>
                <a:solidFill>
                  <a:srgbClr val="FFFFFF"/>
                </a:solidFill>
                <a:effectLst/>
                <a:uLnTx/>
                <a:uFillTx/>
              </a:rPr>
              <a:t>MaaS</a:t>
            </a:r>
            <a:r>
              <a:rPr kumimoji="0" lang="ja-JP" altLang="en-US" sz="1400" b="0" i="0" u="none" strike="noStrike" kern="0" cap="none" spc="0" normalizeH="0" baseline="0" noProof="0">
                <a:ln>
                  <a:noFill/>
                </a:ln>
                <a:solidFill>
                  <a:srgbClr val="FFFFFF"/>
                </a:solidFill>
                <a:effectLst/>
                <a:uLnTx/>
                <a:uFillTx/>
              </a:rPr>
              <a:t>アプリの開発・サービス提供</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     </a:t>
            </a:r>
            <a:r>
              <a:rPr kumimoji="0" lang="ja-JP" altLang="en-US" sz="1400" b="0" i="0" u="none" strike="noStrike" kern="0" cap="none" spc="0" normalizeH="0" baseline="0" noProof="0">
                <a:ln>
                  <a:noFill/>
                </a:ln>
                <a:solidFill>
                  <a:srgbClr val="FFFFFF"/>
                </a:solidFill>
                <a:effectLst/>
                <a:uLnTx/>
                <a:uFillTx/>
              </a:rPr>
              <a:t>② サブスクサービスの提供</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　　 ③ プロモーションの実施​</a:t>
            </a:r>
            <a:endParaRPr kumimoji="0" lang="en-US" altLang="ja-JP"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11081369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a:xfrm>
            <a:off x="300778" y="655357"/>
            <a:ext cx="11891221" cy="432000"/>
          </a:xfrm>
        </p:spPr>
        <p:txBody>
          <a:bodyPr vert="horz"/>
          <a:lstStyle/>
          <a:p>
            <a:r>
              <a:rPr lang="ja-JP" altLang="en-US"/>
              <a:t>１</a:t>
            </a:r>
            <a:r>
              <a:rPr lang="en-US" altLang="ja-JP"/>
              <a:t>.</a:t>
            </a:r>
            <a:r>
              <a:rPr lang="ja-JP" altLang="en-US"/>
              <a:t>サービス全体像│実現する</a:t>
            </a:r>
            <a:r>
              <a:rPr lang="en-US" altLang="ja-JP"/>
              <a:t>UX</a:t>
            </a:r>
            <a:endParaRPr lang="ja-JP" altLang="en-US"/>
          </a:p>
        </p:txBody>
      </p:sp>
      <p:sp>
        <p:nvSpPr>
          <p:cNvPr id="11" name="テキスト プレースホルダー 10">
            <a:extLst>
              <a:ext uri="{FF2B5EF4-FFF2-40B4-BE49-F238E27FC236}">
                <a16:creationId xmlns:a16="http://schemas.microsoft.com/office/drawing/2014/main" id="{5B8ABDA1-3D2A-BE6F-2D47-4B44E4CE9142}"/>
              </a:ext>
            </a:extLst>
          </p:cNvPr>
          <p:cNvSpPr>
            <a:spLocks noGrp="1"/>
          </p:cNvSpPr>
          <p:nvPr>
            <p:ph type="body" sz="quarter" idx="4294967295"/>
          </p:nvPr>
        </p:nvSpPr>
        <p:spPr>
          <a:xfrm>
            <a:off x="300778" y="1743000"/>
            <a:ext cx="11376000" cy="323165"/>
          </a:xfrm>
        </p:spPr>
        <p:txBody>
          <a:bodyPr>
            <a:normAutofit fontScale="92500" lnSpcReduction="2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マリーを記載</a:t>
            </a: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7" name="フローチャート: 他ページ結合子 16">
            <a:extLst>
              <a:ext uri="{FF2B5EF4-FFF2-40B4-BE49-F238E27FC236}">
                <a16:creationId xmlns:a16="http://schemas.microsoft.com/office/drawing/2014/main" id="{53F10FF5-7C3A-04E7-4D0E-3EC2A9EB89FC}"/>
              </a:ext>
            </a:extLst>
          </p:cNvPr>
          <p:cNvSpPr/>
          <p:nvPr/>
        </p:nvSpPr>
        <p:spPr bwMode="gray">
          <a:xfrm>
            <a:off x="209722" y="3438793"/>
            <a:ext cx="2164078" cy="872923"/>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マイナンバーカードとの</a:t>
            </a:r>
            <a:endParaRPr kumimoji="1" lang="en-US" altLang="ja-JP" sz="1600">
              <a:solidFill>
                <a:srgbClr val="0070C0"/>
              </a:solidFill>
              <a:latin typeface="+mn-ea"/>
            </a:endParaRPr>
          </a:p>
          <a:p>
            <a:pPr algn="ctr">
              <a:spcBef>
                <a:spcPts val="0"/>
              </a:spcBef>
              <a:spcAft>
                <a:spcPts val="300"/>
              </a:spcAft>
            </a:pPr>
            <a:r>
              <a:rPr kumimoji="1" lang="ja-JP" altLang="en-US" sz="1600">
                <a:solidFill>
                  <a:srgbClr val="0070C0"/>
                </a:solidFill>
                <a:latin typeface="+mn-ea"/>
              </a:rPr>
              <a:t>連携</a:t>
            </a:r>
          </a:p>
        </p:txBody>
      </p:sp>
      <p:sp>
        <p:nvSpPr>
          <p:cNvPr id="18" name="正方形/長方形 17">
            <a:extLst>
              <a:ext uri="{FF2B5EF4-FFF2-40B4-BE49-F238E27FC236}">
                <a16:creationId xmlns:a16="http://schemas.microsoft.com/office/drawing/2014/main" id="{E9664A3C-1A6D-1DEA-5030-08206BBAF59D}"/>
              </a:ext>
            </a:extLst>
          </p:cNvPr>
          <p:cNvSpPr/>
          <p:nvPr/>
        </p:nvSpPr>
        <p:spPr bwMode="gray">
          <a:xfrm>
            <a:off x="2374364" y="1904109"/>
            <a:ext cx="4783566" cy="338527"/>
          </a:xfrm>
          <a:prstGeom prst="rect">
            <a:avLst/>
          </a:prstGeom>
          <a:noFill/>
          <a:ln w="6350">
            <a:noFill/>
            <a:miter lim="800000"/>
            <a:headEnd/>
            <a:tailEnd/>
          </a:ln>
          <a:effectLst/>
          <a:extLst>
            <a:ext uri="{91240B29-F687-4F45-9708-019B960494DF}">
              <a14:hiddenLine xmlns:a14="http://schemas.microsoft.com/office/drawing/2010/main" w="6350">
                <a:solidFill>
                  <a:schemeClr val="tx1"/>
                </a:solidFill>
                <a:miter lim="800000"/>
                <a:headEnd/>
                <a:tailEnd/>
              </a14:hiddenLine>
            </a:ext>
          </a:extLst>
        </p:spPr>
        <p:txBody>
          <a:bodyPr vert="horz" wrap="none" lIns="72000" tIns="72000" rIns="72000" bIns="72000" numCol="1" rtlCol="0" anchor="ctr" anchorCtr="0" compatLnSpc="1">
            <a:prstTxWarp prst="textNoShape">
              <a:avLst/>
            </a:prstTxWarp>
            <a:noAutofit/>
          </a:bodyPr>
          <a:lstStyle/>
          <a:p>
            <a:pPr algn="ctr"/>
            <a:r>
              <a:rPr kumimoji="1" lang="ja-JP" altLang="en-US" sz="1400">
                <a:latin typeface="+mn-ea"/>
              </a:rPr>
              <a:t>従来の</a:t>
            </a:r>
            <a:r>
              <a:rPr kumimoji="1" lang="en-US" altLang="ja-JP" sz="1400">
                <a:latin typeface="+mn-ea"/>
              </a:rPr>
              <a:t>UX</a:t>
            </a:r>
            <a:endParaRPr kumimoji="1" lang="ja-JP" altLang="en-US" sz="1400">
              <a:latin typeface="+mn-ea"/>
            </a:endParaRPr>
          </a:p>
        </p:txBody>
      </p:sp>
      <p:cxnSp>
        <p:nvCxnSpPr>
          <p:cNvPr id="19" name="直線矢印コネクタ 18">
            <a:extLst>
              <a:ext uri="{FF2B5EF4-FFF2-40B4-BE49-F238E27FC236}">
                <a16:creationId xmlns:a16="http://schemas.microsoft.com/office/drawing/2014/main" id="{988F5D47-E5D3-5BF3-75A0-F784D65E7675}"/>
              </a:ext>
            </a:extLst>
          </p:cNvPr>
          <p:cNvCxnSpPr>
            <a:cxnSpLocks/>
          </p:cNvCxnSpPr>
          <p:nvPr/>
        </p:nvCxnSpPr>
        <p:spPr>
          <a:xfrm>
            <a:off x="2521691" y="2242636"/>
            <a:ext cx="4488909" cy="0"/>
          </a:xfrm>
          <a:prstGeom prst="straightConnector1">
            <a:avLst/>
          </a:prstGeom>
          <a:noFill/>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正方形/長方形 19">
            <a:extLst>
              <a:ext uri="{FF2B5EF4-FFF2-40B4-BE49-F238E27FC236}">
                <a16:creationId xmlns:a16="http://schemas.microsoft.com/office/drawing/2014/main" id="{A1D40746-BF49-AC90-B951-2E85999D00C9}"/>
              </a:ext>
            </a:extLst>
          </p:cNvPr>
          <p:cNvSpPr/>
          <p:nvPr/>
        </p:nvSpPr>
        <p:spPr bwMode="gray">
          <a:xfrm>
            <a:off x="7021258" y="1904109"/>
            <a:ext cx="4783566" cy="338527"/>
          </a:xfrm>
          <a:prstGeom prst="rect">
            <a:avLst/>
          </a:prstGeom>
          <a:noFill/>
          <a:ln w="6350">
            <a:noFill/>
            <a:miter lim="800000"/>
            <a:headEnd/>
            <a:tailEnd/>
          </a:ln>
          <a:effectLst/>
          <a:extLst>
            <a:ext uri="{91240B29-F687-4F45-9708-019B960494DF}">
              <a14:hiddenLine xmlns:a14="http://schemas.microsoft.com/office/drawing/2010/main" w="6350">
                <a:solidFill>
                  <a:schemeClr val="tx1"/>
                </a:solidFill>
                <a:miter lim="800000"/>
                <a:headEnd/>
                <a:tailEnd/>
              </a14:hiddenLine>
            </a:ext>
          </a:extLst>
        </p:spPr>
        <p:txBody>
          <a:bodyPr vert="horz" wrap="none" lIns="72000" tIns="72000" rIns="72000" bIns="72000" numCol="1" rtlCol="0" anchor="ctr" anchorCtr="0" compatLnSpc="1">
            <a:prstTxWarp prst="textNoShape">
              <a:avLst/>
            </a:prstTxWarp>
            <a:noAutofit/>
          </a:bodyPr>
          <a:lstStyle/>
          <a:p>
            <a:pPr algn="ctr"/>
            <a:r>
              <a:rPr kumimoji="1" lang="ja-JP" altLang="en-US" sz="1400">
                <a:latin typeface="+mn-ea"/>
              </a:rPr>
              <a:t>本プロジェクトが目指す</a:t>
            </a:r>
            <a:r>
              <a:rPr kumimoji="1" lang="en-US" altLang="ja-JP" sz="1400">
                <a:latin typeface="+mn-ea"/>
              </a:rPr>
              <a:t>UX</a:t>
            </a:r>
            <a:endParaRPr kumimoji="1" lang="ja-JP" altLang="en-US" sz="1400">
              <a:latin typeface="+mn-ea"/>
            </a:endParaRPr>
          </a:p>
        </p:txBody>
      </p:sp>
      <p:cxnSp>
        <p:nvCxnSpPr>
          <p:cNvPr id="21" name="直線矢印コネクタ 20">
            <a:extLst>
              <a:ext uri="{FF2B5EF4-FFF2-40B4-BE49-F238E27FC236}">
                <a16:creationId xmlns:a16="http://schemas.microsoft.com/office/drawing/2014/main" id="{2C5A1D27-39E7-7A74-E0C6-11903FAA5D16}"/>
              </a:ext>
            </a:extLst>
          </p:cNvPr>
          <p:cNvCxnSpPr>
            <a:cxnSpLocks/>
          </p:cNvCxnSpPr>
          <p:nvPr/>
        </p:nvCxnSpPr>
        <p:spPr>
          <a:xfrm>
            <a:off x="7168585" y="2242636"/>
            <a:ext cx="4488909" cy="0"/>
          </a:xfrm>
          <a:prstGeom prst="straightConnector1">
            <a:avLst/>
          </a:prstGeom>
          <a:noFill/>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フローチャート: 他ページ結合子 21">
            <a:extLst>
              <a:ext uri="{FF2B5EF4-FFF2-40B4-BE49-F238E27FC236}">
                <a16:creationId xmlns:a16="http://schemas.microsoft.com/office/drawing/2014/main" id="{E3A53034-9097-A2B0-BA00-9805C113B3C4}"/>
              </a:ext>
            </a:extLst>
          </p:cNvPr>
          <p:cNvSpPr/>
          <p:nvPr/>
        </p:nvSpPr>
        <p:spPr bwMode="gray">
          <a:xfrm>
            <a:off x="209722" y="4488187"/>
            <a:ext cx="2164078" cy="876812"/>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実証運行</a:t>
            </a:r>
          </a:p>
        </p:txBody>
      </p:sp>
      <p:sp>
        <p:nvSpPr>
          <p:cNvPr id="23" name="フローチャート: 他ページ結合子 22">
            <a:extLst>
              <a:ext uri="{FF2B5EF4-FFF2-40B4-BE49-F238E27FC236}">
                <a16:creationId xmlns:a16="http://schemas.microsoft.com/office/drawing/2014/main" id="{548B53C1-9515-859C-4FF6-ED37AFEFE4B3}"/>
              </a:ext>
            </a:extLst>
          </p:cNvPr>
          <p:cNvSpPr/>
          <p:nvPr/>
        </p:nvSpPr>
        <p:spPr bwMode="gray">
          <a:xfrm>
            <a:off x="210286" y="5578327"/>
            <a:ext cx="2164078" cy="669181"/>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a:t>
            </a:r>
          </a:p>
        </p:txBody>
      </p:sp>
      <p:cxnSp>
        <p:nvCxnSpPr>
          <p:cNvPr id="24" name="直線コネクタ 23">
            <a:extLst>
              <a:ext uri="{FF2B5EF4-FFF2-40B4-BE49-F238E27FC236}">
                <a16:creationId xmlns:a16="http://schemas.microsoft.com/office/drawing/2014/main" id="{67CF960F-BF89-4129-340B-68AB5FDE8755}"/>
              </a:ext>
            </a:extLst>
          </p:cNvPr>
          <p:cNvCxnSpPr>
            <a:cxnSpLocks/>
          </p:cNvCxnSpPr>
          <p:nvPr/>
        </p:nvCxnSpPr>
        <p:spPr>
          <a:xfrm>
            <a:off x="2469871" y="3225464"/>
            <a:ext cx="9187622" cy="0"/>
          </a:xfrm>
          <a:prstGeom prst="line">
            <a:avLst/>
          </a:prstGeom>
          <a:noFill/>
          <a:ln w="9525" cmpd="sng">
            <a:solidFill>
              <a:srgbClr val="919191"/>
            </a:solidFill>
            <a:prstDash val="dash"/>
          </a:ln>
        </p:spPr>
        <p:style>
          <a:lnRef idx="1">
            <a:schemeClr val="accent1"/>
          </a:lnRef>
          <a:fillRef idx="0">
            <a:schemeClr val="accent1"/>
          </a:fillRef>
          <a:effectRef idx="0">
            <a:schemeClr val="accent1"/>
          </a:effectRef>
          <a:fontRef idx="minor">
            <a:schemeClr val="tx1"/>
          </a:fontRef>
        </p:style>
      </p:cxnSp>
      <p:sp>
        <p:nvSpPr>
          <p:cNvPr id="25" name="フローチャート: 他ページ結合子 24">
            <a:extLst>
              <a:ext uri="{FF2B5EF4-FFF2-40B4-BE49-F238E27FC236}">
                <a16:creationId xmlns:a16="http://schemas.microsoft.com/office/drawing/2014/main" id="{B623064F-1224-9D0A-91B9-574A09BD6B31}"/>
              </a:ext>
            </a:extLst>
          </p:cNvPr>
          <p:cNvSpPr/>
          <p:nvPr/>
        </p:nvSpPr>
        <p:spPr bwMode="gray">
          <a:xfrm>
            <a:off x="209722" y="2304824"/>
            <a:ext cx="2164078" cy="920640"/>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サブスクチケットの</a:t>
            </a:r>
            <a:endParaRPr kumimoji="1" lang="en-US" altLang="ja-JP" sz="1600">
              <a:solidFill>
                <a:srgbClr val="0070C0"/>
              </a:solidFill>
              <a:latin typeface="+mn-ea"/>
            </a:endParaRPr>
          </a:p>
          <a:p>
            <a:pPr algn="ctr">
              <a:spcBef>
                <a:spcPts val="0"/>
              </a:spcBef>
              <a:spcAft>
                <a:spcPts val="300"/>
              </a:spcAft>
            </a:pPr>
            <a:r>
              <a:rPr kumimoji="1" lang="ja-JP" altLang="en-US" sz="1600">
                <a:solidFill>
                  <a:srgbClr val="0070C0"/>
                </a:solidFill>
                <a:latin typeface="+mn-ea"/>
              </a:rPr>
              <a:t>造成・提供</a:t>
            </a:r>
          </a:p>
        </p:txBody>
      </p:sp>
      <p:cxnSp>
        <p:nvCxnSpPr>
          <p:cNvPr id="26" name="直線コネクタ 25">
            <a:extLst>
              <a:ext uri="{FF2B5EF4-FFF2-40B4-BE49-F238E27FC236}">
                <a16:creationId xmlns:a16="http://schemas.microsoft.com/office/drawing/2014/main" id="{D275D890-34D1-720A-5568-058C5CE60E89}"/>
              </a:ext>
            </a:extLst>
          </p:cNvPr>
          <p:cNvCxnSpPr>
            <a:cxnSpLocks/>
          </p:cNvCxnSpPr>
          <p:nvPr/>
        </p:nvCxnSpPr>
        <p:spPr>
          <a:xfrm>
            <a:off x="2469871" y="4423646"/>
            <a:ext cx="9187622" cy="0"/>
          </a:xfrm>
          <a:prstGeom prst="line">
            <a:avLst/>
          </a:prstGeom>
          <a:noFill/>
          <a:ln w="9525" cmpd="sng">
            <a:solidFill>
              <a:srgbClr val="919191"/>
            </a:solidFill>
            <a:prstDash val="dash"/>
          </a:ln>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E7CB3556-2936-30A4-AEC6-65D0A1738CDB}"/>
              </a:ext>
            </a:extLst>
          </p:cNvPr>
          <p:cNvCxnSpPr>
            <a:cxnSpLocks/>
          </p:cNvCxnSpPr>
          <p:nvPr/>
        </p:nvCxnSpPr>
        <p:spPr>
          <a:xfrm>
            <a:off x="2469871" y="5414820"/>
            <a:ext cx="9187622" cy="0"/>
          </a:xfrm>
          <a:prstGeom prst="line">
            <a:avLst/>
          </a:prstGeom>
          <a:noFill/>
          <a:ln w="9525" cmpd="sng">
            <a:solidFill>
              <a:srgbClr val="919191"/>
            </a:solidFill>
            <a:prstDash val="dash"/>
          </a:ln>
        </p:spPr>
        <p:style>
          <a:lnRef idx="1">
            <a:schemeClr val="accent1"/>
          </a:lnRef>
          <a:fillRef idx="0">
            <a:schemeClr val="accent1"/>
          </a:fillRef>
          <a:effectRef idx="0">
            <a:schemeClr val="accent1"/>
          </a:effectRef>
          <a:fontRef idx="minor">
            <a:schemeClr val="tx1"/>
          </a:fontRef>
        </p:style>
      </p:cxnSp>
      <p:sp>
        <p:nvSpPr>
          <p:cNvPr id="28" name="テキスト ボックス 27">
            <a:extLst>
              <a:ext uri="{FF2B5EF4-FFF2-40B4-BE49-F238E27FC236}">
                <a16:creationId xmlns:a16="http://schemas.microsoft.com/office/drawing/2014/main" id="{90FD0E77-3888-581E-76F2-D03B3D6A162F}"/>
              </a:ext>
            </a:extLst>
          </p:cNvPr>
          <p:cNvSpPr txBox="1"/>
          <p:nvPr/>
        </p:nvSpPr>
        <p:spPr>
          <a:xfrm>
            <a:off x="2693619" y="2338595"/>
            <a:ext cx="4341889" cy="288147"/>
          </a:xfrm>
          <a:prstGeom prst="rect">
            <a:avLst/>
          </a:prstGeom>
          <a:noFill/>
        </p:spPr>
        <p:txBody>
          <a:bodyPr wrap="square" lIns="36000" tIns="36000" rIns="36000" bIns="36000" rtlCol="0">
            <a:spAutoFit/>
          </a:body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a:t>
            </a:r>
          </a:p>
        </p:txBody>
      </p:sp>
      <p:sp>
        <p:nvSpPr>
          <p:cNvPr id="29" name="テキスト ボックス 28">
            <a:extLst>
              <a:ext uri="{FF2B5EF4-FFF2-40B4-BE49-F238E27FC236}">
                <a16:creationId xmlns:a16="http://schemas.microsoft.com/office/drawing/2014/main" id="{51548927-EDC2-8320-9763-1100DEEB5C3D}"/>
              </a:ext>
            </a:extLst>
          </p:cNvPr>
          <p:cNvSpPr txBox="1"/>
          <p:nvPr/>
        </p:nvSpPr>
        <p:spPr>
          <a:xfrm>
            <a:off x="2693619" y="3341080"/>
            <a:ext cx="4316980" cy="288147"/>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a:t>
            </a:r>
          </a:p>
        </p:txBody>
      </p:sp>
      <p:sp>
        <p:nvSpPr>
          <p:cNvPr id="30" name="テキスト ボックス 29">
            <a:extLst>
              <a:ext uri="{FF2B5EF4-FFF2-40B4-BE49-F238E27FC236}">
                <a16:creationId xmlns:a16="http://schemas.microsoft.com/office/drawing/2014/main" id="{ABA7E6E7-22B8-6897-CAD1-5BB1F7243A11}"/>
              </a:ext>
            </a:extLst>
          </p:cNvPr>
          <p:cNvSpPr txBox="1"/>
          <p:nvPr/>
        </p:nvSpPr>
        <p:spPr>
          <a:xfrm>
            <a:off x="7157930" y="2335267"/>
            <a:ext cx="4885789" cy="288147"/>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a:t>
            </a:r>
          </a:p>
        </p:txBody>
      </p:sp>
      <p:sp>
        <p:nvSpPr>
          <p:cNvPr id="31" name="テキスト ボックス 30">
            <a:extLst>
              <a:ext uri="{FF2B5EF4-FFF2-40B4-BE49-F238E27FC236}">
                <a16:creationId xmlns:a16="http://schemas.microsoft.com/office/drawing/2014/main" id="{97AC2652-6A11-4525-3831-C5116BDDAFD4}"/>
              </a:ext>
            </a:extLst>
          </p:cNvPr>
          <p:cNvSpPr txBox="1"/>
          <p:nvPr/>
        </p:nvSpPr>
        <p:spPr>
          <a:xfrm>
            <a:off x="7157930" y="3288878"/>
            <a:ext cx="4857760" cy="288147"/>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a:t>
            </a:r>
          </a:p>
        </p:txBody>
      </p:sp>
      <p:sp>
        <p:nvSpPr>
          <p:cNvPr id="32" name="テキスト ボックス 31">
            <a:extLst>
              <a:ext uri="{FF2B5EF4-FFF2-40B4-BE49-F238E27FC236}">
                <a16:creationId xmlns:a16="http://schemas.microsoft.com/office/drawing/2014/main" id="{226A0974-299A-DA5C-F13B-FA16A7D473D9}"/>
              </a:ext>
            </a:extLst>
          </p:cNvPr>
          <p:cNvSpPr txBox="1"/>
          <p:nvPr/>
        </p:nvSpPr>
        <p:spPr>
          <a:xfrm>
            <a:off x="2693619" y="4482772"/>
            <a:ext cx="4316980" cy="288147"/>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a:t>
            </a:r>
          </a:p>
        </p:txBody>
      </p:sp>
      <p:sp>
        <p:nvSpPr>
          <p:cNvPr id="33" name="テキスト ボックス 32">
            <a:extLst>
              <a:ext uri="{FF2B5EF4-FFF2-40B4-BE49-F238E27FC236}">
                <a16:creationId xmlns:a16="http://schemas.microsoft.com/office/drawing/2014/main" id="{C9FC6D16-CAD4-5B3E-F8B5-81D2A2D8CDCA}"/>
              </a:ext>
            </a:extLst>
          </p:cNvPr>
          <p:cNvSpPr txBox="1"/>
          <p:nvPr/>
        </p:nvSpPr>
        <p:spPr>
          <a:xfrm>
            <a:off x="7168585" y="4523652"/>
            <a:ext cx="4857760" cy="288147"/>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a:t>
            </a:r>
          </a:p>
        </p:txBody>
      </p:sp>
      <p:sp>
        <p:nvSpPr>
          <p:cNvPr id="34" name="テキスト ボックス 33">
            <a:extLst>
              <a:ext uri="{FF2B5EF4-FFF2-40B4-BE49-F238E27FC236}">
                <a16:creationId xmlns:a16="http://schemas.microsoft.com/office/drawing/2014/main" id="{C89FC4AA-2731-E92F-D907-2D16595912E8}"/>
              </a:ext>
            </a:extLst>
          </p:cNvPr>
          <p:cNvSpPr txBox="1"/>
          <p:nvPr/>
        </p:nvSpPr>
        <p:spPr>
          <a:xfrm>
            <a:off x="2688819" y="5483595"/>
            <a:ext cx="4316980" cy="288147"/>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a:t>
            </a:r>
          </a:p>
        </p:txBody>
      </p:sp>
      <p:sp>
        <p:nvSpPr>
          <p:cNvPr id="35" name="テキスト ボックス 34">
            <a:extLst>
              <a:ext uri="{FF2B5EF4-FFF2-40B4-BE49-F238E27FC236}">
                <a16:creationId xmlns:a16="http://schemas.microsoft.com/office/drawing/2014/main" id="{708AB7D6-2CDF-65E4-DFCF-96EFAC6FF818}"/>
              </a:ext>
            </a:extLst>
          </p:cNvPr>
          <p:cNvSpPr txBox="1"/>
          <p:nvPr/>
        </p:nvSpPr>
        <p:spPr>
          <a:xfrm>
            <a:off x="7143703" y="5483595"/>
            <a:ext cx="4857760" cy="288147"/>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a:t>
            </a:r>
          </a:p>
        </p:txBody>
      </p:sp>
      <p:sp>
        <p:nvSpPr>
          <p:cNvPr id="6" name="テキスト プレースホルダー 10">
            <a:extLst>
              <a:ext uri="{FF2B5EF4-FFF2-40B4-BE49-F238E27FC236}">
                <a16:creationId xmlns:a16="http://schemas.microsoft.com/office/drawing/2014/main" id="{06F06DD2-9B90-695B-AD25-50F75DE8988B}"/>
              </a:ext>
            </a:extLst>
          </p:cNvPr>
          <p:cNvSpPr txBox="1">
            <a:spLocks/>
          </p:cNvSpPr>
          <p:nvPr/>
        </p:nvSpPr>
        <p:spPr>
          <a:xfrm>
            <a:off x="300778" y="1197432"/>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R="0" lvl="0" algn="l" defTabSz="914400" rtl="0" eaLnBrk="1" fontAlgn="auto" latinLnBrk="0" hangingPunct="1">
              <a:lnSpc>
                <a:spcPct val="100000"/>
              </a:lnSpc>
              <a:spcBef>
                <a:spcPts val="300"/>
              </a:spcBef>
              <a:spcAft>
                <a:spcPts val="0"/>
              </a:spcAft>
              <a:buClrTx/>
              <a:buSzTx/>
              <a:tabLst/>
              <a:defRPr/>
            </a:pPr>
            <a:r>
              <a:rPr lang="ja-JP" altLang="en-US" sz="1800">
                <a:solidFill>
                  <a:srgbClr val="0070C0"/>
                </a:solidFill>
                <a:latin typeface="BIZ UDPゴシック"/>
                <a:ea typeface="BIZ UDPゴシック"/>
              </a:rPr>
              <a:t>③サブスクサービスの提供</a:t>
            </a:r>
            <a:endParaRPr lang="en-US" altLang="ja-JP" sz="1800">
              <a:solidFill>
                <a:srgbClr val="0070C0"/>
              </a:solidFill>
              <a:latin typeface="BIZ UDPゴシック"/>
              <a:ea typeface="BIZ UDPゴシック"/>
            </a:endParaRPr>
          </a:p>
        </p:txBody>
      </p:sp>
      <p:sp>
        <p:nvSpPr>
          <p:cNvPr id="4" name="テキスト ボックス 3">
            <a:extLst>
              <a:ext uri="{FF2B5EF4-FFF2-40B4-BE49-F238E27FC236}">
                <a16:creationId xmlns:a16="http://schemas.microsoft.com/office/drawing/2014/main" id="{59E4C0AC-1EA3-A883-AD00-D81FA7B914F5}"/>
              </a:ext>
            </a:extLst>
          </p:cNvPr>
          <p:cNvSpPr txBox="1"/>
          <p:nvPr/>
        </p:nvSpPr>
        <p:spPr>
          <a:xfrm>
            <a:off x="2521130" y="2986007"/>
            <a:ext cx="7455989" cy="2360039"/>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本プロジェクトが提供するＭａａＳ（アプリ、システム、商品、その他）によって、利用者体験が現在と比べてどのように変わるのか（どのような体験の変化を目指すのか）を具体的に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事業で提供するサービス単位で分けて記載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例　① 新規</a:t>
            </a:r>
            <a:r>
              <a:rPr kumimoji="0" lang="en-US" altLang="ja-JP" sz="1400" b="0" i="0" u="none" strike="noStrike" kern="0" cap="none" spc="0" normalizeH="0" baseline="0" noProof="0" err="1">
                <a:ln>
                  <a:noFill/>
                </a:ln>
                <a:solidFill>
                  <a:srgbClr val="FFFFFF"/>
                </a:solidFill>
                <a:effectLst/>
                <a:uLnTx/>
                <a:uFillTx/>
              </a:rPr>
              <a:t>MaaS</a:t>
            </a:r>
            <a:r>
              <a:rPr kumimoji="0" lang="ja-JP" altLang="en-US" sz="1400" b="0" i="0" u="none" strike="noStrike" kern="0" cap="none" spc="0" normalizeH="0" baseline="0" noProof="0">
                <a:ln>
                  <a:noFill/>
                </a:ln>
                <a:solidFill>
                  <a:srgbClr val="FFFFFF"/>
                </a:solidFill>
                <a:effectLst/>
                <a:uLnTx/>
                <a:uFillTx/>
              </a:rPr>
              <a:t>アプリの開発・サービス提供</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     </a:t>
            </a:r>
            <a:r>
              <a:rPr kumimoji="0" lang="ja-JP" altLang="en-US" sz="1400" b="0" i="0" u="none" strike="noStrike" kern="0" cap="none" spc="0" normalizeH="0" baseline="0" noProof="0">
                <a:ln>
                  <a:noFill/>
                </a:ln>
                <a:solidFill>
                  <a:srgbClr val="FFFFFF"/>
                </a:solidFill>
                <a:effectLst/>
                <a:uLnTx/>
                <a:uFillTx/>
              </a:rPr>
              <a:t>② サブスクサービスの提供</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　　 ③ プロモーションの実施​</a:t>
            </a:r>
            <a:endParaRPr kumimoji="0" lang="en-US" altLang="ja-JP"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29338900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a:xfrm>
            <a:off x="300778" y="655357"/>
            <a:ext cx="11891221" cy="432000"/>
          </a:xfrm>
        </p:spPr>
        <p:txBody>
          <a:bodyPr vert="horz"/>
          <a:lstStyle/>
          <a:p>
            <a:r>
              <a:rPr lang="ja-JP" altLang="en-US"/>
              <a:t>１</a:t>
            </a:r>
            <a:r>
              <a:rPr lang="en-US" altLang="ja-JP"/>
              <a:t>.</a:t>
            </a:r>
            <a:r>
              <a:rPr lang="ja-JP" altLang="en-US"/>
              <a:t>サービス全体像│過年度の課題と解決</a:t>
            </a:r>
          </a:p>
        </p:txBody>
      </p:sp>
      <p:sp>
        <p:nvSpPr>
          <p:cNvPr id="11" name="テキスト プレースホルダー 10">
            <a:extLst>
              <a:ext uri="{FF2B5EF4-FFF2-40B4-BE49-F238E27FC236}">
                <a16:creationId xmlns:a16="http://schemas.microsoft.com/office/drawing/2014/main" id="{5B8ABDA1-3D2A-BE6F-2D47-4B44E4CE9142}"/>
              </a:ext>
            </a:extLst>
          </p:cNvPr>
          <p:cNvSpPr>
            <a:spLocks noGrp="1"/>
          </p:cNvSpPr>
          <p:nvPr>
            <p:ph type="body" sz="quarter" idx="4294967295"/>
          </p:nvPr>
        </p:nvSpPr>
        <p:spPr>
          <a:xfrm>
            <a:off x="300779" y="1736090"/>
            <a:ext cx="11376000" cy="323165"/>
          </a:xfrm>
        </p:spPr>
        <p:txBody>
          <a:bodyPr>
            <a:normAutofit fontScale="92500" lnSpcReduction="2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マリーを記載</a:t>
            </a: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pSp>
        <p:nvGrpSpPr>
          <p:cNvPr id="3" name="グループ化 2">
            <a:extLst>
              <a:ext uri="{FF2B5EF4-FFF2-40B4-BE49-F238E27FC236}">
                <a16:creationId xmlns:a16="http://schemas.microsoft.com/office/drawing/2014/main" id="{F85333DF-4E5C-DAEA-926C-1A154E2103A9}"/>
              </a:ext>
            </a:extLst>
          </p:cNvPr>
          <p:cNvGrpSpPr/>
          <p:nvPr/>
        </p:nvGrpSpPr>
        <p:grpSpPr>
          <a:xfrm>
            <a:off x="302400" y="2133600"/>
            <a:ext cx="11587200" cy="309600"/>
            <a:chOff x="302400" y="1990800"/>
            <a:chExt cx="11587200" cy="309600"/>
          </a:xfrm>
        </p:grpSpPr>
        <p:grpSp>
          <p:nvGrpSpPr>
            <p:cNvPr id="4" name="PanelGroup1">
              <a:extLst>
                <a:ext uri="{FF2B5EF4-FFF2-40B4-BE49-F238E27FC236}">
                  <a16:creationId xmlns:a16="http://schemas.microsoft.com/office/drawing/2014/main" id="{EAB62C42-9CF0-6E2B-28F8-CFEDB26FC1DD}"/>
                </a:ext>
              </a:extLst>
            </p:cNvPr>
            <p:cNvGrpSpPr/>
            <p:nvPr/>
          </p:nvGrpSpPr>
          <p:grpSpPr>
            <a:xfrm>
              <a:off x="302400" y="1990800"/>
              <a:ext cx="5761200" cy="309600"/>
              <a:chOff x="302400" y="1990800"/>
              <a:chExt cx="5761200" cy="309600"/>
            </a:xfrm>
          </p:grpSpPr>
          <p:sp>
            <p:nvSpPr>
              <p:cNvPr id="10" name="正方形/長方形 9">
                <a:extLst>
                  <a:ext uri="{FF2B5EF4-FFF2-40B4-BE49-F238E27FC236}">
                    <a16:creationId xmlns:a16="http://schemas.microsoft.com/office/drawing/2014/main" id="{1A383005-B1A5-AD52-BAD8-1851206F59CA}"/>
                  </a:ext>
                </a:extLst>
              </p:cNvPr>
              <p:cNvSpPr/>
              <p:nvPr/>
            </p:nvSpPr>
            <p:spPr>
              <a:xfrm>
                <a:off x="302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昨年度の課題</a:t>
                </a:r>
              </a:p>
            </p:txBody>
          </p:sp>
          <p:cxnSp>
            <p:nvCxnSpPr>
              <p:cNvPr id="12" name="直線矢印コネクタ 11">
                <a:extLst>
                  <a:ext uri="{FF2B5EF4-FFF2-40B4-BE49-F238E27FC236}">
                    <a16:creationId xmlns:a16="http://schemas.microsoft.com/office/drawing/2014/main" id="{3653E4DF-7A5D-EE67-D31F-6D64D03C04E6}"/>
                  </a:ext>
                </a:extLst>
              </p:cNvPr>
              <p:cNvCxnSpPr/>
              <p:nvPr/>
            </p:nvCxnSpPr>
            <p:spPr>
              <a:xfrm>
                <a:off x="302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6" name="PanelGroup2">
              <a:extLst>
                <a:ext uri="{FF2B5EF4-FFF2-40B4-BE49-F238E27FC236}">
                  <a16:creationId xmlns:a16="http://schemas.microsoft.com/office/drawing/2014/main" id="{A2007A34-9A61-3C01-D672-C413701B3445}"/>
                </a:ext>
              </a:extLst>
            </p:cNvPr>
            <p:cNvGrpSpPr/>
            <p:nvPr/>
          </p:nvGrpSpPr>
          <p:grpSpPr>
            <a:xfrm>
              <a:off x="6128400" y="1990800"/>
              <a:ext cx="5761200" cy="309600"/>
              <a:chOff x="6128400" y="1990800"/>
              <a:chExt cx="5761200" cy="309600"/>
            </a:xfrm>
          </p:grpSpPr>
          <p:sp>
            <p:nvSpPr>
              <p:cNvPr id="7" name="正方形/長方形 6">
                <a:extLst>
                  <a:ext uri="{FF2B5EF4-FFF2-40B4-BE49-F238E27FC236}">
                    <a16:creationId xmlns:a16="http://schemas.microsoft.com/office/drawing/2014/main" id="{081FA0EF-B0D7-A6B9-D177-CBA186431769}"/>
                  </a:ext>
                </a:extLst>
              </p:cNvPr>
              <p:cNvSpPr/>
              <p:nvPr/>
            </p:nvSpPr>
            <p:spPr>
              <a:xfrm>
                <a:off x="6128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解決策</a:t>
                </a:r>
              </a:p>
            </p:txBody>
          </p:sp>
          <p:cxnSp>
            <p:nvCxnSpPr>
              <p:cNvPr id="8" name="直線矢印コネクタ 7">
                <a:extLst>
                  <a:ext uri="{FF2B5EF4-FFF2-40B4-BE49-F238E27FC236}">
                    <a16:creationId xmlns:a16="http://schemas.microsoft.com/office/drawing/2014/main" id="{99FBEF6F-94C3-52B0-FA40-DD378C8E4F64}"/>
                  </a:ext>
                </a:extLst>
              </p:cNvPr>
              <p:cNvCxnSpPr/>
              <p:nvPr/>
            </p:nvCxnSpPr>
            <p:spPr>
              <a:xfrm>
                <a:off x="6128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sp>
        <p:nvSpPr>
          <p:cNvPr id="13" name="正方形/長方形 12">
            <a:extLst>
              <a:ext uri="{FF2B5EF4-FFF2-40B4-BE49-F238E27FC236}">
                <a16:creationId xmlns:a16="http://schemas.microsoft.com/office/drawing/2014/main" id="{EDAD2185-EC0D-868E-795C-E7F2FB4ACC64}"/>
              </a:ext>
            </a:extLst>
          </p:cNvPr>
          <p:cNvSpPr/>
          <p:nvPr/>
        </p:nvSpPr>
        <p:spPr>
          <a:xfrm>
            <a:off x="300778" y="2591890"/>
            <a:ext cx="5761199" cy="3131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a:solidFill>
                  <a:srgbClr val="000000"/>
                </a:solidFill>
                <a:latin typeface="BIZ UDPゴシック"/>
                <a:ea typeface="BIZ UDPゴシック"/>
              </a:rPr>
              <a:t>システム（機能）</a:t>
            </a:r>
            <a:endParaRPr lang="en-US" altLang="ja-JP" sz="1600">
              <a:solidFill>
                <a:srgbClr val="000000"/>
              </a:solidFill>
              <a:latin typeface="BIZ UDPゴシック"/>
              <a:ea typeface="BIZ UDPゴシック"/>
            </a:endParaRPr>
          </a:p>
          <a:p>
            <a:pPr marL="742950" lvl="1" indent="-285750">
              <a:buFont typeface="Wingdings" panose="05000000000000000000" pitchFamily="2" charset="2"/>
              <a:buChar char="Ø"/>
              <a:defRPr/>
            </a:pPr>
            <a:r>
              <a:rPr kumimoji="1" lang="ja-JP" altLang="en-US" sz="1600">
                <a:solidFill>
                  <a:srgbClr val="0070C0"/>
                </a:solidFill>
                <a:latin typeface="+mn-ea"/>
              </a:rPr>
              <a:t>地域の</a:t>
            </a:r>
            <a:r>
              <a:rPr kumimoji="1" lang="en-US" altLang="ja-JP" sz="1600">
                <a:solidFill>
                  <a:srgbClr val="0070C0"/>
                </a:solidFill>
                <a:latin typeface="+mn-ea"/>
              </a:rPr>
              <a:t>AI</a:t>
            </a:r>
            <a:r>
              <a:rPr kumimoji="1" lang="ja-JP" altLang="en-US" sz="1600">
                <a:solidFill>
                  <a:srgbClr val="0070C0"/>
                </a:solidFill>
                <a:latin typeface="+mn-ea"/>
              </a:rPr>
              <a:t>オンデマンド交通を反映した経路検索が</a:t>
            </a:r>
            <a:br>
              <a:rPr kumimoji="1" lang="ja-JP" altLang="en-US" sz="1600">
                <a:solidFill>
                  <a:srgbClr val="0070C0"/>
                </a:solidFill>
                <a:latin typeface="+mn-ea"/>
              </a:rPr>
            </a:br>
            <a:r>
              <a:rPr kumimoji="1" lang="ja-JP" altLang="en-US" sz="1600">
                <a:solidFill>
                  <a:srgbClr val="0070C0"/>
                </a:solidFill>
                <a:latin typeface="+mn-ea"/>
              </a:rPr>
              <a:t>できない</a:t>
            </a:r>
            <a:endParaRPr kumimoji="1" lang="en-US" altLang="ja-JP" sz="1600">
              <a:solidFill>
                <a:srgbClr val="0070C0"/>
              </a:solidFill>
              <a:latin typeface="+mn-ea"/>
            </a:endParaRPr>
          </a:p>
          <a:p>
            <a:pPr marL="742950" lvl="1" indent="-285750">
              <a:buFont typeface="Wingdings" panose="05000000000000000000" pitchFamily="2" charset="2"/>
              <a:buChar char="Ø"/>
              <a:defRPr/>
            </a:pPr>
            <a:r>
              <a:rPr kumimoji="1" lang="ja-JP" altLang="en-US" sz="1600">
                <a:solidFill>
                  <a:srgbClr val="0070C0"/>
                </a:solidFill>
                <a:latin typeface="+mn-ea"/>
              </a:rPr>
              <a:t>交通モード個別のサイトで予約・決済</a:t>
            </a: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システム（</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I</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X</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該当エリアの周遊チケットは紙券を利用</a:t>
            </a:r>
            <a:endParaRPr lang="en-US" altLang="ja-JP" sz="1600">
              <a:solidFill>
                <a:srgbClr val="0070C0"/>
              </a:solidFill>
              <a:latin typeface="BIZ UDPゴシック"/>
              <a:ea typeface="BIZ UDPゴシック"/>
            </a:endParaRP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サービス運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a:t>
            </a: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
        <p:nvSpPr>
          <p:cNvPr id="14" name="正方形/長方形 13">
            <a:extLst>
              <a:ext uri="{FF2B5EF4-FFF2-40B4-BE49-F238E27FC236}">
                <a16:creationId xmlns:a16="http://schemas.microsoft.com/office/drawing/2014/main" id="{EB154E72-D468-E337-5176-249A512E7AD4}"/>
              </a:ext>
            </a:extLst>
          </p:cNvPr>
          <p:cNvSpPr/>
          <p:nvPr/>
        </p:nvSpPr>
        <p:spPr>
          <a:xfrm>
            <a:off x="6128401" y="2591890"/>
            <a:ext cx="5761199" cy="3131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a:solidFill>
                  <a:srgbClr val="000000"/>
                </a:solidFill>
                <a:latin typeface="BIZ UDPゴシック"/>
                <a:ea typeface="BIZ UDPゴシック"/>
              </a:rPr>
              <a:t>システム（機能）</a:t>
            </a:r>
            <a:endParaRPr lang="en-US" altLang="ja-JP" sz="1600">
              <a:solidFill>
                <a:srgbClr val="000000"/>
              </a:solidFill>
              <a:latin typeface="BIZ UDPゴシック"/>
              <a:ea typeface="BIZ UDPゴシック"/>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プロジェクトエリア内のマルチーダルな経路検索</a:t>
            </a:r>
            <a:endParaRPr lang="en-US" altLang="ja-JP" sz="1600">
              <a:solidFill>
                <a:srgbClr val="0070C0"/>
              </a:solidFill>
              <a:latin typeface="BIZ UDPゴシック"/>
              <a:ea typeface="BIZ UDPゴシック"/>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経路検索からのチケット購入、決済</a:t>
            </a: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システム（</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I</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X</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チケットをデジタル化し、鉄道の改札で</a:t>
            </a:r>
            <a:r>
              <a:rPr lang="en-US" altLang="ja-JP" sz="1600">
                <a:solidFill>
                  <a:srgbClr val="0070C0"/>
                </a:solidFill>
                <a:latin typeface="BIZ UDPゴシック"/>
                <a:ea typeface="BIZ UDPゴシック"/>
              </a:rPr>
              <a:t>QR</a:t>
            </a:r>
            <a:r>
              <a:rPr lang="ja-JP" altLang="en-US" sz="1600">
                <a:solidFill>
                  <a:srgbClr val="0070C0"/>
                </a:solidFill>
                <a:latin typeface="BIZ UDPゴシック"/>
                <a:ea typeface="BIZ UDPゴシック"/>
              </a:rPr>
              <a:t>コードを読み取り機に提示することで利用</a:t>
            </a:r>
            <a:endParaRPr lang="en-US" altLang="ja-JP" sz="1600">
              <a:solidFill>
                <a:srgbClr val="0070C0"/>
              </a:solidFill>
              <a:latin typeface="BIZ UDPゴシック"/>
              <a:ea typeface="BIZ UDPゴシック"/>
            </a:endParaRP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サービス運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a:t>
            </a: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R="0" lvl="0" algn="l" defTabSz="914400" rtl="0" eaLnBrk="1" fontAlgn="auto" latinLnBrk="0" hangingPunct="1">
              <a:lnSpc>
                <a:spcPct val="100000"/>
              </a:lnSpc>
              <a:spcBef>
                <a:spcPts val="0"/>
              </a:spcBef>
              <a:spcAft>
                <a:spcPts val="0"/>
              </a:spcAft>
              <a:buClrTx/>
              <a:buSzTx/>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
        <p:nvSpPr>
          <p:cNvPr id="17" name="テキスト プレースホルダー 10">
            <a:extLst>
              <a:ext uri="{FF2B5EF4-FFF2-40B4-BE49-F238E27FC236}">
                <a16:creationId xmlns:a16="http://schemas.microsoft.com/office/drawing/2014/main" id="{CF45C799-184A-B9A1-3984-069F4A38D270}"/>
              </a:ext>
            </a:extLst>
          </p:cNvPr>
          <p:cNvSpPr txBox="1">
            <a:spLocks/>
          </p:cNvSpPr>
          <p:nvPr/>
        </p:nvSpPr>
        <p:spPr>
          <a:xfrm>
            <a:off x="300779" y="1196746"/>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kumimoji="1" lang="ja-JP" altLang="en-US" sz="1800" b="0" i="0" u="none" strike="noStrike" kern="1200" cap="none" spc="0" normalizeH="0" baseline="0" noProof="0">
                <a:ln>
                  <a:noFill/>
                </a:ln>
                <a:solidFill>
                  <a:srgbClr val="0070C0"/>
                </a:solidFill>
                <a:effectLst/>
                <a:uLnTx/>
                <a:uFillTx/>
                <a:latin typeface="BIZ UDPゴシック"/>
                <a:ea typeface="BIZ UDPゴシック"/>
                <a:cs typeface="+mn-cs"/>
              </a:rPr>
              <a:t>①　新規</a:t>
            </a:r>
            <a:r>
              <a:rPr kumimoji="1" lang="en-US" altLang="ja-JP" sz="1800" b="0" i="0" u="none" strike="noStrike" kern="1200" cap="none" spc="0" normalizeH="0" baseline="0" noProof="0" err="1">
                <a:ln>
                  <a:noFill/>
                </a:ln>
                <a:solidFill>
                  <a:srgbClr val="0070C0"/>
                </a:solidFill>
                <a:effectLst/>
                <a:uLnTx/>
                <a:uFillTx/>
                <a:latin typeface="BIZ UDPゴシック"/>
                <a:ea typeface="BIZ UDPゴシック"/>
                <a:cs typeface="+mn-cs"/>
              </a:rPr>
              <a:t>MaaS</a:t>
            </a:r>
            <a:r>
              <a:rPr kumimoji="1" lang="ja-JP" altLang="en-US" sz="1800" b="0" i="0" u="none" strike="noStrike" kern="1200" cap="none" spc="0" normalizeH="0" baseline="0" noProof="0">
                <a:ln>
                  <a:noFill/>
                </a:ln>
                <a:solidFill>
                  <a:srgbClr val="0070C0"/>
                </a:solidFill>
                <a:effectLst/>
                <a:uLnTx/>
                <a:uFillTx/>
                <a:latin typeface="BIZ UDPゴシック"/>
                <a:ea typeface="BIZ UDPゴシック"/>
                <a:cs typeface="+mn-cs"/>
              </a:rPr>
              <a:t>アプリの開発</a:t>
            </a:r>
            <a:endParaRPr kumimoji="1" lang="en-US" altLang="ja-JP" sz="1800" b="0" i="0" u="none" strike="noStrike" kern="1200" cap="none" spc="0" normalizeH="0" baseline="0" noProof="0">
              <a:ln>
                <a:noFill/>
              </a:ln>
              <a:solidFill>
                <a:srgbClr val="0070C0"/>
              </a:solidFill>
              <a:effectLst/>
              <a:uLnTx/>
              <a:uFillTx/>
              <a:latin typeface="BIZ UDPゴシック"/>
              <a:ea typeface="BIZ UDPゴシック"/>
              <a:cs typeface="+mn-cs"/>
            </a:endParaRPr>
          </a:p>
        </p:txBody>
      </p:sp>
      <p:sp>
        <p:nvSpPr>
          <p:cNvPr id="15" name="テキスト ボックス 14">
            <a:extLst>
              <a:ext uri="{FF2B5EF4-FFF2-40B4-BE49-F238E27FC236}">
                <a16:creationId xmlns:a16="http://schemas.microsoft.com/office/drawing/2014/main" id="{A9796D27-DDEF-1B7A-97DA-28272B9383AC}"/>
              </a:ext>
            </a:extLst>
          </p:cNvPr>
          <p:cNvSpPr txBox="1"/>
          <p:nvPr/>
        </p:nvSpPr>
        <p:spPr>
          <a:xfrm>
            <a:off x="2928358" y="4798746"/>
            <a:ext cx="6335283" cy="153764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a:t>
            </a:r>
            <a:r>
              <a:rPr kumimoji="0" lang="ja-JP" altLang="en-US" sz="1400" b="0" i="0" u="none" strike="noStrike" kern="0" cap="none" spc="0" normalizeH="0" baseline="0" noProof="0">
                <a:ln>
                  <a:noFill/>
                </a:ln>
                <a:solidFill>
                  <a:srgbClr val="FFFFFF"/>
                </a:solidFill>
                <a:effectLst/>
                <a:uLnTx/>
                <a:uFillTx/>
              </a:rPr>
              <a:t>継続開発を行っている場合のみ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これまでの取組と比べ、本プロジェクトでどのような開発や拡充を行い、課題解決に貢献しようとしているのか、具体的に記載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項目はテンプレートを基本とし、任意に増やしていただいて構いません。</a:t>
            </a:r>
          </a:p>
        </p:txBody>
      </p:sp>
    </p:spTree>
    <p:extLst>
      <p:ext uri="{BB962C8B-B14F-4D97-AF65-F5344CB8AC3E}">
        <p14:creationId xmlns:p14="http://schemas.microsoft.com/office/powerpoint/2010/main" val="22492352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a:xfrm>
            <a:off x="300778" y="655357"/>
            <a:ext cx="11891221" cy="432000"/>
          </a:xfrm>
        </p:spPr>
        <p:txBody>
          <a:bodyPr vert="horz"/>
          <a:lstStyle/>
          <a:p>
            <a:r>
              <a:rPr lang="ja-JP" altLang="en-US"/>
              <a:t>１</a:t>
            </a:r>
            <a:r>
              <a:rPr lang="en-US" altLang="ja-JP"/>
              <a:t>.</a:t>
            </a:r>
            <a:r>
              <a:rPr lang="ja-JP" altLang="en-US"/>
              <a:t>サービス全体像│過年度の課題と解決</a:t>
            </a:r>
          </a:p>
        </p:txBody>
      </p:sp>
      <p:sp>
        <p:nvSpPr>
          <p:cNvPr id="11" name="テキスト プレースホルダー 10">
            <a:extLst>
              <a:ext uri="{FF2B5EF4-FFF2-40B4-BE49-F238E27FC236}">
                <a16:creationId xmlns:a16="http://schemas.microsoft.com/office/drawing/2014/main" id="{5B8ABDA1-3D2A-BE6F-2D47-4B44E4CE9142}"/>
              </a:ext>
            </a:extLst>
          </p:cNvPr>
          <p:cNvSpPr>
            <a:spLocks noGrp="1"/>
          </p:cNvSpPr>
          <p:nvPr>
            <p:ph type="body" sz="quarter" idx="4294967295"/>
          </p:nvPr>
        </p:nvSpPr>
        <p:spPr>
          <a:xfrm>
            <a:off x="300779" y="1736090"/>
            <a:ext cx="11376000" cy="323165"/>
          </a:xfrm>
        </p:spPr>
        <p:txBody>
          <a:bodyPr>
            <a:normAutofit fontScale="92500" lnSpcReduction="2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マリーを記載</a:t>
            </a: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pSp>
        <p:nvGrpSpPr>
          <p:cNvPr id="3" name="グループ化 2">
            <a:extLst>
              <a:ext uri="{FF2B5EF4-FFF2-40B4-BE49-F238E27FC236}">
                <a16:creationId xmlns:a16="http://schemas.microsoft.com/office/drawing/2014/main" id="{F85333DF-4E5C-DAEA-926C-1A154E2103A9}"/>
              </a:ext>
            </a:extLst>
          </p:cNvPr>
          <p:cNvGrpSpPr/>
          <p:nvPr/>
        </p:nvGrpSpPr>
        <p:grpSpPr>
          <a:xfrm>
            <a:off x="302400" y="2133600"/>
            <a:ext cx="11587200" cy="309600"/>
            <a:chOff x="302400" y="1990800"/>
            <a:chExt cx="11587200" cy="309600"/>
          </a:xfrm>
        </p:grpSpPr>
        <p:grpSp>
          <p:nvGrpSpPr>
            <p:cNvPr id="4" name="PanelGroup1">
              <a:extLst>
                <a:ext uri="{FF2B5EF4-FFF2-40B4-BE49-F238E27FC236}">
                  <a16:creationId xmlns:a16="http://schemas.microsoft.com/office/drawing/2014/main" id="{EAB62C42-9CF0-6E2B-28F8-CFEDB26FC1DD}"/>
                </a:ext>
              </a:extLst>
            </p:cNvPr>
            <p:cNvGrpSpPr/>
            <p:nvPr/>
          </p:nvGrpSpPr>
          <p:grpSpPr>
            <a:xfrm>
              <a:off x="302400" y="1990800"/>
              <a:ext cx="5761200" cy="309600"/>
              <a:chOff x="302400" y="1990800"/>
              <a:chExt cx="5761200" cy="309600"/>
            </a:xfrm>
          </p:grpSpPr>
          <p:sp>
            <p:nvSpPr>
              <p:cNvPr id="10" name="正方形/長方形 9">
                <a:extLst>
                  <a:ext uri="{FF2B5EF4-FFF2-40B4-BE49-F238E27FC236}">
                    <a16:creationId xmlns:a16="http://schemas.microsoft.com/office/drawing/2014/main" id="{1A383005-B1A5-AD52-BAD8-1851206F59CA}"/>
                  </a:ext>
                </a:extLst>
              </p:cNvPr>
              <p:cNvSpPr/>
              <p:nvPr/>
            </p:nvSpPr>
            <p:spPr>
              <a:xfrm>
                <a:off x="302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昨年度の課題</a:t>
                </a:r>
              </a:p>
            </p:txBody>
          </p:sp>
          <p:cxnSp>
            <p:nvCxnSpPr>
              <p:cNvPr id="12" name="直線矢印コネクタ 11">
                <a:extLst>
                  <a:ext uri="{FF2B5EF4-FFF2-40B4-BE49-F238E27FC236}">
                    <a16:creationId xmlns:a16="http://schemas.microsoft.com/office/drawing/2014/main" id="{3653E4DF-7A5D-EE67-D31F-6D64D03C04E6}"/>
                  </a:ext>
                </a:extLst>
              </p:cNvPr>
              <p:cNvCxnSpPr/>
              <p:nvPr/>
            </p:nvCxnSpPr>
            <p:spPr>
              <a:xfrm>
                <a:off x="302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6" name="PanelGroup2">
              <a:extLst>
                <a:ext uri="{FF2B5EF4-FFF2-40B4-BE49-F238E27FC236}">
                  <a16:creationId xmlns:a16="http://schemas.microsoft.com/office/drawing/2014/main" id="{A2007A34-9A61-3C01-D672-C413701B3445}"/>
                </a:ext>
              </a:extLst>
            </p:cNvPr>
            <p:cNvGrpSpPr/>
            <p:nvPr/>
          </p:nvGrpSpPr>
          <p:grpSpPr>
            <a:xfrm>
              <a:off x="6128400" y="1990800"/>
              <a:ext cx="5761200" cy="309600"/>
              <a:chOff x="6128400" y="1990800"/>
              <a:chExt cx="5761200" cy="309600"/>
            </a:xfrm>
          </p:grpSpPr>
          <p:sp>
            <p:nvSpPr>
              <p:cNvPr id="7" name="正方形/長方形 6">
                <a:extLst>
                  <a:ext uri="{FF2B5EF4-FFF2-40B4-BE49-F238E27FC236}">
                    <a16:creationId xmlns:a16="http://schemas.microsoft.com/office/drawing/2014/main" id="{081FA0EF-B0D7-A6B9-D177-CBA186431769}"/>
                  </a:ext>
                </a:extLst>
              </p:cNvPr>
              <p:cNvSpPr/>
              <p:nvPr/>
            </p:nvSpPr>
            <p:spPr>
              <a:xfrm>
                <a:off x="6128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解決策</a:t>
                </a:r>
              </a:p>
            </p:txBody>
          </p:sp>
          <p:cxnSp>
            <p:nvCxnSpPr>
              <p:cNvPr id="8" name="直線矢印コネクタ 7">
                <a:extLst>
                  <a:ext uri="{FF2B5EF4-FFF2-40B4-BE49-F238E27FC236}">
                    <a16:creationId xmlns:a16="http://schemas.microsoft.com/office/drawing/2014/main" id="{99FBEF6F-94C3-52B0-FA40-DD378C8E4F64}"/>
                  </a:ext>
                </a:extLst>
              </p:cNvPr>
              <p:cNvCxnSpPr/>
              <p:nvPr/>
            </p:nvCxnSpPr>
            <p:spPr>
              <a:xfrm>
                <a:off x="6128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sp>
        <p:nvSpPr>
          <p:cNvPr id="13" name="正方形/長方形 12">
            <a:extLst>
              <a:ext uri="{FF2B5EF4-FFF2-40B4-BE49-F238E27FC236}">
                <a16:creationId xmlns:a16="http://schemas.microsoft.com/office/drawing/2014/main" id="{EDAD2185-EC0D-868E-795C-E7F2FB4ACC64}"/>
              </a:ext>
            </a:extLst>
          </p:cNvPr>
          <p:cNvSpPr/>
          <p:nvPr/>
        </p:nvSpPr>
        <p:spPr>
          <a:xfrm>
            <a:off x="300778" y="2591890"/>
            <a:ext cx="5761199" cy="3131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a:solidFill>
                  <a:srgbClr val="000000"/>
                </a:solidFill>
                <a:latin typeface="BIZ UDPゴシック"/>
                <a:ea typeface="BIZ UDPゴシック"/>
              </a:rPr>
              <a:t>システム（機能）</a:t>
            </a:r>
            <a:endParaRPr lang="en-US" altLang="ja-JP" sz="1600">
              <a:solidFill>
                <a:srgbClr val="000000"/>
              </a:solidFill>
              <a:latin typeface="BIZ UDPゴシック"/>
              <a:ea typeface="BIZ UDPゴシック"/>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決済機能はクレジットカードのみ。</a:t>
            </a: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チケットが単回使用のみだった。</a:t>
            </a: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システム（</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I</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X</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大量のチケットはあるものの、その中から目的地のエリアのチケットは探すが困難。</a:t>
            </a: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サービス運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イベント等、アプリの利用促進につながる</a:t>
            </a:r>
            <a:r>
              <a:rPr lang="en-US" altLang="ja-JP" sz="1600">
                <a:solidFill>
                  <a:srgbClr val="0070C0"/>
                </a:solidFill>
                <a:latin typeface="BIZ UDPゴシック"/>
                <a:ea typeface="BIZ UDPゴシック"/>
              </a:rPr>
              <a:t>PR</a:t>
            </a:r>
            <a:r>
              <a:rPr lang="ja-JP" altLang="en-US" sz="1600">
                <a:solidFill>
                  <a:srgbClr val="0070C0"/>
                </a:solidFill>
                <a:latin typeface="BIZ UDPゴシック"/>
                <a:ea typeface="BIZ UDPゴシック"/>
              </a:rPr>
              <a:t>記事を掲載する際、アプリ事業者の確認に時間を要し時期を逃すことがあった。</a:t>
            </a:r>
            <a:endParaRPr kumimoji="1" lang="ja-JP" altLang="en-US" sz="1600" b="0" i="0" u="none" strike="noStrike" kern="1200" cap="none" spc="0" normalizeH="0" baseline="0" noProof="0">
              <a:ln>
                <a:noFill/>
              </a:ln>
              <a:solidFill>
                <a:srgbClr val="0070C0"/>
              </a:solidFill>
              <a:effectLst/>
              <a:uLnTx/>
              <a:uFillTx/>
              <a:latin typeface="BIZ UDPゴシック"/>
              <a:ea typeface="BIZ UDPゴシック"/>
              <a:cs typeface="+mn-cs"/>
            </a:endParaRPr>
          </a:p>
          <a:p>
            <a:pPr marR="0" lvl="0" algn="l" defTabSz="914400" rtl="0" eaLnBrk="1" fontAlgn="auto" latinLnBrk="0" hangingPunct="1">
              <a:lnSpc>
                <a:spcPct val="100000"/>
              </a:lnSpc>
              <a:spcBef>
                <a:spcPts val="0"/>
              </a:spcBef>
              <a:spcAft>
                <a:spcPts val="0"/>
              </a:spcAft>
              <a:buClrTx/>
              <a:buSzTx/>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
        <p:nvSpPr>
          <p:cNvPr id="14" name="正方形/長方形 13">
            <a:extLst>
              <a:ext uri="{FF2B5EF4-FFF2-40B4-BE49-F238E27FC236}">
                <a16:creationId xmlns:a16="http://schemas.microsoft.com/office/drawing/2014/main" id="{EB154E72-D468-E337-5176-249A512E7AD4}"/>
              </a:ext>
            </a:extLst>
          </p:cNvPr>
          <p:cNvSpPr/>
          <p:nvPr/>
        </p:nvSpPr>
        <p:spPr>
          <a:xfrm>
            <a:off x="6128401" y="2591890"/>
            <a:ext cx="5761199" cy="3131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a:solidFill>
                  <a:srgbClr val="000000"/>
                </a:solidFill>
                <a:latin typeface="BIZ UDPゴシック"/>
                <a:ea typeface="BIZ UDPゴシック"/>
              </a:rPr>
              <a:t>システム（機能）</a:t>
            </a:r>
            <a:endParaRPr lang="en-US" altLang="ja-JP" sz="1600">
              <a:solidFill>
                <a:srgbClr val="000000"/>
              </a:solidFill>
              <a:latin typeface="BIZ UDPゴシック"/>
              <a:ea typeface="BIZ UDPゴシック"/>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キャッシュレス決済（</a:t>
            </a:r>
            <a:r>
              <a:rPr lang="en-US" altLang="ja-JP" sz="1600" err="1">
                <a:solidFill>
                  <a:srgbClr val="0070C0"/>
                </a:solidFill>
                <a:latin typeface="BIZ UDPゴシック"/>
                <a:ea typeface="BIZ UDPゴシック"/>
              </a:rPr>
              <a:t>PayPay</a:t>
            </a:r>
            <a:r>
              <a:rPr lang="ja-JP" altLang="en-US" sz="1600">
                <a:solidFill>
                  <a:srgbClr val="0070C0"/>
                </a:solidFill>
                <a:latin typeface="BIZ UDPゴシック"/>
                <a:ea typeface="BIZ UDPゴシック"/>
              </a:rPr>
              <a:t>）を導入。</a:t>
            </a: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複数回利用できる回数券機能の実装。</a:t>
            </a: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システム（</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I</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X</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県単位⇒ドロップダウンで地域選択できる形式に整理。</a:t>
            </a: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サービス運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lang="en-US" altLang="ja-JP" sz="1600">
                <a:solidFill>
                  <a:srgbClr val="0070C0"/>
                </a:solidFill>
                <a:latin typeface="BIZ UDPゴシック"/>
                <a:ea typeface="BIZ UDPゴシック"/>
              </a:rPr>
              <a:t>PR</a:t>
            </a:r>
            <a:r>
              <a:rPr lang="ja-JP" altLang="en-US" sz="1600">
                <a:solidFill>
                  <a:srgbClr val="0070C0"/>
                </a:solidFill>
                <a:latin typeface="BIZ UDPゴシック"/>
                <a:ea typeface="BIZ UDPゴシック"/>
              </a:rPr>
              <a:t>記事掲載の手続きをツール化し、事業者自らで自由に編集、投稿できる仕様に変更。</a:t>
            </a:r>
            <a:endParaRPr kumimoji="1" lang="ja-JP" altLang="en-US" sz="1600" b="0" i="0" u="none" strike="noStrike" kern="1200" cap="none" spc="0" normalizeH="0" baseline="0" noProof="0">
              <a:ln>
                <a:noFill/>
              </a:ln>
              <a:solidFill>
                <a:srgbClr val="0070C0"/>
              </a:solidFill>
              <a:effectLst/>
              <a:uLnTx/>
              <a:uFillTx/>
              <a:latin typeface="BIZ UDPゴシック"/>
              <a:ea typeface="BIZ UDPゴシック"/>
              <a:cs typeface="+mn-cs"/>
            </a:endParaRPr>
          </a:p>
          <a:p>
            <a:pPr marR="0" lvl="0" algn="l" defTabSz="914400" rtl="0" eaLnBrk="1" fontAlgn="auto" latinLnBrk="0" hangingPunct="1">
              <a:lnSpc>
                <a:spcPct val="100000"/>
              </a:lnSpc>
              <a:spcBef>
                <a:spcPts val="0"/>
              </a:spcBef>
              <a:spcAft>
                <a:spcPts val="0"/>
              </a:spcAft>
              <a:buClrTx/>
              <a:buSzTx/>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
        <p:nvSpPr>
          <p:cNvPr id="17" name="テキスト プレースホルダー 10">
            <a:extLst>
              <a:ext uri="{FF2B5EF4-FFF2-40B4-BE49-F238E27FC236}">
                <a16:creationId xmlns:a16="http://schemas.microsoft.com/office/drawing/2014/main" id="{CF45C799-184A-B9A1-3984-069F4A38D270}"/>
              </a:ext>
            </a:extLst>
          </p:cNvPr>
          <p:cNvSpPr txBox="1">
            <a:spLocks/>
          </p:cNvSpPr>
          <p:nvPr/>
        </p:nvSpPr>
        <p:spPr>
          <a:xfrm>
            <a:off x="300779" y="1196746"/>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R="0" lvl="0" algn="l" defTabSz="914400" rtl="0" eaLnBrk="1" fontAlgn="auto" latinLnBrk="0" hangingPunct="1">
              <a:lnSpc>
                <a:spcPct val="100000"/>
              </a:lnSpc>
              <a:spcBef>
                <a:spcPts val="300"/>
              </a:spcBef>
              <a:spcAft>
                <a:spcPts val="0"/>
              </a:spcAft>
              <a:buClrTx/>
              <a:buSzTx/>
              <a:tabLst/>
              <a:defRPr/>
            </a:pPr>
            <a:r>
              <a:rPr lang="ja-JP" altLang="en-US" sz="1800">
                <a:solidFill>
                  <a:srgbClr val="0070C0"/>
                </a:solidFill>
                <a:latin typeface="BIZ UDPゴシック"/>
                <a:ea typeface="BIZ UDPゴシック"/>
              </a:rPr>
              <a:t>②デジタルパスの販売</a:t>
            </a:r>
            <a:endParaRPr lang="en-US" altLang="ja-JP" sz="1800">
              <a:solidFill>
                <a:srgbClr val="0070C0"/>
              </a:solidFill>
              <a:latin typeface="BIZ UDPゴシック"/>
              <a:ea typeface="BIZ UDPゴシック"/>
            </a:endParaRPr>
          </a:p>
        </p:txBody>
      </p:sp>
      <p:sp>
        <p:nvSpPr>
          <p:cNvPr id="16" name="テキスト ボックス 15">
            <a:extLst>
              <a:ext uri="{FF2B5EF4-FFF2-40B4-BE49-F238E27FC236}">
                <a16:creationId xmlns:a16="http://schemas.microsoft.com/office/drawing/2014/main" id="{7D1DF7C9-B22D-7878-CE7C-F671592FAA6D}"/>
              </a:ext>
            </a:extLst>
          </p:cNvPr>
          <p:cNvSpPr txBox="1"/>
          <p:nvPr/>
        </p:nvSpPr>
        <p:spPr>
          <a:xfrm>
            <a:off x="2960758" y="4122923"/>
            <a:ext cx="6335283" cy="153764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a:t>
            </a:r>
            <a:r>
              <a:rPr kumimoji="0" lang="ja-JP" altLang="en-US" sz="1400" b="0" i="0" u="none" strike="noStrike" kern="0" cap="none" spc="0" normalizeH="0" baseline="0" noProof="0">
                <a:ln>
                  <a:noFill/>
                </a:ln>
                <a:solidFill>
                  <a:srgbClr val="FFFFFF"/>
                </a:solidFill>
                <a:effectLst/>
                <a:uLnTx/>
                <a:uFillTx/>
              </a:rPr>
              <a:t>継続開発を行っている場合のみ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これまでの取組と比べ、本プロジェクトでどのような開発や拡充を行い、課題解決に貢献しようとしているのか、具体的に記載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項目はテンプレートを基本とし、任意に増やしていただいて構いません。</a:t>
            </a:r>
          </a:p>
        </p:txBody>
      </p:sp>
    </p:spTree>
    <p:extLst>
      <p:ext uri="{BB962C8B-B14F-4D97-AF65-F5344CB8AC3E}">
        <p14:creationId xmlns:p14="http://schemas.microsoft.com/office/powerpoint/2010/main" val="8665720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6AE4F6-F01F-62C2-59D7-A3B8E9AE82D8}"/>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E8C9B9F-8072-E0E4-77B7-420C6D2F96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6" name="think-cell data - do not delete" hidden="1">
                        <a:extLst>
                          <a:ext uri="{FF2B5EF4-FFF2-40B4-BE49-F238E27FC236}">
                            <a16:creationId xmlns:a16="http://schemas.microsoft.com/office/drawing/2014/main" id="{1E8C9B9F-8072-E0E4-77B7-420C6D2F96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8ED92B7C-1EEB-5342-CD72-059EC9543A4F}"/>
              </a:ext>
            </a:extLst>
          </p:cNvPr>
          <p:cNvSpPr>
            <a:spLocks noGrp="1"/>
          </p:cNvSpPr>
          <p:nvPr>
            <p:ph type="body" sz="quarter" idx="36"/>
          </p:nvPr>
        </p:nvSpPr>
        <p:spPr/>
        <p:txBody>
          <a:bodyPr/>
          <a:lstStyle/>
          <a:p>
            <a:endParaRPr kumimoji="1" lang="ja-JP" altLang="en-US"/>
          </a:p>
        </p:txBody>
      </p:sp>
      <p:graphicFrame>
        <p:nvGraphicFramePr>
          <p:cNvPr id="13" name="表 12">
            <a:extLst>
              <a:ext uri="{FF2B5EF4-FFF2-40B4-BE49-F238E27FC236}">
                <a16:creationId xmlns:a16="http://schemas.microsoft.com/office/drawing/2014/main" id="{6B84DF48-8B2E-7483-E19E-A4C36C91AA03}"/>
              </a:ext>
            </a:extLst>
          </p:cNvPr>
          <p:cNvGraphicFramePr>
            <a:graphicFrameLocks noGrp="1"/>
          </p:cNvGraphicFramePr>
          <p:nvPr>
            <p:extLst>
              <p:ext uri="{D42A27DB-BD31-4B8C-83A1-F6EECF244321}">
                <p14:modId xmlns:p14="http://schemas.microsoft.com/office/powerpoint/2010/main" val="1247738597"/>
              </p:ext>
            </p:extLst>
          </p:nvPr>
        </p:nvGraphicFramePr>
        <p:xfrm>
          <a:off x="403226" y="1277894"/>
          <a:ext cx="11273553" cy="3901440"/>
        </p:xfrm>
        <a:graphic>
          <a:graphicData uri="http://schemas.openxmlformats.org/drawingml/2006/table">
            <a:tbl>
              <a:tblPr bandRow="1">
                <a:tableStyleId>{69012ECD-51FC-41F1-AA8D-1B2483CD663E}</a:tableStyleId>
              </a:tblPr>
              <a:tblGrid>
                <a:gridCol w="390612">
                  <a:extLst>
                    <a:ext uri="{9D8B030D-6E8A-4147-A177-3AD203B41FA5}">
                      <a16:colId xmlns:a16="http://schemas.microsoft.com/office/drawing/2014/main" val="2108554568"/>
                    </a:ext>
                  </a:extLst>
                </a:gridCol>
                <a:gridCol w="1404732">
                  <a:extLst>
                    <a:ext uri="{9D8B030D-6E8A-4147-A177-3AD203B41FA5}">
                      <a16:colId xmlns:a16="http://schemas.microsoft.com/office/drawing/2014/main" val="3815544931"/>
                    </a:ext>
                  </a:extLst>
                </a:gridCol>
                <a:gridCol w="2897082">
                  <a:extLst>
                    <a:ext uri="{9D8B030D-6E8A-4147-A177-3AD203B41FA5}">
                      <a16:colId xmlns:a16="http://schemas.microsoft.com/office/drawing/2014/main" val="603325944"/>
                    </a:ext>
                  </a:extLst>
                </a:gridCol>
                <a:gridCol w="6581127">
                  <a:extLst>
                    <a:ext uri="{9D8B030D-6E8A-4147-A177-3AD203B41FA5}">
                      <a16:colId xmlns:a16="http://schemas.microsoft.com/office/drawing/2014/main" val="410620975"/>
                    </a:ext>
                  </a:extLst>
                </a:gridCol>
              </a:tblGrid>
              <a:tr h="201149">
                <a:tc gridSpan="2">
                  <a:txBody>
                    <a:bodyPr/>
                    <a:lstStyle/>
                    <a:p>
                      <a:r>
                        <a:rPr kumimoji="1" lang="ja-JP" altLang="en-US" sz="1000" b="1"/>
                        <a:t>章</a:t>
                      </a:r>
                    </a:p>
                  </a:txBody>
                  <a:tcPr>
                    <a:lnL w="19050" cap="flat" cmpd="sng" algn="ctr">
                      <a:solidFill>
                        <a:schemeClr val="tx1"/>
                      </a:solid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kumimoji="1" lang="ja-JP" altLang="en-US" sz="1000"/>
                    </a:p>
                  </a:txBody>
                  <a:tcPr>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00" b="1"/>
                        <a:t>アジェンダ</a:t>
                      </a:r>
                    </a:p>
                  </a:txBody>
                  <a:tcP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00" b="1"/>
                        <a:t>記載内容</a:t>
                      </a:r>
                    </a:p>
                  </a:txBody>
                  <a:tcPr>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20628022"/>
                  </a:ext>
                </a:extLst>
              </a:tr>
              <a:tr h="201149">
                <a:tc rowSpan="6">
                  <a:txBody>
                    <a:bodyPr/>
                    <a:lstStyle/>
                    <a:p>
                      <a:r>
                        <a:rPr kumimoji="1" lang="en-US" altLang="ja-JP" sz="1000"/>
                        <a:t>Ⅰ</a:t>
                      </a:r>
                      <a:endParaRPr kumimoji="1" lang="ja-JP" altLang="en-US" sz="1000"/>
                    </a:p>
                  </a:txBody>
                  <a:tcPr>
                    <a:lnL w="19050" cap="flat" cmpd="sng" algn="ctr">
                      <a:solidFill>
                        <a:schemeClr val="tx1"/>
                      </a:solid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rowSpan="6">
                  <a:txBody>
                    <a:bodyPr/>
                    <a:lstStyle/>
                    <a:p>
                      <a:r>
                        <a:rPr kumimoji="1" lang="ja-JP" altLang="en-US" sz="1000"/>
                        <a:t>プロジェクトの</a:t>
                      </a:r>
                      <a:br>
                        <a:rPr kumimoji="1" lang="en-US" altLang="ja-JP" sz="1000"/>
                      </a:br>
                      <a:r>
                        <a:rPr kumimoji="1" lang="ja-JP" altLang="en-US" sz="1000"/>
                        <a:t>ビジョン</a:t>
                      </a:r>
                    </a:p>
                  </a:txBody>
                  <a:tcP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r>
                        <a:rPr kumimoji="1" lang="en-US" altLang="ja-JP" sz="1000"/>
                        <a:t>1.</a:t>
                      </a:r>
                      <a:r>
                        <a:rPr kumimoji="1" lang="ja-JP" altLang="en-US" sz="1000"/>
                        <a:t>解決すべき社会課題</a:t>
                      </a:r>
                    </a:p>
                  </a:txBody>
                  <a:tcPr>
                    <a:lnT w="19050" cap="flat" cmpd="sng" algn="ctr">
                      <a:solidFill>
                        <a:schemeClr val="tx1"/>
                      </a:solidFill>
                      <a:prstDash val="solid"/>
                      <a:round/>
                      <a:headEnd type="none" w="med" len="med"/>
                      <a:tailEnd type="none" w="med" len="med"/>
                    </a:lnT>
                  </a:tcPr>
                </a:tc>
                <a:tc>
                  <a:txBody>
                    <a:bodyPr/>
                    <a:lstStyle/>
                    <a:p>
                      <a:r>
                        <a:rPr kumimoji="1" lang="ja-JP" altLang="en-US" sz="1000"/>
                        <a:t>本実証にあたり解決すべき社会課題</a:t>
                      </a:r>
                    </a:p>
                  </a:txBody>
                  <a:tcPr>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35912491"/>
                  </a:ext>
                </a:extLst>
              </a:tr>
              <a:tr h="201149">
                <a:tc vMerge="1">
                  <a:txBody>
                    <a:bodyPr/>
                    <a:lstStyle/>
                    <a:p>
                      <a:endParaRPr kumimoji="1" lang="ja-JP" altLang="en-US" sz="1000"/>
                    </a:p>
                  </a:txBody>
                  <a:tcPr>
                    <a:solidFill>
                      <a:schemeClr val="bg1"/>
                    </a:solidFill>
                  </a:tcPr>
                </a:tc>
                <a:tc vMerge="1">
                  <a:txBody>
                    <a:bodyPr/>
                    <a:lstStyle/>
                    <a:p>
                      <a:endParaRPr kumimoji="1" lang="ja-JP" altLang="en-US" sz="1000"/>
                    </a:p>
                  </a:txBody>
                  <a:tcPr>
                    <a:solidFill>
                      <a:schemeClr val="bg1"/>
                    </a:solidFill>
                  </a:tcPr>
                </a:tc>
                <a:tc>
                  <a:txBody>
                    <a:bodyPr/>
                    <a:lstStyle/>
                    <a:p>
                      <a:r>
                        <a:rPr kumimoji="1" lang="en-US" altLang="ja-JP" sz="1000"/>
                        <a:t>2.</a:t>
                      </a:r>
                      <a:r>
                        <a:rPr kumimoji="1" lang="ja-JP" altLang="en-US" sz="1000"/>
                        <a:t>創出価値</a:t>
                      </a:r>
                    </a:p>
                  </a:txBody>
                  <a:tcPr/>
                </a:tc>
                <a:tc>
                  <a:txBody>
                    <a:bodyPr/>
                    <a:lstStyle/>
                    <a:p>
                      <a:r>
                        <a:rPr kumimoji="1" lang="ja-JP" altLang="en-US" sz="1000"/>
                        <a:t>本実証が業界・事業領域全体にもたらす価値</a:t>
                      </a:r>
                    </a:p>
                  </a:txBody>
                  <a:tcPr>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613895637"/>
                  </a:ext>
                </a:extLst>
              </a:tr>
              <a:tr h="201149">
                <a:tc vMerge="1">
                  <a:txBody>
                    <a:bodyPr/>
                    <a:lstStyle/>
                    <a:p>
                      <a:endParaRPr kumimoji="1" lang="ja-JP" altLang="en-US" sz="1000"/>
                    </a:p>
                  </a:txBody>
                  <a:tcPr>
                    <a:solidFill>
                      <a:schemeClr val="bg1"/>
                    </a:solidFill>
                  </a:tcPr>
                </a:tc>
                <a:tc vMerge="1">
                  <a:txBody>
                    <a:bodyPr/>
                    <a:lstStyle/>
                    <a:p>
                      <a:endParaRPr kumimoji="1" lang="ja-JP" altLang="en-US" sz="1000"/>
                    </a:p>
                  </a:txBody>
                  <a:tcPr>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en-US" altLang="ja-JP" sz="1000"/>
                        <a:t>3.</a:t>
                      </a:r>
                      <a:r>
                        <a:rPr kumimoji="1" lang="ja-JP" altLang="en-US" sz="1000"/>
                        <a:t>課題解決のアプローチ</a:t>
                      </a:r>
                    </a:p>
                  </a:txBody>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00"/>
                        <a:t>本実証における課題解決の方法</a:t>
                      </a:r>
                    </a:p>
                  </a:txBody>
                  <a:tcPr>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293486874"/>
                  </a:ext>
                </a:extLst>
              </a:tr>
              <a:tr h="201149">
                <a:tc vMerge="1">
                  <a:txBody>
                    <a:bodyPr/>
                    <a:lstStyle/>
                    <a:p>
                      <a:endParaRPr kumimoji="1" lang="ja-JP" altLang="en-US"/>
                    </a:p>
                  </a:txBody>
                  <a:tcPr/>
                </a:tc>
                <a:tc vMerge="1">
                  <a:txBody>
                    <a:bodyPr/>
                    <a:lstStyle/>
                    <a:p>
                      <a:endParaRPr kumimoji="1" lang="ja-JP" altLang="en-US"/>
                    </a:p>
                  </a:txBody>
                  <a:tcPr/>
                </a:tc>
                <a:tc>
                  <a:txBody>
                    <a:bodyPr/>
                    <a:lstStyle/>
                    <a:p>
                      <a:r>
                        <a:rPr kumimoji="1" lang="en-US" altLang="ja-JP" sz="1000"/>
                        <a:t>4.KPI</a:t>
                      </a:r>
                      <a:endParaRPr kumimoji="1" lang="ja-JP" altLang="en-US" sz="1000"/>
                    </a:p>
                  </a:txBody>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00"/>
                        <a:t>成功の指標となる具体的な目標値を設定する</a:t>
                      </a:r>
                    </a:p>
                  </a:txBody>
                  <a:tcPr>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564492162"/>
                  </a:ext>
                </a:extLst>
              </a:tr>
              <a:tr h="201149">
                <a:tc vMerge="1">
                  <a:txBody>
                    <a:bodyPr/>
                    <a:lstStyle/>
                    <a:p>
                      <a:endParaRPr kumimoji="1" lang="ja-JP" altLang="en-US"/>
                    </a:p>
                  </a:txBody>
                  <a:tcPr/>
                </a:tc>
                <a:tc vMerge="1">
                  <a:txBody>
                    <a:bodyPr/>
                    <a:lstStyle/>
                    <a:p>
                      <a:endParaRPr kumimoji="1" lang="ja-JP" altLang="en-US"/>
                    </a:p>
                  </a:txBody>
                  <a:tcPr/>
                </a:tc>
                <a:tc>
                  <a:txBody>
                    <a:bodyPr/>
                    <a:lstStyle/>
                    <a:p>
                      <a:r>
                        <a:rPr kumimoji="1" lang="en-US" altLang="ja-JP" sz="1000"/>
                        <a:t>5.</a:t>
                      </a:r>
                      <a:r>
                        <a:rPr kumimoji="1" lang="ja-JP" altLang="en-US" sz="1000"/>
                        <a:t>想定事業機会</a:t>
                      </a:r>
                    </a:p>
                  </a:txBody>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00"/>
                        <a:t>本プロジェクトが目指すビジョン、将来構想及び想定事業機会</a:t>
                      </a:r>
                    </a:p>
                  </a:txBody>
                  <a:tcPr>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846630787"/>
                  </a:ext>
                </a:extLst>
              </a:tr>
              <a:tr h="201149">
                <a:tc vMerge="1">
                  <a:txBody>
                    <a:bodyPr/>
                    <a:lstStyle/>
                    <a:p>
                      <a:endParaRPr kumimoji="1" lang="ja-JP" altLang="en-US" sz="1000"/>
                    </a:p>
                  </a:txBody>
                  <a:tcPr>
                    <a:solidFill>
                      <a:schemeClr val="bg1"/>
                    </a:solidFill>
                  </a:tcPr>
                </a:tc>
                <a:tc vMerge="1">
                  <a:txBody>
                    <a:bodyPr/>
                    <a:lstStyle/>
                    <a:p>
                      <a:endParaRPr kumimoji="1" lang="ja-JP" altLang="en-US" sz="1000"/>
                    </a:p>
                  </a:txBody>
                  <a:tcPr>
                    <a:solidFill>
                      <a:schemeClr val="bg1"/>
                    </a:solidFill>
                  </a:tcPr>
                </a:tc>
                <a:tc>
                  <a:txBody>
                    <a:bodyPr/>
                    <a:lstStyle/>
                    <a:p>
                      <a:r>
                        <a:rPr kumimoji="1" lang="ja-JP" altLang="en-US" sz="1000"/>
                        <a:t>６</a:t>
                      </a:r>
                      <a:r>
                        <a:rPr kumimoji="1" lang="en-US" altLang="ja-JP" sz="1000"/>
                        <a:t>.</a:t>
                      </a:r>
                      <a:r>
                        <a:rPr kumimoji="1" lang="ja-JP" altLang="en-US" sz="1000"/>
                        <a:t>中長期的な展開</a:t>
                      </a:r>
                    </a:p>
                  </a:txBody>
                  <a:tcPr>
                    <a:lnB w="19050" cap="flat" cmpd="sng" algn="ctr">
                      <a:solidFill>
                        <a:schemeClr val="tx1"/>
                      </a:solidFill>
                      <a:prstDash val="solid"/>
                      <a:round/>
                      <a:headEnd type="none" w="med" len="med"/>
                      <a:tailEnd type="none" w="med" len="med"/>
                    </a:lnB>
                  </a:tcPr>
                </a:tc>
                <a:tc>
                  <a:txBody>
                    <a:bodyPr/>
                    <a:lstStyle/>
                    <a:p>
                      <a:r>
                        <a:rPr kumimoji="1" lang="ja-JP" altLang="en-US" sz="1000"/>
                        <a:t>本プロジェクトのスケジュールを中長期的に設定する</a:t>
                      </a:r>
                    </a:p>
                  </a:txBody>
                  <a:tcPr>
                    <a:lnR w="19050" cap="flat" cmpd="sng" algn="ctr">
                      <a:solidFill>
                        <a:schemeClr val="tx1"/>
                      </a:solidFill>
                      <a:prstDash val="solid"/>
                      <a:round/>
                      <a:headEnd type="none" w="med" len="med"/>
                      <a:tailEnd type="none" w="med" len="med"/>
                    </a:lnR>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36354811"/>
                  </a:ext>
                </a:extLst>
              </a:tr>
              <a:tr h="201149">
                <a:tc rowSpan="9">
                  <a:txBody>
                    <a:bodyPr/>
                    <a:lstStyle/>
                    <a:p>
                      <a:r>
                        <a:rPr kumimoji="1" lang="en-US" altLang="ja-JP" sz="1000"/>
                        <a:t>Ⅱ</a:t>
                      </a:r>
                    </a:p>
                    <a:p>
                      <a:endParaRPr kumimoji="1" lang="en-US" altLang="ja-JP" sz="1000"/>
                    </a:p>
                    <a:p>
                      <a:endParaRPr kumimoji="1" lang="en-US" altLang="ja-JP" sz="1000"/>
                    </a:p>
                  </a:txBody>
                  <a:tcPr>
                    <a:lnL w="19050" cap="flat" cmpd="sng" algn="ctr">
                      <a:solidFill>
                        <a:schemeClr val="tx1"/>
                      </a:solidFill>
                      <a:prstDash val="solid"/>
                      <a:round/>
                      <a:headEnd type="none" w="med" len="med"/>
                      <a:tailEnd type="none" w="med" len="med"/>
                    </a:lnL>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9">
                  <a:txBody>
                    <a:bodyPr/>
                    <a:lstStyle/>
                    <a:p>
                      <a:r>
                        <a:rPr kumimoji="1" lang="ja-JP" altLang="en-US" sz="1000">
                          <a:solidFill>
                            <a:schemeClr val="tx1"/>
                          </a:solidFill>
                        </a:rPr>
                        <a:t>交通サービスの高度化</a:t>
                      </a:r>
                      <a:endParaRPr kumimoji="1" lang="en-US" altLang="ja-JP" sz="1000">
                        <a:solidFill>
                          <a:schemeClr val="tx1"/>
                        </a:solidFill>
                      </a:endParaRPr>
                    </a:p>
                    <a:p>
                      <a:endParaRPr kumimoji="1" lang="en-US" altLang="ja-JP" sz="1000">
                        <a:solidFill>
                          <a:schemeClr val="tx1"/>
                        </a:solidFill>
                      </a:endParaRPr>
                    </a:p>
                  </a:txBody>
                  <a:tcP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en-US" altLang="ja-JP" sz="1000">
                          <a:solidFill>
                            <a:schemeClr val="tx1"/>
                          </a:solidFill>
                        </a:rPr>
                        <a:t>1.</a:t>
                      </a:r>
                      <a:r>
                        <a:rPr kumimoji="1" lang="ja-JP" altLang="en-US" sz="1000">
                          <a:solidFill>
                            <a:schemeClr val="tx1"/>
                          </a:solidFill>
                        </a:rPr>
                        <a:t>サービス全体像</a:t>
                      </a:r>
                    </a:p>
                  </a:txBody>
                  <a:tcPr>
                    <a:lnT w="19050" cap="flat" cmpd="sng" algn="ctr">
                      <a:solidFill>
                        <a:schemeClr val="tx1"/>
                      </a:solidFill>
                      <a:prstDash val="solid"/>
                      <a:round/>
                      <a:headEnd type="none" w="med" len="med"/>
                      <a:tailEnd type="none" w="med" len="med"/>
                    </a:lnT>
                  </a:tcPr>
                </a:tc>
                <a:tc>
                  <a:txBody>
                    <a:bodyPr/>
                    <a:lstStyle/>
                    <a:p>
                      <a:r>
                        <a:rPr kumimoji="1" lang="ja-JP" altLang="en-US" sz="1000"/>
                        <a:t>提供するサービスの全体像を明確にする</a:t>
                      </a:r>
                      <a:endParaRPr kumimoji="1" lang="en-US" altLang="ja-JP" sz="1000"/>
                    </a:p>
                  </a:txBody>
                  <a:tcPr>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000664750"/>
                  </a:ext>
                </a:extLst>
              </a:tr>
              <a:tr h="201149">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00">
                          <a:solidFill>
                            <a:schemeClr val="tx1"/>
                          </a:solidFill>
                        </a:rPr>
                        <a:t>２</a:t>
                      </a:r>
                      <a:r>
                        <a:rPr kumimoji="1" lang="en-US" altLang="ja-JP" sz="1000">
                          <a:solidFill>
                            <a:schemeClr val="tx1"/>
                          </a:solidFill>
                        </a:rPr>
                        <a:t>.</a:t>
                      </a:r>
                      <a:r>
                        <a:rPr kumimoji="1" lang="ja-JP" altLang="en-US" sz="1000">
                          <a:solidFill>
                            <a:schemeClr val="tx1"/>
                          </a:solidFill>
                        </a:rPr>
                        <a:t>実証仮説</a:t>
                      </a:r>
                    </a:p>
                  </a:txBody>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00"/>
                        <a:t>実証の前提条件や期待される結果を定義する</a:t>
                      </a:r>
                      <a:endParaRPr kumimoji="1" lang="en-US" altLang="ja-JP" sz="1000"/>
                    </a:p>
                  </a:txBody>
                  <a:tcPr>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187408296"/>
                  </a:ext>
                </a:extLst>
              </a:tr>
              <a:tr h="201149">
                <a:tc vMerge="1">
                  <a:txBody>
                    <a:bodyPr/>
                    <a:lstStyle/>
                    <a:p>
                      <a:endParaRPr/>
                    </a:p>
                  </a:txBody>
                  <a:tcPr>
                    <a:lnT w="12700" cap="flat" cmpd="sng" algn="ctr">
                      <a:solidFill>
                        <a:schemeClr val="tx1"/>
                      </a:solidFill>
                      <a:prstDash val="solid"/>
                      <a:round/>
                      <a:headEnd type="none" w="med" len="med"/>
                      <a:tailEnd type="none" w="med" len="med"/>
                    </a:lnT>
                    <a:solidFill>
                      <a:schemeClr val="bg1"/>
                    </a:solidFill>
                  </a:tcPr>
                </a:tc>
                <a:tc vMerge="1">
                  <a:txBody>
                    <a:bodyPr/>
                    <a:lstStyle/>
                    <a:p>
                      <a:endParaRPr kumimoji="1" lang="ja-JP" altLang="en-US" sz="1000"/>
                    </a:p>
                  </a:txBody>
                  <a:tcPr>
                    <a:lnT w="12700" cap="flat" cmpd="sng" algn="ctr">
                      <a:solidFill>
                        <a:schemeClr val="tx1"/>
                      </a:solidFill>
                      <a:prstDash val="solid"/>
                      <a:round/>
                      <a:headEnd type="none" w="med" len="med"/>
                      <a:tailEnd type="none" w="med" len="med"/>
                    </a:lnT>
                    <a:solidFill>
                      <a:schemeClr val="bg1"/>
                    </a:solidFill>
                  </a:tcPr>
                </a:tc>
                <a:tc>
                  <a:txBody>
                    <a:bodyPr/>
                    <a:lstStyle/>
                    <a:p>
                      <a:r>
                        <a:rPr kumimoji="1" lang="ja-JP" altLang="en-US" sz="1000">
                          <a:solidFill>
                            <a:schemeClr val="tx1"/>
                          </a:solidFill>
                        </a:rPr>
                        <a:t>３</a:t>
                      </a:r>
                      <a:r>
                        <a:rPr kumimoji="1" lang="en-US" altLang="ja-JP" sz="1000">
                          <a:solidFill>
                            <a:schemeClr val="tx1"/>
                          </a:solidFill>
                        </a:rPr>
                        <a:t>.</a:t>
                      </a:r>
                      <a:r>
                        <a:rPr kumimoji="1" lang="ja-JP" altLang="en-US" sz="1000">
                          <a:solidFill>
                            <a:schemeClr val="tx1"/>
                          </a:solidFill>
                        </a:rPr>
                        <a:t>スコープ詳細</a:t>
                      </a:r>
                    </a:p>
                  </a:txBody>
                  <a:tcPr/>
                </a:tc>
                <a:tc>
                  <a:txBody>
                    <a:bodyPr/>
                    <a:lstStyle/>
                    <a:p>
                      <a:r>
                        <a:rPr kumimoji="1" lang="ja-JP" altLang="en-US" sz="1000"/>
                        <a:t>スコープ単位で実施する内容を明確にする</a:t>
                      </a:r>
                    </a:p>
                  </a:txBody>
                  <a:tcPr>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71575238"/>
                  </a:ext>
                </a:extLst>
              </a:tr>
              <a:tr h="201149">
                <a:tc vMerge="1">
                  <a:txBody>
                    <a:bodyPr/>
                    <a:lstStyle/>
                    <a:p>
                      <a:endParaRPr/>
                    </a:p>
                  </a:txBody>
                  <a:tcPr>
                    <a:lnT w="19050" cap="flat" cmpd="sng" algn="ctr">
                      <a:solidFill>
                        <a:schemeClr val="tx1"/>
                      </a:solidFill>
                      <a:prstDash val="solid"/>
                      <a:round/>
                      <a:headEnd type="none" w="med" len="med"/>
                      <a:tailEnd type="none" w="med" len="med"/>
                    </a:lnT>
                    <a:solidFill>
                      <a:schemeClr val="bg1"/>
                    </a:solidFill>
                  </a:tcPr>
                </a:tc>
                <a:tc vMerge="1">
                  <a:txBody>
                    <a:bodyPr/>
                    <a:lstStyle/>
                    <a:p>
                      <a:endParaRPr kumimoji="1" lang="ja-JP" altLang="en-US" sz="1000"/>
                    </a:p>
                  </a:txBody>
                  <a:tcPr>
                    <a:lnT w="19050" cap="flat" cmpd="sng" algn="ctr">
                      <a:solidFill>
                        <a:schemeClr val="tx1"/>
                      </a:solidFill>
                      <a:prstDash val="solid"/>
                      <a:round/>
                      <a:headEnd type="none" w="med" len="med"/>
                      <a:tailEnd type="none" w="med" len="med"/>
                    </a:lnT>
                    <a:solidFill>
                      <a:schemeClr val="bg1"/>
                    </a:solidFill>
                  </a:tcPr>
                </a:tc>
                <a:tc>
                  <a:txBody>
                    <a:bodyPr/>
                    <a:lstStyle/>
                    <a:p>
                      <a:r>
                        <a:rPr kumimoji="1" lang="en-US" altLang="ja-JP" sz="1000"/>
                        <a:t>4.</a:t>
                      </a:r>
                      <a:r>
                        <a:rPr kumimoji="1" lang="ja-JP" altLang="en-US" sz="1000"/>
                        <a:t>プロジェクト実施エリア</a:t>
                      </a:r>
                    </a:p>
                  </a:txBody>
                  <a:tcPr/>
                </a:tc>
                <a:tc>
                  <a:txBody>
                    <a:bodyPr/>
                    <a:lstStyle/>
                    <a:p>
                      <a:r>
                        <a:rPr kumimoji="1" lang="ja-JP" altLang="en-US" sz="1000"/>
                        <a:t>実証を行う具体的な地域や範囲を特定する</a:t>
                      </a:r>
                    </a:p>
                  </a:txBody>
                  <a:tcPr>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173715988"/>
                  </a:ext>
                </a:extLst>
              </a:tr>
              <a:tr h="201149">
                <a:tc vMerge="1">
                  <a:txBody>
                    <a:bodyPr/>
                    <a:lstStyle/>
                    <a:p>
                      <a:endParaRPr/>
                    </a:p>
                  </a:txBody>
                  <a:tcPr>
                    <a:solidFill>
                      <a:schemeClr val="bg1"/>
                    </a:solidFill>
                  </a:tcPr>
                </a:tc>
                <a:tc vMerge="1">
                  <a:txBody>
                    <a:bodyPr/>
                    <a:lstStyle/>
                    <a:p>
                      <a:endParaRPr kumimoji="1" lang="ja-JP" altLang="en-US" sz="1000"/>
                    </a:p>
                  </a:txBody>
                  <a:tcPr>
                    <a:solidFill>
                      <a:schemeClr val="bg1"/>
                    </a:solidFill>
                  </a:tcPr>
                </a:tc>
                <a:tc>
                  <a:txBody>
                    <a:bodyPr/>
                    <a:lstStyle/>
                    <a:p>
                      <a:r>
                        <a:rPr kumimoji="1" lang="en-US" altLang="ja-JP" sz="1000" dirty="0"/>
                        <a:t>5.</a:t>
                      </a:r>
                      <a:r>
                        <a:rPr kumimoji="1" lang="ja-JP" altLang="en-US" sz="1000" dirty="0"/>
                        <a:t>アーキテクチャ全体図</a:t>
                      </a:r>
                    </a:p>
                  </a:txBody>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00"/>
                        <a:t>システム全体の構造を視覚的に示し、各コンポーネントの相互関係を明確にする</a:t>
                      </a:r>
                    </a:p>
                  </a:txBody>
                  <a:tcPr>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1657409"/>
                  </a:ext>
                </a:extLst>
              </a:tr>
              <a:tr h="201149">
                <a:tc vMerge="1">
                  <a:txBody>
                    <a:bodyPr/>
                    <a:lstStyle/>
                    <a:p>
                      <a:endParaRPr kumimoji="1" lang="ja-JP" altLang="en-US"/>
                    </a:p>
                  </a:txBody>
                  <a:tcPr/>
                </a:tc>
                <a:tc vMerge="1">
                  <a:txBody>
                    <a:bodyPr/>
                    <a:lstStyle/>
                    <a:p>
                      <a:endParaRPr kumimoji="1" lang="ja-JP" altLang="en-US"/>
                    </a:p>
                  </a:txBody>
                  <a:tcPr/>
                </a:tc>
                <a:tc>
                  <a:txBody>
                    <a:bodyPr/>
                    <a:lstStyle/>
                    <a:p>
                      <a:r>
                        <a:rPr kumimoji="1" lang="en-US" altLang="ja-JP" sz="1000" dirty="0"/>
                        <a:t>6.</a:t>
                      </a:r>
                      <a:r>
                        <a:rPr kumimoji="1" lang="ja-JP" altLang="en-US" sz="1000" dirty="0"/>
                        <a:t>ハードウェアアーキテクチャ</a:t>
                      </a:r>
                      <a:endParaRPr kumimoji="1" lang="ja-JP" altLang="en-US" sz="1000" dirty="0">
                        <a:solidFill>
                          <a:srgbClr val="C00000"/>
                        </a:solidFill>
                      </a:endParaRPr>
                    </a:p>
                  </a:txBody>
                  <a:tcPr/>
                </a:tc>
                <a:tc>
                  <a:txBody>
                    <a:bodyPr/>
                    <a:lstStyle/>
                    <a:p>
                      <a:r>
                        <a:rPr kumimoji="1" lang="ja-JP" altLang="en-US" sz="1000" dirty="0"/>
                        <a:t>システム全体において稼働するデバイスやインフラを説明する</a:t>
                      </a:r>
                      <a:endParaRPr kumimoji="1" lang="en-US" altLang="ja-JP" sz="1000" dirty="0"/>
                    </a:p>
                  </a:txBody>
                  <a:tcPr>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123195499"/>
                  </a:ext>
                </a:extLst>
              </a:tr>
              <a:tr h="201149">
                <a:tc vMerge="1">
                  <a:txBody>
                    <a:bodyPr/>
                    <a:lstStyle/>
                    <a:p>
                      <a:endParaRPr kumimoji="1" lang="ja-JP" altLang="en-US"/>
                    </a:p>
                  </a:txBody>
                  <a:tcPr>
                    <a:lnT w="12700" cap="flat" cmpd="sng" algn="ctr">
                      <a:solidFill>
                        <a:schemeClr val="tx1"/>
                      </a:solidFill>
                      <a:prstDash val="solid"/>
                      <a:round/>
                      <a:headEnd type="none" w="med" len="med"/>
                      <a:tailEnd type="none" w="med" len="med"/>
                    </a:lnT>
                  </a:tcPr>
                </a:tc>
                <a:tc vMerge="1">
                  <a:txBody>
                    <a:bodyPr/>
                    <a:lstStyle/>
                    <a:p>
                      <a:endParaRPr kumimoji="1" lang="ja-JP" altLang="en-US"/>
                    </a:p>
                  </a:txBody>
                  <a:tcPr>
                    <a:lnT w="12700" cap="flat" cmpd="sng" algn="ctr">
                      <a:solidFill>
                        <a:schemeClr val="tx1"/>
                      </a:solidFill>
                      <a:prstDash val="solid"/>
                      <a:round/>
                      <a:headEnd type="none" w="med" len="med"/>
                      <a:tailEnd type="none" w="med" len="med"/>
                    </a:lnT>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７．利用する技術要素</a:t>
                      </a:r>
                      <a:endParaRPr kumimoji="1" lang="en-US" altLang="ja-JP" sz="1000" dirty="0">
                        <a:solidFill>
                          <a:schemeClr val="tx1"/>
                        </a:solidFill>
                      </a:endParaRPr>
                    </a:p>
                  </a:txBody>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00" dirty="0"/>
                        <a:t>システム開発において使用する技術スタックやツールを明示、各機能を説明する</a:t>
                      </a:r>
                    </a:p>
                  </a:txBody>
                  <a:tcPr>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27228097"/>
                  </a:ext>
                </a:extLst>
              </a:tr>
              <a:tr h="201149">
                <a:tc vMerge="1">
                  <a:txBody>
                    <a:bodyPr/>
                    <a:lstStyle/>
                    <a:p>
                      <a:endParaRPr kumimoji="1" lang="ja-JP" altLang="en-US"/>
                    </a:p>
                  </a:txBody>
                  <a:tcPr>
                    <a:lnT w="19050" cap="flat" cmpd="sng" algn="ctr">
                      <a:solidFill>
                        <a:schemeClr val="tx1"/>
                      </a:solidFill>
                      <a:prstDash val="solid"/>
                      <a:round/>
                      <a:headEnd type="none" w="med" len="med"/>
                      <a:tailEnd type="none" w="med" len="med"/>
                    </a:lnT>
                  </a:tcPr>
                </a:tc>
                <a:tc vMerge="1">
                  <a:txBody>
                    <a:bodyPr/>
                    <a:lstStyle/>
                    <a:p>
                      <a:endParaRPr kumimoji="1" lang="ja-JP" altLang="en-US"/>
                    </a:p>
                  </a:txBody>
                  <a:tcPr>
                    <a:lnT w="19050" cap="flat" cmpd="sng" algn="ctr">
                      <a:solidFill>
                        <a:schemeClr val="tx1"/>
                      </a:solidFill>
                      <a:prstDash val="solid"/>
                      <a:round/>
                      <a:headEnd type="none" w="med" len="med"/>
                      <a:tailEnd type="none" w="med" len="med"/>
                    </a:lnT>
                  </a:tcPr>
                </a:tc>
                <a:tc>
                  <a:txBody>
                    <a:bodyPr/>
                    <a:lstStyle/>
                    <a:p>
                      <a:r>
                        <a:rPr kumimoji="1" lang="ja-JP" altLang="en-US" sz="1000" dirty="0">
                          <a:solidFill>
                            <a:schemeClr val="tx1"/>
                          </a:solidFill>
                        </a:rPr>
                        <a:t>８．ユーザインタフェース</a:t>
                      </a:r>
                      <a:endParaRPr kumimoji="1" lang="en-US" altLang="ja-JP" sz="1000" dirty="0">
                        <a:solidFill>
                          <a:schemeClr val="tx1"/>
                        </a:solidFill>
                      </a:endParaRPr>
                    </a:p>
                  </a:txBody>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00"/>
                        <a:t>ユーザーがシステムを操作するためのインターフェースの設計方針とその具体的な構成要素を示す</a:t>
                      </a:r>
                    </a:p>
                  </a:txBody>
                  <a:tcPr>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970593812"/>
                  </a:ext>
                </a:extLst>
              </a:tr>
              <a:tr h="201149">
                <a:tc vMerge="1">
                  <a:txBody>
                    <a:bodyPr/>
                    <a:lstStyle/>
                    <a:p>
                      <a:endParaRPr/>
                    </a:p>
                  </a:txBody>
                  <a:tcPr>
                    <a:solidFill>
                      <a:schemeClr val="bg1"/>
                    </a:solidFill>
                  </a:tcPr>
                </a:tc>
                <a:tc vMerge="1">
                  <a:txBody>
                    <a:bodyPr/>
                    <a:lstStyle/>
                    <a:p>
                      <a:endParaRPr kumimoji="1" lang="ja-JP" altLang="en-US" sz="1000"/>
                    </a:p>
                  </a:txBody>
                  <a:tcPr>
                    <a:solidFill>
                      <a:schemeClr val="bg1"/>
                    </a:solidFill>
                  </a:tcPr>
                </a:tc>
                <a:tc>
                  <a:txBody>
                    <a:bodyPr/>
                    <a:lstStyle/>
                    <a:p>
                      <a:r>
                        <a:rPr kumimoji="1" lang="ja-JP" altLang="en-US" sz="1000" dirty="0">
                          <a:solidFill>
                            <a:schemeClr val="tx1"/>
                          </a:solidFill>
                        </a:rPr>
                        <a:t>９．事業の推進体制</a:t>
                      </a:r>
                      <a:endParaRPr kumimoji="1" lang="en-US" altLang="ja-JP" sz="1000" dirty="0">
                        <a:solidFill>
                          <a:schemeClr val="tx1"/>
                        </a:solidFill>
                      </a:endParaRPr>
                    </a:p>
                  </a:txBody>
                  <a:tcPr>
                    <a:lnB w="12700" cap="flat" cmpd="sng" algn="ctr">
                      <a:solidFill>
                        <a:schemeClr val="tx1"/>
                      </a:solidFill>
                      <a:prstDash val="solid"/>
                      <a:round/>
                      <a:headEnd type="none" w="med" len="med"/>
                      <a:tailEnd type="none" w="med" len="med"/>
                    </a:lnB>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00" dirty="0"/>
                        <a:t>事業に関与する主要な関係者を特定し、役割を明確にする</a:t>
                      </a:r>
                    </a:p>
                  </a:txBody>
                  <a:tcPr>
                    <a:lnR w="1905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37948930"/>
                  </a:ext>
                </a:extLst>
              </a:tr>
            </a:tbl>
          </a:graphicData>
        </a:graphic>
      </p:graphicFrame>
      <p:sp>
        <p:nvSpPr>
          <p:cNvPr id="8" name="タイトル 3">
            <a:extLst>
              <a:ext uri="{FF2B5EF4-FFF2-40B4-BE49-F238E27FC236}">
                <a16:creationId xmlns:a16="http://schemas.microsoft.com/office/drawing/2014/main" id="{8D9C3CC9-DEFB-340A-4AF6-A5EE3526D94E}"/>
              </a:ext>
            </a:extLst>
          </p:cNvPr>
          <p:cNvSpPr txBox="1">
            <a:spLocks/>
          </p:cNvSpPr>
          <p:nvPr/>
        </p:nvSpPr>
        <p:spPr>
          <a:xfrm>
            <a:off x="300779" y="601848"/>
            <a:ext cx="11376000" cy="432000"/>
          </a:xfrm>
          <a:prstGeom prst="rect">
            <a:avLst/>
          </a:prstGeom>
        </p:spPr>
        <p:txBody>
          <a:bodyPr vert="horz" anchor="ctr"/>
          <a:lstStyle>
            <a:lvl1pPr algn="l" rtl="0" eaLnBrk="1" fontAlgn="base" hangingPunct="1">
              <a:lnSpc>
                <a:spcPct val="80000"/>
              </a:lnSpc>
              <a:spcBef>
                <a:spcPct val="0"/>
              </a:spcBef>
              <a:spcAft>
                <a:spcPct val="0"/>
              </a:spcAft>
              <a:defRPr kumimoji="1" sz="3200" b="1">
                <a:solidFill>
                  <a:schemeClr val="tx1"/>
                </a:solidFill>
                <a:latin typeface="Meiryo UI" panose="020B0604030504040204" pitchFamily="50" charset="-128"/>
                <a:ea typeface="Meiryo UI" panose="020B0604030504040204" pitchFamily="50" charset="-128"/>
                <a:cs typeface="+mj-cs"/>
              </a:defRPr>
            </a:lvl1pPr>
            <a:lvl2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5pPr>
            <a:lvl6pPr marL="371475"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6pPr>
            <a:lvl7pPr marL="742950"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7pPr>
            <a:lvl8pPr marL="1114425"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8pPr>
            <a:lvl9pPr marL="1485900"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9pPr>
          </a:lstStyle>
          <a:p>
            <a:r>
              <a:rPr lang="ja-JP" altLang="en-US" kern="0"/>
              <a:t>本資料の位置付け①</a:t>
            </a:r>
          </a:p>
        </p:txBody>
      </p:sp>
      <p:sp>
        <p:nvSpPr>
          <p:cNvPr id="9" name="テキスト プレースホルダー 1">
            <a:extLst>
              <a:ext uri="{FF2B5EF4-FFF2-40B4-BE49-F238E27FC236}">
                <a16:creationId xmlns:a16="http://schemas.microsoft.com/office/drawing/2014/main" id="{813AD4D0-F7E6-497C-BF37-FF66806078EB}"/>
              </a:ext>
            </a:extLst>
          </p:cNvPr>
          <p:cNvSpPr txBox="1">
            <a:spLocks/>
          </p:cNvSpPr>
          <p:nvPr/>
        </p:nvSpPr>
        <p:spPr>
          <a:xfrm>
            <a:off x="300779" y="947034"/>
            <a:ext cx="11376000" cy="661720"/>
          </a:xfrm>
          <a:prstGeom prst="rect">
            <a:avLst/>
          </a:prstGeom>
        </p:spPr>
        <p:txBody>
          <a:bodyPr vert="horz" lIns="91440" tIns="45720" rIns="91440" bIns="45720" rtlCol="0">
            <a:normAutofit/>
          </a:bodyPr>
          <a:lstStyle>
            <a:lvl1pPr marL="278606" indent="-278606" algn="l" rtl="0" eaLnBrk="1" fontAlgn="base" hangingPunct="1">
              <a:spcBef>
                <a:spcPct val="20000"/>
              </a:spcBef>
              <a:spcAft>
                <a:spcPct val="0"/>
              </a:spcAft>
              <a:buChar char="•"/>
              <a:defRPr kumimoji="1" sz="1600">
                <a:solidFill>
                  <a:schemeClr val="tx1"/>
                </a:solidFill>
                <a:latin typeface="+mn-lt"/>
                <a:ea typeface="游ゴシック" panose="020B0400000000000000"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r>
              <a:rPr lang="ja-JP" altLang="en-US" kern="0"/>
              <a:t>本業務の作業スケジュールや履行体制を含めた業務実施計画書を策定する</a:t>
            </a:r>
          </a:p>
          <a:p>
            <a:endParaRPr lang="ja-JP" altLang="en-US" kern="0"/>
          </a:p>
        </p:txBody>
      </p:sp>
    </p:spTree>
    <p:extLst>
      <p:ext uri="{BB962C8B-B14F-4D97-AF65-F5344CB8AC3E}">
        <p14:creationId xmlns:p14="http://schemas.microsoft.com/office/powerpoint/2010/main" val="6444932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a:xfrm>
            <a:off x="300778" y="655357"/>
            <a:ext cx="11891221" cy="432000"/>
          </a:xfrm>
        </p:spPr>
        <p:txBody>
          <a:bodyPr vert="horz"/>
          <a:lstStyle/>
          <a:p>
            <a:r>
              <a:rPr lang="ja-JP" altLang="en-US"/>
              <a:t>１</a:t>
            </a:r>
            <a:r>
              <a:rPr lang="en-US" altLang="ja-JP"/>
              <a:t>.</a:t>
            </a:r>
            <a:r>
              <a:rPr lang="ja-JP" altLang="en-US"/>
              <a:t>サービス全体像│過年度の課題と解決</a:t>
            </a:r>
          </a:p>
        </p:txBody>
      </p:sp>
      <p:sp>
        <p:nvSpPr>
          <p:cNvPr id="11" name="テキスト プレースホルダー 10">
            <a:extLst>
              <a:ext uri="{FF2B5EF4-FFF2-40B4-BE49-F238E27FC236}">
                <a16:creationId xmlns:a16="http://schemas.microsoft.com/office/drawing/2014/main" id="{5B8ABDA1-3D2A-BE6F-2D47-4B44E4CE9142}"/>
              </a:ext>
            </a:extLst>
          </p:cNvPr>
          <p:cNvSpPr>
            <a:spLocks noGrp="1"/>
          </p:cNvSpPr>
          <p:nvPr>
            <p:ph type="body" sz="quarter" idx="4294967295"/>
          </p:nvPr>
        </p:nvSpPr>
        <p:spPr>
          <a:xfrm>
            <a:off x="300779" y="1736090"/>
            <a:ext cx="11376000" cy="323165"/>
          </a:xfrm>
        </p:spPr>
        <p:txBody>
          <a:bodyPr>
            <a:normAutofit fontScale="92500" lnSpcReduction="2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マリーを記載</a:t>
            </a: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pSp>
        <p:nvGrpSpPr>
          <p:cNvPr id="3" name="グループ化 2">
            <a:extLst>
              <a:ext uri="{FF2B5EF4-FFF2-40B4-BE49-F238E27FC236}">
                <a16:creationId xmlns:a16="http://schemas.microsoft.com/office/drawing/2014/main" id="{F85333DF-4E5C-DAEA-926C-1A154E2103A9}"/>
              </a:ext>
            </a:extLst>
          </p:cNvPr>
          <p:cNvGrpSpPr/>
          <p:nvPr/>
        </p:nvGrpSpPr>
        <p:grpSpPr>
          <a:xfrm>
            <a:off x="302400" y="2133600"/>
            <a:ext cx="11587200" cy="309600"/>
            <a:chOff x="302400" y="1990800"/>
            <a:chExt cx="11587200" cy="309600"/>
          </a:xfrm>
        </p:grpSpPr>
        <p:grpSp>
          <p:nvGrpSpPr>
            <p:cNvPr id="4" name="PanelGroup1">
              <a:extLst>
                <a:ext uri="{FF2B5EF4-FFF2-40B4-BE49-F238E27FC236}">
                  <a16:creationId xmlns:a16="http://schemas.microsoft.com/office/drawing/2014/main" id="{EAB62C42-9CF0-6E2B-28F8-CFEDB26FC1DD}"/>
                </a:ext>
              </a:extLst>
            </p:cNvPr>
            <p:cNvGrpSpPr/>
            <p:nvPr/>
          </p:nvGrpSpPr>
          <p:grpSpPr>
            <a:xfrm>
              <a:off x="302400" y="1990800"/>
              <a:ext cx="5761200" cy="309600"/>
              <a:chOff x="302400" y="1990800"/>
              <a:chExt cx="5761200" cy="309600"/>
            </a:xfrm>
          </p:grpSpPr>
          <p:sp>
            <p:nvSpPr>
              <p:cNvPr id="10" name="正方形/長方形 9">
                <a:extLst>
                  <a:ext uri="{FF2B5EF4-FFF2-40B4-BE49-F238E27FC236}">
                    <a16:creationId xmlns:a16="http://schemas.microsoft.com/office/drawing/2014/main" id="{1A383005-B1A5-AD52-BAD8-1851206F59CA}"/>
                  </a:ext>
                </a:extLst>
              </p:cNvPr>
              <p:cNvSpPr/>
              <p:nvPr/>
            </p:nvSpPr>
            <p:spPr>
              <a:xfrm>
                <a:off x="302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昨年度の課題</a:t>
                </a:r>
              </a:p>
            </p:txBody>
          </p:sp>
          <p:cxnSp>
            <p:nvCxnSpPr>
              <p:cNvPr id="12" name="直線矢印コネクタ 11">
                <a:extLst>
                  <a:ext uri="{FF2B5EF4-FFF2-40B4-BE49-F238E27FC236}">
                    <a16:creationId xmlns:a16="http://schemas.microsoft.com/office/drawing/2014/main" id="{3653E4DF-7A5D-EE67-D31F-6D64D03C04E6}"/>
                  </a:ext>
                </a:extLst>
              </p:cNvPr>
              <p:cNvCxnSpPr/>
              <p:nvPr/>
            </p:nvCxnSpPr>
            <p:spPr>
              <a:xfrm>
                <a:off x="302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6" name="PanelGroup2">
              <a:extLst>
                <a:ext uri="{FF2B5EF4-FFF2-40B4-BE49-F238E27FC236}">
                  <a16:creationId xmlns:a16="http://schemas.microsoft.com/office/drawing/2014/main" id="{A2007A34-9A61-3C01-D672-C413701B3445}"/>
                </a:ext>
              </a:extLst>
            </p:cNvPr>
            <p:cNvGrpSpPr/>
            <p:nvPr/>
          </p:nvGrpSpPr>
          <p:grpSpPr>
            <a:xfrm>
              <a:off x="6128400" y="1990800"/>
              <a:ext cx="5761200" cy="309600"/>
              <a:chOff x="6128400" y="1990800"/>
              <a:chExt cx="5761200" cy="309600"/>
            </a:xfrm>
          </p:grpSpPr>
          <p:sp>
            <p:nvSpPr>
              <p:cNvPr id="7" name="正方形/長方形 6">
                <a:extLst>
                  <a:ext uri="{FF2B5EF4-FFF2-40B4-BE49-F238E27FC236}">
                    <a16:creationId xmlns:a16="http://schemas.microsoft.com/office/drawing/2014/main" id="{081FA0EF-B0D7-A6B9-D177-CBA186431769}"/>
                  </a:ext>
                </a:extLst>
              </p:cNvPr>
              <p:cNvSpPr/>
              <p:nvPr/>
            </p:nvSpPr>
            <p:spPr>
              <a:xfrm>
                <a:off x="6128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解決策</a:t>
                </a:r>
              </a:p>
            </p:txBody>
          </p:sp>
          <p:cxnSp>
            <p:nvCxnSpPr>
              <p:cNvPr id="8" name="直線矢印コネクタ 7">
                <a:extLst>
                  <a:ext uri="{FF2B5EF4-FFF2-40B4-BE49-F238E27FC236}">
                    <a16:creationId xmlns:a16="http://schemas.microsoft.com/office/drawing/2014/main" id="{99FBEF6F-94C3-52B0-FA40-DD378C8E4F64}"/>
                  </a:ext>
                </a:extLst>
              </p:cNvPr>
              <p:cNvCxnSpPr/>
              <p:nvPr/>
            </p:nvCxnSpPr>
            <p:spPr>
              <a:xfrm>
                <a:off x="6128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sp>
        <p:nvSpPr>
          <p:cNvPr id="13" name="正方形/長方形 12">
            <a:extLst>
              <a:ext uri="{FF2B5EF4-FFF2-40B4-BE49-F238E27FC236}">
                <a16:creationId xmlns:a16="http://schemas.microsoft.com/office/drawing/2014/main" id="{EDAD2185-EC0D-868E-795C-E7F2FB4ACC64}"/>
              </a:ext>
            </a:extLst>
          </p:cNvPr>
          <p:cNvSpPr/>
          <p:nvPr/>
        </p:nvSpPr>
        <p:spPr>
          <a:xfrm>
            <a:off x="300778" y="2591890"/>
            <a:ext cx="5761199" cy="3131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a:solidFill>
                  <a:srgbClr val="000000"/>
                </a:solidFill>
                <a:latin typeface="BIZ UDPゴシック"/>
                <a:ea typeface="BIZ UDPゴシック"/>
              </a:rPr>
              <a:t>システム（機能）</a:t>
            </a:r>
            <a:endParaRPr lang="en-US" altLang="ja-JP" sz="1600">
              <a:solidFill>
                <a:srgbClr val="000000"/>
              </a:solidFill>
              <a:latin typeface="BIZ UDPゴシック"/>
              <a:ea typeface="BIZ UDPゴシック"/>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企画チケットを利用の都度、予約・決済手続きが必要。</a:t>
            </a:r>
            <a:endParaRPr lang="en-US" altLang="ja-JP" sz="1600">
              <a:solidFill>
                <a:srgbClr val="0070C0"/>
              </a:solidFill>
              <a:latin typeface="BIZ UDPゴシック"/>
              <a:ea typeface="BIZ UDPゴシック"/>
            </a:endParaRPr>
          </a:p>
          <a:p>
            <a:pPr marL="742950" lvl="1" indent="-285750">
              <a:buFont typeface="Wingdings" panose="05000000000000000000" pitchFamily="2" charset="2"/>
              <a:buChar char="Ø"/>
              <a:defRPr/>
            </a:pPr>
            <a:r>
              <a:rPr kumimoji="1" lang="ja-JP" altLang="en-US" sz="1600" b="0" i="0" u="none" strike="noStrike" kern="1200" cap="none" spc="0" normalizeH="0" baseline="0" noProof="0">
                <a:ln>
                  <a:noFill/>
                </a:ln>
                <a:solidFill>
                  <a:srgbClr val="0070C0"/>
                </a:solidFill>
                <a:effectLst/>
                <a:uLnTx/>
                <a:uFillTx/>
                <a:latin typeface="BIZ UDPゴシック"/>
                <a:ea typeface="BIZ UDPゴシック"/>
                <a:cs typeface="+mn-cs"/>
              </a:rPr>
              <a:t>料金が観光客</a:t>
            </a:r>
            <a:r>
              <a:rPr kumimoji="1" lang="en-US" altLang="ja-JP" sz="1600" b="0" i="0" u="none" strike="noStrike" kern="1200" cap="none" spc="0" normalizeH="0" baseline="0" noProof="0">
                <a:ln>
                  <a:noFill/>
                </a:ln>
                <a:solidFill>
                  <a:srgbClr val="0070C0"/>
                </a:solidFill>
                <a:effectLst/>
                <a:uLnTx/>
                <a:uFillTx/>
                <a:latin typeface="BIZ UDPゴシック"/>
                <a:ea typeface="BIZ UDPゴシック"/>
                <a:cs typeface="+mn-cs"/>
              </a:rPr>
              <a:t>/</a:t>
            </a:r>
            <a:r>
              <a:rPr kumimoji="1" lang="ja-JP" altLang="en-US" sz="1600" b="0" i="0" u="none" strike="noStrike" kern="1200" cap="none" spc="0" normalizeH="0" baseline="0" noProof="0">
                <a:ln>
                  <a:noFill/>
                </a:ln>
                <a:solidFill>
                  <a:srgbClr val="0070C0"/>
                </a:solidFill>
                <a:effectLst/>
                <a:uLnTx/>
                <a:uFillTx/>
                <a:latin typeface="BIZ UDPゴシック"/>
                <a:ea typeface="BIZ UDPゴシック"/>
                <a:cs typeface="+mn-cs"/>
              </a:rPr>
              <a:t>住民一律で、住民の利用が少ない。</a:t>
            </a:r>
            <a:endParaRPr kumimoji="1" lang="en-US" altLang="ja-JP" sz="1600" b="0" i="0" u="none" strike="noStrike" kern="1200" cap="none" spc="0" normalizeH="0" baseline="0" noProof="0">
              <a:ln>
                <a:noFill/>
              </a:ln>
              <a:solidFill>
                <a:srgbClr val="0070C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システム（</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I</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X</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観光客の利用が多く住民の利用が少ない。</a:t>
            </a:r>
            <a:endParaRPr lang="en-US" altLang="ja-JP" sz="1600">
              <a:solidFill>
                <a:srgbClr val="0070C0"/>
              </a:solidFill>
              <a:latin typeface="BIZ UDPゴシック"/>
              <a:ea typeface="BIZ UDPゴシック"/>
            </a:endParaRP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サービス運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kumimoji="1" lang="ja-JP" altLang="en-US" sz="1600" b="0" i="0" u="none" strike="noStrike" kern="1200" cap="none" spc="0" normalizeH="0" baseline="0" noProof="0">
                <a:ln>
                  <a:noFill/>
                </a:ln>
                <a:solidFill>
                  <a:srgbClr val="0070C0"/>
                </a:solidFill>
                <a:effectLst/>
                <a:uLnTx/>
                <a:uFillTx/>
                <a:latin typeface="BIZ UDPゴシック"/>
                <a:ea typeface="BIZ UDPゴシック"/>
                <a:cs typeface="+mn-cs"/>
              </a:rPr>
              <a:t>企画チケットを販売しても単発の利用で終わることが多く、新規顧客獲得に向け継続的な広告宣伝が必要。</a:t>
            </a:r>
          </a:p>
          <a:p>
            <a:pPr marR="0" lvl="0" algn="l" defTabSz="914400" rtl="0" eaLnBrk="1" fontAlgn="auto" latinLnBrk="0" hangingPunct="1">
              <a:lnSpc>
                <a:spcPct val="100000"/>
              </a:lnSpc>
              <a:spcBef>
                <a:spcPts val="0"/>
              </a:spcBef>
              <a:spcAft>
                <a:spcPts val="0"/>
              </a:spcAft>
              <a:buClrTx/>
              <a:buSzTx/>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
        <p:nvSpPr>
          <p:cNvPr id="14" name="正方形/長方形 13">
            <a:extLst>
              <a:ext uri="{FF2B5EF4-FFF2-40B4-BE49-F238E27FC236}">
                <a16:creationId xmlns:a16="http://schemas.microsoft.com/office/drawing/2014/main" id="{EB154E72-D468-E337-5176-249A512E7AD4}"/>
              </a:ext>
            </a:extLst>
          </p:cNvPr>
          <p:cNvSpPr/>
          <p:nvPr/>
        </p:nvSpPr>
        <p:spPr>
          <a:xfrm>
            <a:off x="6128401" y="2591890"/>
            <a:ext cx="5761199" cy="3131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a:solidFill>
                  <a:srgbClr val="000000"/>
                </a:solidFill>
                <a:latin typeface="BIZ UDPゴシック"/>
                <a:ea typeface="BIZ UDPゴシック"/>
              </a:rPr>
              <a:t>システム（機能）</a:t>
            </a:r>
            <a:endParaRPr lang="en-US" altLang="ja-JP" sz="1600">
              <a:solidFill>
                <a:srgbClr val="000000"/>
              </a:solidFill>
              <a:latin typeface="BIZ UDPゴシック"/>
              <a:ea typeface="BIZ UDPゴシック"/>
            </a:endParaRPr>
          </a:p>
          <a:p>
            <a:pPr marL="742950" lvl="1" indent="-285750">
              <a:buFont typeface="Wingdings" panose="05000000000000000000" pitchFamily="2" charset="2"/>
              <a:buChar char="Ø"/>
              <a:defRPr/>
            </a:pPr>
            <a:r>
              <a:rPr kumimoji="1" lang="ja-JP" altLang="en-US" sz="1600" b="0" i="0" u="none" strike="noStrike" kern="1200" cap="none" spc="0" normalizeH="0" baseline="0" noProof="0">
                <a:ln>
                  <a:noFill/>
                </a:ln>
                <a:solidFill>
                  <a:srgbClr val="0070C0"/>
                </a:solidFill>
                <a:effectLst/>
                <a:uLnTx/>
                <a:uFillTx/>
                <a:latin typeface="BIZ UDPゴシック"/>
                <a:ea typeface="BIZ UDPゴシック"/>
                <a:cs typeface="+mn-cs"/>
              </a:rPr>
              <a:t>サブスクサービスを提供</a:t>
            </a:r>
            <a:endParaRPr kumimoji="1" lang="en-US" altLang="ja-JP" sz="1600" b="0" i="0" u="none" strike="noStrike" kern="1200" cap="none" spc="0" normalizeH="0" baseline="0" noProof="0">
              <a:ln>
                <a:noFill/>
              </a:ln>
              <a:solidFill>
                <a:srgbClr val="0070C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システム（</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I</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X</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マイナンバーカード連携により住民利用時は割引提供</a:t>
            </a:r>
            <a:endParaRPr lang="en-US" altLang="ja-JP" sz="1600">
              <a:solidFill>
                <a:srgbClr val="0070C0"/>
              </a:solidFill>
              <a:latin typeface="BIZ UDPゴシック"/>
              <a:ea typeface="BIZ UDPゴシック"/>
            </a:endParaRP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サービス運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一度獲得した顧客が継続利用するため、広告宣伝にかかる費用を抑えることができる。</a:t>
            </a: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R="0" lvl="0" algn="l" defTabSz="914400" rtl="0" eaLnBrk="1" fontAlgn="auto" latinLnBrk="0" hangingPunct="1">
              <a:lnSpc>
                <a:spcPct val="100000"/>
              </a:lnSpc>
              <a:spcBef>
                <a:spcPts val="0"/>
              </a:spcBef>
              <a:spcAft>
                <a:spcPts val="0"/>
              </a:spcAft>
              <a:buClrTx/>
              <a:buSzTx/>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
        <p:nvSpPr>
          <p:cNvPr id="17" name="テキスト プレースホルダー 10">
            <a:extLst>
              <a:ext uri="{FF2B5EF4-FFF2-40B4-BE49-F238E27FC236}">
                <a16:creationId xmlns:a16="http://schemas.microsoft.com/office/drawing/2014/main" id="{CF45C799-184A-B9A1-3984-069F4A38D270}"/>
              </a:ext>
            </a:extLst>
          </p:cNvPr>
          <p:cNvSpPr txBox="1">
            <a:spLocks/>
          </p:cNvSpPr>
          <p:nvPr/>
        </p:nvSpPr>
        <p:spPr>
          <a:xfrm>
            <a:off x="300779" y="1196746"/>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defTabSz="914400">
              <a:spcBef>
                <a:spcPts val="300"/>
              </a:spcBef>
              <a:defRPr/>
            </a:pPr>
            <a:r>
              <a:rPr lang="ja-JP" altLang="en-US" sz="1800">
                <a:solidFill>
                  <a:srgbClr val="0070C0"/>
                </a:solidFill>
                <a:latin typeface="BIZ UDPゴシック"/>
                <a:ea typeface="BIZ UDPゴシック"/>
              </a:rPr>
              <a:t>③サブスクサービスの提供</a:t>
            </a:r>
            <a:endParaRPr lang="en-US" altLang="ja-JP" sz="1800">
              <a:solidFill>
                <a:srgbClr val="0070C0"/>
              </a:solidFill>
              <a:latin typeface="BIZ UDPゴシック"/>
              <a:ea typeface="BIZ UDPゴシック"/>
            </a:endParaRPr>
          </a:p>
        </p:txBody>
      </p:sp>
      <p:sp>
        <p:nvSpPr>
          <p:cNvPr id="16" name="テキスト ボックス 15">
            <a:extLst>
              <a:ext uri="{FF2B5EF4-FFF2-40B4-BE49-F238E27FC236}">
                <a16:creationId xmlns:a16="http://schemas.microsoft.com/office/drawing/2014/main" id="{088ECDFF-B871-3B4F-0FC7-C986C6F1A6FC}"/>
              </a:ext>
            </a:extLst>
          </p:cNvPr>
          <p:cNvSpPr txBox="1"/>
          <p:nvPr/>
        </p:nvSpPr>
        <p:spPr>
          <a:xfrm>
            <a:off x="2960758" y="4122923"/>
            <a:ext cx="6335283" cy="153764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a:t>
            </a:r>
            <a:r>
              <a:rPr kumimoji="0" lang="ja-JP" altLang="en-US" sz="1400" b="0" i="0" u="none" strike="noStrike" kern="0" cap="none" spc="0" normalizeH="0" baseline="0" noProof="0">
                <a:ln>
                  <a:noFill/>
                </a:ln>
                <a:solidFill>
                  <a:srgbClr val="FFFFFF"/>
                </a:solidFill>
                <a:effectLst/>
                <a:uLnTx/>
                <a:uFillTx/>
              </a:rPr>
              <a:t>継続開発を行っている場合のみ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これまでの取組と比べ、本プロジェクトでどのような開発や拡充を行い、課題解決に貢献しようとしているのか、具体的に記載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項目はテンプレートを基本とし、任意に増やしていただいて構いません。</a:t>
            </a:r>
          </a:p>
        </p:txBody>
      </p:sp>
    </p:spTree>
    <p:extLst>
      <p:ext uri="{BB962C8B-B14F-4D97-AF65-F5344CB8AC3E}">
        <p14:creationId xmlns:p14="http://schemas.microsoft.com/office/powerpoint/2010/main" val="25886493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a:xfrm>
            <a:off x="300778" y="655357"/>
            <a:ext cx="11891221" cy="432000"/>
          </a:xfrm>
        </p:spPr>
        <p:txBody>
          <a:bodyPr vert="horz"/>
          <a:lstStyle/>
          <a:p>
            <a:r>
              <a:rPr lang="ja-JP" altLang="en-US"/>
              <a:t>１</a:t>
            </a:r>
            <a:r>
              <a:rPr lang="en-US" altLang="ja-JP"/>
              <a:t>.</a:t>
            </a:r>
            <a:r>
              <a:rPr lang="ja-JP" altLang="en-US"/>
              <a:t>サービス全体像│実装済みの機能</a:t>
            </a:r>
          </a:p>
        </p:txBody>
      </p:sp>
      <p:grpSp>
        <p:nvGrpSpPr>
          <p:cNvPr id="3" name="グループ化 2">
            <a:extLst>
              <a:ext uri="{FF2B5EF4-FFF2-40B4-BE49-F238E27FC236}">
                <a16:creationId xmlns:a16="http://schemas.microsoft.com/office/drawing/2014/main" id="{F85333DF-4E5C-DAEA-926C-1A154E2103A9}"/>
              </a:ext>
            </a:extLst>
          </p:cNvPr>
          <p:cNvGrpSpPr/>
          <p:nvPr/>
        </p:nvGrpSpPr>
        <p:grpSpPr>
          <a:xfrm>
            <a:off x="302400" y="2108076"/>
            <a:ext cx="11587200" cy="309600"/>
            <a:chOff x="302400" y="1990800"/>
            <a:chExt cx="11587200" cy="309600"/>
          </a:xfrm>
        </p:grpSpPr>
        <p:grpSp>
          <p:nvGrpSpPr>
            <p:cNvPr id="4" name="PanelGroup1">
              <a:extLst>
                <a:ext uri="{FF2B5EF4-FFF2-40B4-BE49-F238E27FC236}">
                  <a16:creationId xmlns:a16="http://schemas.microsoft.com/office/drawing/2014/main" id="{EAB62C42-9CF0-6E2B-28F8-CFEDB26FC1DD}"/>
                </a:ext>
              </a:extLst>
            </p:cNvPr>
            <p:cNvGrpSpPr/>
            <p:nvPr/>
          </p:nvGrpSpPr>
          <p:grpSpPr>
            <a:xfrm>
              <a:off x="302400" y="1990800"/>
              <a:ext cx="5761200" cy="309600"/>
              <a:chOff x="302400" y="1990800"/>
              <a:chExt cx="5761200" cy="309600"/>
            </a:xfrm>
          </p:grpSpPr>
          <p:sp>
            <p:nvSpPr>
              <p:cNvPr id="10" name="正方形/長方形 9">
                <a:extLst>
                  <a:ext uri="{FF2B5EF4-FFF2-40B4-BE49-F238E27FC236}">
                    <a16:creationId xmlns:a16="http://schemas.microsoft.com/office/drawing/2014/main" id="{1A383005-B1A5-AD52-BAD8-1851206F59CA}"/>
                  </a:ext>
                </a:extLst>
              </p:cNvPr>
              <p:cNvSpPr/>
              <p:nvPr/>
            </p:nvSpPr>
            <p:spPr>
              <a:xfrm>
                <a:off x="302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実施済みの機能</a:t>
                </a:r>
              </a:p>
            </p:txBody>
          </p:sp>
          <p:cxnSp>
            <p:nvCxnSpPr>
              <p:cNvPr id="12" name="直線矢印コネクタ 11">
                <a:extLst>
                  <a:ext uri="{FF2B5EF4-FFF2-40B4-BE49-F238E27FC236}">
                    <a16:creationId xmlns:a16="http://schemas.microsoft.com/office/drawing/2014/main" id="{3653E4DF-7A5D-EE67-D31F-6D64D03C04E6}"/>
                  </a:ext>
                </a:extLst>
              </p:cNvPr>
              <p:cNvCxnSpPr/>
              <p:nvPr/>
            </p:nvCxnSpPr>
            <p:spPr>
              <a:xfrm>
                <a:off x="302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6" name="PanelGroup2">
              <a:extLst>
                <a:ext uri="{FF2B5EF4-FFF2-40B4-BE49-F238E27FC236}">
                  <a16:creationId xmlns:a16="http://schemas.microsoft.com/office/drawing/2014/main" id="{A2007A34-9A61-3C01-D672-C413701B3445}"/>
                </a:ext>
              </a:extLst>
            </p:cNvPr>
            <p:cNvGrpSpPr/>
            <p:nvPr/>
          </p:nvGrpSpPr>
          <p:grpSpPr>
            <a:xfrm>
              <a:off x="6128400" y="1990800"/>
              <a:ext cx="5761200" cy="309600"/>
              <a:chOff x="6128400" y="1990800"/>
              <a:chExt cx="5761200" cy="309600"/>
            </a:xfrm>
          </p:grpSpPr>
          <p:sp>
            <p:nvSpPr>
              <p:cNvPr id="7" name="正方形/長方形 6">
                <a:extLst>
                  <a:ext uri="{FF2B5EF4-FFF2-40B4-BE49-F238E27FC236}">
                    <a16:creationId xmlns:a16="http://schemas.microsoft.com/office/drawing/2014/main" id="{081FA0EF-B0D7-A6B9-D177-CBA186431769}"/>
                  </a:ext>
                </a:extLst>
              </p:cNvPr>
              <p:cNvSpPr/>
              <p:nvPr/>
            </p:nvSpPr>
            <p:spPr>
              <a:xfrm>
                <a:off x="6128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イメージ</a:t>
                </a:r>
              </a:p>
            </p:txBody>
          </p:sp>
          <p:cxnSp>
            <p:nvCxnSpPr>
              <p:cNvPr id="8" name="直線矢印コネクタ 7">
                <a:extLst>
                  <a:ext uri="{FF2B5EF4-FFF2-40B4-BE49-F238E27FC236}">
                    <a16:creationId xmlns:a16="http://schemas.microsoft.com/office/drawing/2014/main" id="{99FBEF6F-94C3-52B0-FA40-DD378C8E4F64}"/>
                  </a:ext>
                </a:extLst>
              </p:cNvPr>
              <p:cNvCxnSpPr/>
              <p:nvPr/>
            </p:nvCxnSpPr>
            <p:spPr>
              <a:xfrm>
                <a:off x="6128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sp>
        <p:nvSpPr>
          <p:cNvPr id="13" name="正方形/長方形 12">
            <a:extLst>
              <a:ext uri="{FF2B5EF4-FFF2-40B4-BE49-F238E27FC236}">
                <a16:creationId xmlns:a16="http://schemas.microsoft.com/office/drawing/2014/main" id="{EDAD2185-EC0D-868E-795C-E7F2FB4ACC64}"/>
              </a:ext>
            </a:extLst>
          </p:cNvPr>
          <p:cNvSpPr/>
          <p:nvPr/>
        </p:nvSpPr>
        <p:spPr>
          <a:xfrm>
            <a:off x="300778" y="2566366"/>
            <a:ext cx="5761199" cy="3131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a:solidFill>
                  <a:srgbClr val="000000"/>
                </a:solidFill>
                <a:latin typeface="BIZ UDPゴシック"/>
                <a:ea typeface="BIZ UDPゴシック"/>
              </a:rPr>
              <a:t>システム（機能）</a:t>
            </a:r>
            <a:endParaRPr lang="en-US" altLang="ja-JP" sz="1600">
              <a:solidFill>
                <a:srgbClr val="000000"/>
              </a:solidFill>
              <a:latin typeface="BIZ UDPゴシック"/>
              <a:ea typeface="BIZ UDPゴシック"/>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経路検索</a:t>
            </a:r>
            <a:r>
              <a:rPr lang="zh-TW" altLang="en-US" sz="1600">
                <a:solidFill>
                  <a:srgbClr val="0070C0"/>
                </a:solidFill>
                <a:latin typeface="BIZ UDPゴシック"/>
                <a:ea typeface="BIZ UDPゴシック"/>
              </a:rPr>
              <a:t>機能</a:t>
            </a:r>
            <a:endParaRPr lang="en-US" altLang="zh-TW" sz="1600">
              <a:solidFill>
                <a:srgbClr val="0070C0"/>
              </a:solidFill>
              <a:latin typeface="BIZ UDPゴシック"/>
              <a:ea typeface="BIZ UDPゴシック"/>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チケット造成機能</a:t>
            </a:r>
            <a:endParaRPr lang="zh-TW" altLang="en-US" sz="1600">
              <a:solidFill>
                <a:srgbClr val="0070C0"/>
              </a:solidFill>
              <a:latin typeface="BIZ UDPゴシック"/>
              <a:ea typeface="BIZ UDPゴシック"/>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システム（</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I</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X</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各エリアのチケットを一覧ページに記載</a:t>
            </a:r>
            <a:endParaRPr lang="en-US" altLang="ja-JP" sz="1600">
              <a:solidFill>
                <a:srgbClr val="0070C0"/>
              </a:solidFill>
              <a:latin typeface="BIZ UDPゴシック"/>
              <a:ea typeface="BIZ UDPゴシック"/>
            </a:endParaRP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座組</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kumimoji="1" lang="en-US" altLang="ja-JP" sz="1600" b="0" i="0" u="none" strike="noStrike" kern="1200" cap="none" spc="0" normalizeH="0" baseline="0" noProof="0" err="1">
                <a:ln>
                  <a:noFill/>
                </a:ln>
                <a:solidFill>
                  <a:srgbClr val="0070C0"/>
                </a:solidFill>
                <a:effectLst/>
                <a:uLnTx/>
                <a:uFillTx/>
                <a:latin typeface="BIZ UDPゴシック"/>
                <a:ea typeface="BIZ UDPゴシック"/>
                <a:cs typeface="+mn-cs"/>
              </a:rPr>
              <a:t>MaaS</a:t>
            </a:r>
            <a:r>
              <a:rPr kumimoji="1" lang="ja-JP" altLang="en-US" sz="1600" b="0" i="0" u="none" strike="noStrike" kern="1200" cap="none" spc="0" normalizeH="0" baseline="0" noProof="0">
                <a:ln>
                  <a:noFill/>
                </a:ln>
                <a:solidFill>
                  <a:srgbClr val="0070C0"/>
                </a:solidFill>
                <a:effectLst/>
                <a:uLnTx/>
                <a:uFillTx/>
                <a:latin typeface="BIZ UDPゴシック"/>
                <a:ea typeface="BIZ UDPゴシック"/>
                <a:cs typeface="+mn-cs"/>
              </a:rPr>
              <a:t>アプリ検討会を設置</a:t>
            </a:r>
            <a:endParaRPr kumimoji="1" lang="en-US" altLang="ja-JP" sz="1600" b="0" i="0" u="none" strike="noStrike" kern="1200" cap="none" spc="0" normalizeH="0" baseline="0" noProof="0">
              <a:ln>
                <a:noFill/>
              </a:ln>
              <a:solidFill>
                <a:srgbClr val="0070C0"/>
              </a:solidFill>
              <a:effectLst/>
              <a:uLnTx/>
              <a:uFillTx/>
              <a:latin typeface="BIZ UDPゴシック"/>
              <a:ea typeface="BIZ UDPゴシック"/>
              <a:cs typeface="+mn-cs"/>
            </a:endParaRP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サービス運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アプリの利用促進につながる</a:t>
            </a:r>
            <a:r>
              <a:rPr lang="en-US" altLang="ja-JP" sz="1600">
                <a:solidFill>
                  <a:srgbClr val="0070C0"/>
                </a:solidFill>
                <a:latin typeface="BIZ UDPゴシック"/>
                <a:ea typeface="BIZ UDPゴシック"/>
              </a:rPr>
              <a:t>PR</a:t>
            </a:r>
            <a:r>
              <a:rPr lang="ja-JP" altLang="en-US" sz="1600">
                <a:solidFill>
                  <a:srgbClr val="0070C0"/>
                </a:solidFill>
                <a:latin typeface="BIZ UDPゴシック"/>
                <a:ea typeface="BIZ UDPゴシック"/>
              </a:rPr>
              <a:t>記事の作成・掲載を外注して定期的に実施</a:t>
            </a: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R="0" lvl="0" algn="l" defTabSz="914400" rtl="0" eaLnBrk="1" fontAlgn="auto" latinLnBrk="0" hangingPunct="1">
              <a:lnSpc>
                <a:spcPct val="100000"/>
              </a:lnSpc>
              <a:spcBef>
                <a:spcPts val="0"/>
              </a:spcBef>
              <a:spcAft>
                <a:spcPts val="0"/>
              </a:spcAft>
              <a:buClrTx/>
              <a:buSzTx/>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
        <p:nvSpPr>
          <p:cNvPr id="15" name="テキスト プレースホルダー 10">
            <a:extLst>
              <a:ext uri="{FF2B5EF4-FFF2-40B4-BE49-F238E27FC236}">
                <a16:creationId xmlns:a16="http://schemas.microsoft.com/office/drawing/2014/main" id="{A297BE6E-52F9-8183-AA90-19F0C17C5E07}"/>
              </a:ext>
            </a:extLst>
          </p:cNvPr>
          <p:cNvSpPr txBox="1">
            <a:spLocks/>
          </p:cNvSpPr>
          <p:nvPr/>
        </p:nvSpPr>
        <p:spPr>
          <a:xfrm>
            <a:off x="300779" y="1736090"/>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lang="en-US" altLang="ja-JP" sz="1800" kern="0">
                <a:solidFill>
                  <a:srgbClr val="000000"/>
                </a:solidFill>
              </a:rPr>
              <a:t>[</a:t>
            </a:r>
            <a:r>
              <a:rPr lang="ja-JP" altLang="en-US" sz="1800" kern="0">
                <a:solidFill>
                  <a:srgbClr val="000000"/>
                </a:solidFill>
              </a:rPr>
              <a:t>サマリーを記載</a:t>
            </a:r>
            <a:r>
              <a:rPr lang="en-US" altLang="ja-JP" sz="1800" kern="0">
                <a:solidFill>
                  <a:srgbClr val="000000"/>
                </a:solidFill>
              </a:rPr>
              <a:t>]</a:t>
            </a:r>
            <a:endParaRPr lang="ja-JP" altLang="en-US" sz="1800" kern="0">
              <a:solidFill>
                <a:srgbClr val="000000"/>
              </a:solidFill>
            </a:endParaRPr>
          </a:p>
        </p:txBody>
      </p:sp>
      <p:sp>
        <p:nvSpPr>
          <p:cNvPr id="20" name="テキスト プレースホルダー 10">
            <a:extLst>
              <a:ext uri="{FF2B5EF4-FFF2-40B4-BE49-F238E27FC236}">
                <a16:creationId xmlns:a16="http://schemas.microsoft.com/office/drawing/2014/main" id="{94800FDA-81F1-3586-866D-A519778D8DB8}"/>
              </a:ext>
            </a:extLst>
          </p:cNvPr>
          <p:cNvSpPr txBox="1">
            <a:spLocks/>
          </p:cNvSpPr>
          <p:nvPr/>
        </p:nvSpPr>
        <p:spPr>
          <a:xfrm>
            <a:off x="300778" y="1197432"/>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kumimoji="1" lang="ja-JP" altLang="en-US" sz="1800" b="0" i="0" u="none" strike="noStrike" kern="1200" cap="none" spc="0" normalizeH="0" baseline="0" noProof="0">
                <a:ln>
                  <a:noFill/>
                </a:ln>
                <a:solidFill>
                  <a:srgbClr val="0070C0"/>
                </a:solidFill>
                <a:effectLst/>
                <a:uLnTx/>
                <a:uFillTx/>
                <a:latin typeface="BIZ UDPゴシック"/>
                <a:ea typeface="BIZ UDPゴシック"/>
                <a:cs typeface="+mn-cs"/>
              </a:rPr>
              <a:t>①新規</a:t>
            </a:r>
            <a:r>
              <a:rPr kumimoji="1" lang="en-US" altLang="ja-JP" sz="1800" b="0" i="0" u="none" strike="noStrike" kern="1200" cap="none" spc="0" normalizeH="0" baseline="0" noProof="0" err="1">
                <a:ln>
                  <a:noFill/>
                </a:ln>
                <a:solidFill>
                  <a:srgbClr val="0070C0"/>
                </a:solidFill>
                <a:effectLst/>
                <a:uLnTx/>
                <a:uFillTx/>
                <a:latin typeface="BIZ UDPゴシック"/>
                <a:ea typeface="BIZ UDPゴシック"/>
                <a:cs typeface="+mn-cs"/>
              </a:rPr>
              <a:t>MaaS</a:t>
            </a:r>
            <a:r>
              <a:rPr kumimoji="1" lang="ja-JP" altLang="en-US" sz="1800" b="0" i="0" u="none" strike="noStrike" kern="1200" cap="none" spc="0" normalizeH="0" baseline="0" noProof="0">
                <a:ln>
                  <a:noFill/>
                </a:ln>
                <a:solidFill>
                  <a:srgbClr val="0070C0"/>
                </a:solidFill>
                <a:effectLst/>
                <a:uLnTx/>
                <a:uFillTx/>
                <a:latin typeface="BIZ UDPゴシック"/>
                <a:ea typeface="BIZ UDPゴシック"/>
                <a:cs typeface="+mn-cs"/>
              </a:rPr>
              <a:t>アプリの開発</a:t>
            </a:r>
            <a:endParaRPr kumimoji="1" lang="en-US" altLang="ja-JP" sz="1800" b="0" i="0" u="none" strike="noStrike" kern="1200" cap="none" spc="0" normalizeH="0" baseline="0" noProof="0">
              <a:ln>
                <a:noFill/>
              </a:ln>
              <a:solidFill>
                <a:srgbClr val="0070C0"/>
              </a:solidFill>
              <a:effectLst/>
              <a:uLnTx/>
              <a:uFillTx/>
              <a:latin typeface="BIZ UDPゴシック"/>
              <a:ea typeface="BIZ UDPゴシック"/>
              <a:cs typeface="+mn-cs"/>
            </a:endParaRPr>
          </a:p>
        </p:txBody>
      </p:sp>
      <p:sp>
        <p:nvSpPr>
          <p:cNvPr id="16" name="テキスト ボックス 15">
            <a:extLst>
              <a:ext uri="{FF2B5EF4-FFF2-40B4-BE49-F238E27FC236}">
                <a16:creationId xmlns:a16="http://schemas.microsoft.com/office/drawing/2014/main" id="{CE3710F1-B30E-EA02-A69C-61327FEC95E4}"/>
              </a:ext>
            </a:extLst>
          </p:cNvPr>
          <p:cNvSpPr txBox="1"/>
          <p:nvPr/>
        </p:nvSpPr>
        <p:spPr>
          <a:xfrm>
            <a:off x="300778" y="4891745"/>
            <a:ext cx="6335283" cy="153764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a:t>
            </a:r>
            <a:r>
              <a:rPr kumimoji="0" lang="ja-JP" altLang="en-US" sz="1400" b="0" i="0" u="none" strike="noStrike" kern="0" cap="none" spc="0" normalizeH="0" baseline="0" noProof="0">
                <a:ln>
                  <a:noFill/>
                </a:ln>
                <a:solidFill>
                  <a:srgbClr val="FFFFFF"/>
                </a:solidFill>
                <a:effectLst/>
                <a:uLnTx/>
                <a:uFillTx/>
              </a:rPr>
              <a:t>継続開発を行っている場合のみ​記載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実装済みの</a:t>
            </a:r>
            <a:r>
              <a:rPr kumimoji="0" lang="en-US" altLang="ja-JP" sz="1400" b="0" i="0" u="none" strike="noStrike" kern="0" cap="none" spc="0" normalizeH="0" baseline="0" noProof="0" err="1">
                <a:ln>
                  <a:noFill/>
                </a:ln>
                <a:solidFill>
                  <a:srgbClr val="FFFFFF"/>
                </a:solidFill>
                <a:effectLst/>
                <a:uLnTx/>
                <a:uFillTx/>
              </a:rPr>
              <a:t>MaaS</a:t>
            </a:r>
            <a:r>
              <a:rPr kumimoji="0" lang="ja-JP" altLang="en-US" sz="1400" b="0" i="0" u="none" strike="noStrike" kern="0" cap="none" spc="0" normalizeH="0" baseline="0" noProof="0">
                <a:ln>
                  <a:noFill/>
                </a:ln>
                <a:solidFill>
                  <a:srgbClr val="FFFFFF"/>
                </a:solidFill>
                <a:effectLst/>
                <a:uLnTx/>
                <a:uFillTx/>
              </a:rPr>
              <a:t>のアプリやデジタルチケット等のサービスについて、システム、座組、運用体制、造成商品等について記載してください。​</a:t>
            </a:r>
          </a:p>
        </p:txBody>
      </p:sp>
      <p:sp>
        <p:nvSpPr>
          <p:cNvPr id="17" name="テキスト ボックス 16">
            <a:extLst>
              <a:ext uri="{FF2B5EF4-FFF2-40B4-BE49-F238E27FC236}">
                <a16:creationId xmlns:a16="http://schemas.microsoft.com/office/drawing/2014/main" id="{B8742A06-7726-04DB-07A0-15A44946BF87}"/>
              </a:ext>
            </a:extLst>
          </p:cNvPr>
          <p:cNvSpPr txBox="1"/>
          <p:nvPr/>
        </p:nvSpPr>
        <p:spPr>
          <a:xfrm>
            <a:off x="6965596" y="3005155"/>
            <a:ext cx="4086808" cy="3457633"/>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イメージビジュアルなどを掲載してください。</a:t>
            </a:r>
          </a:p>
        </p:txBody>
      </p:sp>
    </p:spTree>
    <p:extLst>
      <p:ext uri="{BB962C8B-B14F-4D97-AF65-F5344CB8AC3E}">
        <p14:creationId xmlns:p14="http://schemas.microsoft.com/office/powerpoint/2010/main" val="13029424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a:xfrm>
            <a:off x="300778" y="655357"/>
            <a:ext cx="11891221" cy="432000"/>
          </a:xfrm>
        </p:spPr>
        <p:txBody>
          <a:bodyPr vert="horz"/>
          <a:lstStyle/>
          <a:p>
            <a:r>
              <a:rPr lang="ja-JP" altLang="en-US"/>
              <a:t>１</a:t>
            </a:r>
            <a:r>
              <a:rPr lang="en-US" altLang="ja-JP"/>
              <a:t>.</a:t>
            </a:r>
            <a:r>
              <a:rPr lang="ja-JP" altLang="en-US"/>
              <a:t>サービス全体像│実装済みの機能</a:t>
            </a:r>
          </a:p>
        </p:txBody>
      </p:sp>
      <p:grpSp>
        <p:nvGrpSpPr>
          <p:cNvPr id="3" name="グループ化 2">
            <a:extLst>
              <a:ext uri="{FF2B5EF4-FFF2-40B4-BE49-F238E27FC236}">
                <a16:creationId xmlns:a16="http://schemas.microsoft.com/office/drawing/2014/main" id="{F85333DF-4E5C-DAEA-926C-1A154E2103A9}"/>
              </a:ext>
            </a:extLst>
          </p:cNvPr>
          <p:cNvGrpSpPr/>
          <p:nvPr/>
        </p:nvGrpSpPr>
        <p:grpSpPr>
          <a:xfrm>
            <a:off x="302400" y="2108076"/>
            <a:ext cx="11587200" cy="309600"/>
            <a:chOff x="302400" y="1990800"/>
            <a:chExt cx="11587200" cy="309600"/>
          </a:xfrm>
        </p:grpSpPr>
        <p:grpSp>
          <p:nvGrpSpPr>
            <p:cNvPr id="4" name="PanelGroup1">
              <a:extLst>
                <a:ext uri="{FF2B5EF4-FFF2-40B4-BE49-F238E27FC236}">
                  <a16:creationId xmlns:a16="http://schemas.microsoft.com/office/drawing/2014/main" id="{EAB62C42-9CF0-6E2B-28F8-CFEDB26FC1DD}"/>
                </a:ext>
              </a:extLst>
            </p:cNvPr>
            <p:cNvGrpSpPr/>
            <p:nvPr/>
          </p:nvGrpSpPr>
          <p:grpSpPr>
            <a:xfrm>
              <a:off x="302400" y="1990800"/>
              <a:ext cx="5761200" cy="309600"/>
              <a:chOff x="302400" y="1990800"/>
              <a:chExt cx="5761200" cy="309600"/>
            </a:xfrm>
          </p:grpSpPr>
          <p:sp>
            <p:nvSpPr>
              <p:cNvPr id="10" name="正方形/長方形 9">
                <a:extLst>
                  <a:ext uri="{FF2B5EF4-FFF2-40B4-BE49-F238E27FC236}">
                    <a16:creationId xmlns:a16="http://schemas.microsoft.com/office/drawing/2014/main" id="{1A383005-B1A5-AD52-BAD8-1851206F59CA}"/>
                  </a:ext>
                </a:extLst>
              </p:cNvPr>
              <p:cNvSpPr/>
              <p:nvPr/>
            </p:nvSpPr>
            <p:spPr>
              <a:xfrm>
                <a:off x="302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実施済みの機能</a:t>
                </a:r>
              </a:p>
            </p:txBody>
          </p:sp>
          <p:cxnSp>
            <p:nvCxnSpPr>
              <p:cNvPr id="12" name="直線矢印コネクタ 11">
                <a:extLst>
                  <a:ext uri="{FF2B5EF4-FFF2-40B4-BE49-F238E27FC236}">
                    <a16:creationId xmlns:a16="http://schemas.microsoft.com/office/drawing/2014/main" id="{3653E4DF-7A5D-EE67-D31F-6D64D03C04E6}"/>
                  </a:ext>
                </a:extLst>
              </p:cNvPr>
              <p:cNvCxnSpPr/>
              <p:nvPr/>
            </p:nvCxnSpPr>
            <p:spPr>
              <a:xfrm>
                <a:off x="302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6" name="PanelGroup2">
              <a:extLst>
                <a:ext uri="{FF2B5EF4-FFF2-40B4-BE49-F238E27FC236}">
                  <a16:creationId xmlns:a16="http://schemas.microsoft.com/office/drawing/2014/main" id="{A2007A34-9A61-3C01-D672-C413701B3445}"/>
                </a:ext>
              </a:extLst>
            </p:cNvPr>
            <p:cNvGrpSpPr/>
            <p:nvPr/>
          </p:nvGrpSpPr>
          <p:grpSpPr>
            <a:xfrm>
              <a:off x="6128400" y="1990800"/>
              <a:ext cx="5761200" cy="309600"/>
              <a:chOff x="6128400" y="1990800"/>
              <a:chExt cx="5761200" cy="309600"/>
            </a:xfrm>
          </p:grpSpPr>
          <p:sp>
            <p:nvSpPr>
              <p:cNvPr id="7" name="正方形/長方形 6">
                <a:extLst>
                  <a:ext uri="{FF2B5EF4-FFF2-40B4-BE49-F238E27FC236}">
                    <a16:creationId xmlns:a16="http://schemas.microsoft.com/office/drawing/2014/main" id="{081FA0EF-B0D7-A6B9-D177-CBA186431769}"/>
                  </a:ext>
                </a:extLst>
              </p:cNvPr>
              <p:cNvSpPr/>
              <p:nvPr/>
            </p:nvSpPr>
            <p:spPr>
              <a:xfrm>
                <a:off x="6128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イメージ</a:t>
                </a:r>
              </a:p>
            </p:txBody>
          </p:sp>
          <p:cxnSp>
            <p:nvCxnSpPr>
              <p:cNvPr id="8" name="直線矢印コネクタ 7">
                <a:extLst>
                  <a:ext uri="{FF2B5EF4-FFF2-40B4-BE49-F238E27FC236}">
                    <a16:creationId xmlns:a16="http://schemas.microsoft.com/office/drawing/2014/main" id="{99FBEF6F-94C3-52B0-FA40-DD378C8E4F64}"/>
                  </a:ext>
                </a:extLst>
              </p:cNvPr>
              <p:cNvCxnSpPr/>
              <p:nvPr/>
            </p:nvCxnSpPr>
            <p:spPr>
              <a:xfrm>
                <a:off x="6128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sp>
        <p:nvSpPr>
          <p:cNvPr id="13" name="正方形/長方形 12">
            <a:extLst>
              <a:ext uri="{FF2B5EF4-FFF2-40B4-BE49-F238E27FC236}">
                <a16:creationId xmlns:a16="http://schemas.microsoft.com/office/drawing/2014/main" id="{EDAD2185-EC0D-868E-795C-E7F2FB4ACC64}"/>
              </a:ext>
            </a:extLst>
          </p:cNvPr>
          <p:cNvSpPr/>
          <p:nvPr/>
        </p:nvSpPr>
        <p:spPr>
          <a:xfrm>
            <a:off x="300778" y="2566367"/>
            <a:ext cx="5761199" cy="23253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a:solidFill>
                  <a:srgbClr val="000000"/>
                </a:solidFill>
                <a:latin typeface="BIZ UDPゴシック"/>
                <a:ea typeface="BIZ UDPゴシック"/>
              </a:rPr>
              <a:t>システム（機能）</a:t>
            </a:r>
            <a:endParaRPr lang="en-US" altLang="ja-JP" sz="1600">
              <a:solidFill>
                <a:srgbClr val="000000"/>
              </a:solidFill>
              <a:latin typeface="BIZ UDPゴシック"/>
              <a:ea typeface="BIZ UDPゴシック"/>
            </a:endParaRPr>
          </a:p>
          <a:p>
            <a:pPr marL="742950" lvl="1" indent="-285750">
              <a:buFont typeface="Wingdings" panose="05000000000000000000" pitchFamily="2" charset="2"/>
              <a:buChar char="Ø"/>
              <a:defRPr/>
            </a:pPr>
            <a:r>
              <a:rPr kumimoji="1" lang="ja-JP" altLang="en-US" sz="1600">
                <a:solidFill>
                  <a:srgbClr val="0070C0"/>
                </a:solidFill>
                <a:latin typeface="+mn-ea"/>
              </a:rPr>
              <a:t>チケット購入機能（クレジットカード決済のみ）</a:t>
            </a: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システム（</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I</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X</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p>
          <a:p>
            <a:pPr marL="742950" lvl="1" indent="-285750">
              <a:buFont typeface="Wingdings" panose="05000000000000000000" pitchFamily="2" charset="2"/>
              <a:buChar char="Ø"/>
              <a:defRPr/>
            </a:pPr>
            <a:r>
              <a:rPr kumimoji="1" lang="ja-JP" altLang="en-US" sz="1600">
                <a:solidFill>
                  <a:srgbClr val="0070C0"/>
                </a:solidFill>
                <a:latin typeface="+mn-ea"/>
              </a:rPr>
              <a:t>企画乗車券提示</a:t>
            </a:r>
            <a:endParaRPr lang="en-US" altLang="ja-JP" sz="1600">
              <a:solidFill>
                <a:srgbClr val="000000"/>
              </a:solidFill>
              <a:latin typeface="BIZ UDPゴシック"/>
              <a:ea typeface="BIZ UDPゴシック"/>
            </a:endParaRP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座組</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kumimoji="1" lang="ja-JP" altLang="en-US" sz="1600" b="0" i="0" u="none" strike="noStrike" kern="1200" cap="none" spc="0" normalizeH="0" baseline="0" noProof="0">
                <a:ln>
                  <a:noFill/>
                </a:ln>
                <a:solidFill>
                  <a:srgbClr val="0070C0"/>
                </a:solidFill>
                <a:effectLst/>
                <a:uLnTx/>
                <a:uFillTx/>
                <a:latin typeface="BIZ UDPゴシック"/>
                <a:ea typeface="BIZ UDPゴシック"/>
                <a:cs typeface="+mn-cs"/>
              </a:rPr>
              <a:t>自治体、交通事業者、施設運営者によるチケット企画検討会を設置</a:t>
            </a:r>
            <a:endParaRPr kumimoji="1" lang="en-US" altLang="ja-JP" sz="1600" b="0" i="0" u="none" strike="noStrike" kern="1200" cap="none" spc="0" normalizeH="0" baseline="0" noProof="0">
              <a:ln>
                <a:noFill/>
              </a:ln>
              <a:solidFill>
                <a:srgbClr val="0070C0"/>
              </a:solidFill>
              <a:effectLst/>
              <a:uLnTx/>
              <a:uFillTx/>
              <a:latin typeface="BIZ UDPゴシック"/>
              <a:ea typeface="BIZ UDPゴシック"/>
              <a:cs typeface="+mn-cs"/>
            </a:endParaRP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サービス運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kumimoji="1" lang="ja-JP" altLang="en-US" sz="1600">
                <a:solidFill>
                  <a:srgbClr val="0070C0"/>
                </a:solidFill>
                <a:latin typeface="+mn-ea"/>
              </a:rPr>
              <a:t>イベント等、アプリの利用促進につながる</a:t>
            </a:r>
            <a:r>
              <a:rPr kumimoji="1" lang="en-US" altLang="ja-JP" sz="1600">
                <a:solidFill>
                  <a:srgbClr val="0070C0"/>
                </a:solidFill>
                <a:latin typeface="+mn-ea"/>
              </a:rPr>
              <a:t>PR</a:t>
            </a:r>
            <a:r>
              <a:rPr kumimoji="1" lang="ja-JP" altLang="en-US" sz="1600">
                <a:solidFill>
                  <a:srgbClr val="0070C0"/>
                </a:solidFill>
                <a:latin typeface="+mn-ea"/>
              </a:rPr>
              <a:t>記事の作成・掲載を外部へ委託して実施</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85750" indent="-285750">
              <a:buFont typeface="Arial" panose="020B0604020202020204" pitchFamily="34" charset="0"/>
              <a:buChar char="•"/>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R="0" lvl="0" algn="l" defTabSz="914400" rtl="0" eaLnBrk="1" fontAlgn="auto" latinLnBrk="0" hangingPunct="1">
              <a:lnSpc>
                <a:spcPct val="100000"/>
              </a:lnSpc>
              <a:spcBef>
                <a:spcPts val="0"/>
              </a:spcBef>
              <a:spcAft>
                <a:spcPts val="0"/>
              </a:spcAft>
              <a:buClrTx/>
              <a:buSzTx/>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
        <p:nvSpPr>
          <p:cNvPr id="15" name="テキスト プレースホルダー 10">
            <a:extLst>
              <a:ext uri="{FF2B5EF4-FFF2-40B4-BE49-F238E27FC236}">
                <a16:creationId xmlns:a16="http://schemas.microsoft.com/office/drawing/2014/main" id="{A297BE6E-52F9-8183-AA90-19F0C17C5E07}"/>
              </a:ext>
            </a:extLst>
          </p:cNvPr>
          <p:cNvSpPr txBox="1">
            <a:spLocks/>
          </p:cNvSpPr>
          <p:nvPr/>
        </p:nvSpPr>
        <p:spPr>
          <a:xfrm>
            <a:off x="300779" y="1736090"/>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lang="en-US" altLang="ja-JP" sz="1800" kern="0">
                <a:solidFill>
                  <a:srgbClr val="000000"/>
                </a:solidFill>
              </a:rPr>
              <a:t>[</a:t>
            </a:r>
            <a:r>
              <a:rPr lang="ja-JP" altLang="en-US" sz="1800" kern="0">
                <a:solidFill>
                  <a:srgbClr val="000000"/>
                </a:solidFill>
              </a:rPr>
              <a:t>サマリーを記載</a:t>
            </a:r>
            <a:r>
              <a:rPr lang="en-US" altLang="ja-JP" sz="1800" kern="0">
                <a:solidFill>
                  <a:srgbClr val="000000"/>
                </a:solidFill>
              </a:rPr>
              <a:t>]</a:t>
            </a:r>
            <a:endParaRPr lang="ja-JP" altLang="en-US" sz="1800" kern="0">
              <a:solidFill>
                <a:srgbClr val="000000"/>
              </a:solidFill>
            </a:endParaRPr>
          </a:p>
        </p:txBody>
      </p:sp>
      <p:sp>
        <p:nvSpPr>
          <p:cNvPr id="20" name="テキスト プレースホルダー 10">
            <a:extLst>
              <a:ext uri="{FF2B5EF4-FFF2-40B4-BE49-F238E27FC236}">
                <a16:creationId xmlns:a16="http://schemas.microsoft.com/office/drawing/2014/main" id="{94800FDA-81F1-3586-866D-A519778D8DB8}"/>
              </a:ext>
            </a:extLst>
          </p:cNvPr>
          <p:cNvSpPr txBox="1">
            <a:spLocks/>
          </p:cNvSpPr>
          <p:nvPr/>
        </p:nvSpPr>
        <p:spPr>
          <a:xfrm>
            <a:off x="300778" y="1197432"/>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lang="ja-JP" altLang="en-US" sz="1800">
                <a:solidFill>
                  <a:srgbClr val="0070C0"/>
                </a:solidFill>
                <a:latin typeface="BIZ UDPゴシック"/>
                <a:ea typeface="BIZ UDPゴシック"/>
              </a:rPr>
              <a:t>②デジタルパスの販売</a:t>
            </a:r>
            <a:endParaRPr kumimoji="1" lang="en-US" altLang="ja-JP" sz="1800" b="0" i="0" u="none" strike="noStrike" kern="1200" cap="none" spc="0" normalizeH="0" baseline="0" noProof="0">
              <a:ln>
                <a:noFill/>
              </a:ln>
              <a:solidFill>
                <a:srgbClr val="0070C0"/>
              </a:solidFill>
              <a:effectLst/>
              <a:uLnTx/>
              <a:uFillTx/>
              <a:latin typeface="BIZ UDPゴシック"/>
              <a:ea typeface="BIZ UDPゴシック"/>
              <a:cs typeface="+mn-cs"/>
            </a:endParaRPr>
          </a:p>
        </p:txBody>
      </p:sp>
      <p:sp>
        <p:nvSpPr>
          <p:cNvPr id="11" name="テキスト ボックス 10">
            <a:extLst>
              <a:ext uri="{FF2B5EF4-FFF2-40B4-BE49-F238E27FC236}">
                <a16:creationId xmlns:a16="http://schemas.microsoft.com/office/drawing/2014/main" id="{A12A54EC-FA39-9EC7-4DA0-3FF3D4DE53BD}"/>
              </a:ext>
            </a:extLst>
          </p:cNvPr>
          <p:cNvSpPr txBox="1"/>
          <p:nvPr/>
        </p:nvSpPr>
        <p:spPr>
          <a:xfrm>
            <a:off x="300778" y="4891745"/>
            <a:ext cx="6335283" cy="153764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a:t>
            </a:r>
            <a:r>
              <a:rPr kumimoji="0" lang="ja-JP" altLang="en-US" sz="1400" b="0" i="0" u="none" strike="noStrike" kern="0" cap="none" spc="0" normalizeH="0" baseline="0" noProof="0">
                <a:ln>
                  <a:noFill/>
                </a:ln>
                <a:solidFill>
                  <a:srgbClr val="FFFFFF"/>
                </a:solidFill>
                <a:effectLst/>
                <a:uLnTx/>
                <a:uFillTx/>
              </a:rPr>
              <a:t>継続開発を行っている場合のみ​記載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実装済みの</a:t>
            </a:r>
            <a:r>
              <a:rPr kumimoji="0" lang="en-US" altLang="ja-JP" sz="1400" b="0" i="0" u="none" strike="noStrike" kern="0" cap="none" spc="0" normalizeH="0" baseline="0" noProof="0" err="1">
                <a:ln>
                  <a:noFill/>
                </a:ln>
                <a:solidFill>
                  <a:srgbClr val="FFFFFF"/>
                </a:solidFill>
                <a:effectLst/>
                <a:uLnTx/>
                <a:uFillTx/>
              </a:rPr>
              <a:t>MaaS</a:t>
            </a:r>
            <a:r>
              <a:rPr kumimoji="0" lang="ja-JP" altLang="en-US" sz="1400" b="0" i="0" u="none" strike="noStrike" kern="0" cap="none" spc="0" normalizeH="0" baseline="0" noProof="0">
                <a:ln>
                  <a:noFill/>
                </a:ln>
                <a:solidFill>
                  <a:srgbClr val="FFFFFF"/>
                </a:solidFill>
                <a:effectLst/>
                <a:uLnTx/>
                <a:uFillTx/>
              </a:rPr>
              <a:t>のアプリやデジタルチケット等のサービスについて、システム、座組、運用体制、造成商品等について記載してください。​</a:t>
            </a:r>
          </a:p>
        </p:txBody>
      </p:sp>
      <p:sp>
        <p:nvSpPr>
          <p:cNvPr id="16" name="テキスト ボックス 15">
            <a:extLst>
              <a:ext uri="{FF2B5EF4-FFF2-40B4-BE49-F238E27FC236}">
                <a16:creationId xmlns:a16="http://schemas.microsoft.com/office/drawing/2014/main" id="{6AFFC85C-4915-C68E-6642-AACE2FECBCFD}"/>
              </a:ext>
            </a:extLst>
          </p:cNvPr>
          <p:cNvSpPr txBox="1"/>
          <p:nvPr/>
        </p:nvSpPr>
        <p:spPr>
          <a:xfrm>
            <a:off x="6965596" y="3005155"/>
            <a:ext cx="4086808" cy="3457633"/>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イメージビジュアルなどを掲載してください。</a:t>
            </a:r>
          </a:p>
        </p:txBody>
      </p:sp>
    </p:spTree>
    <p:extLst>
      <p:ext uri="{BB962C8B-B14F-4D97-AF65-F5344CB8AC3E}">
        <p14:creationId xmlns:p14="http://schemas.microsoft.com/office/powerpoint/2010/main" val="19780064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a:xfrm>
            <a:off x="300778" y="655357"/>
            <a:ext cx="11891221" cy="432000"/>
          </a:xfrm>
        </p:spPr>
        <p:txBody>
          <a:bodyPr vert="horz"/>
          <a:lstStyle/>
          <a:p>
            <a:r>
              <a:rPr lang="ja-JP" altLang="en-US"/>
              <a:t>１</a:t>
            </a:r>
            <a:r>
              <a:rPr lang="en-US" altLang="ja-JP"/>
              <a:t>.</a:t>
            </a:r>
            <a:r>
              <a:rPr lang="ja-JP" altLang="en-US"/>
              <a:t>サービス全体像│実装済みの機能</a:t>
            </a:r>
          </a:p>
        </p:txBody>
      </p:sp>
      <p:grpSp>
        <p:nvGrpSpPr>
          <p:cNvPr id="3" name="グループ化 2">
            <a:extLst>
              <a:ext uri="{FF2B5EF4-FFF2-40B4-BE49-F238E27FC236}">
                <a16:creationId xmlns:a16="http://schemas.microsoft.com/office/drawing/2014/main" id="{F85333DF-4E5C-DAEA-926C-1A154E2103A9}"/>
              </a:ext>
            </a:extLst>
          </p:cNvPr>
          <p:cNvGrpSpPr/>
          <p:nvPr/>
        </p:nvGrpSpPr>
        <p:grpSpPr>
          <a:xfrm>
            <a:off x="302400" y="2108076"/>
            <a:ext cx="11587200" cy="309600"/>
            <a:chOff x="302400" y="1990800"/>
            <a:chExt cx="11587200" cy="309600"/>
          </a:xfrm>
        </p:grpSpPr>
        <p:grpSp>
          <p:nvGrpSpPr>
            <p:cNvPr id="4" name="PanelGroup1">
              <a:extLst>
                <a:ext uri="{FF2B5EF4-FFF2-40B4-BE49-F238E27FC236}">
                  <a16:creationId xmlns:a16="http://schemas.microsoft.com/office/drawing/2014/main" id="{EAB62C42-9CF0-6E2B-28F8-CFEDB26FC1DD}"/>
                </a:ext>
              </a:extLst>
            </p:cNvPr>
            <p:cNvGrpSpPr/>
            <p:nvPr/>
          </p:nvGrpSpPr>
          <p:grpSpPr>
            <a:xfrm>
              <a:off x="302400" y="1990800"/>
              <a:ext cx="5761200" cy="309600"/>
              <a:chOff x="302400" y="1990800"/>
              <a:chExt cx="5761200" cy="309600"/>
            </a:xfrm>
          </p:grpSpPr>
          <p:sp>
            <p:nvSpPr>
              <p:cNvPr id="10" name="正方形/長方形 9">
                <a:extLst>
                  <a:ext uri="{FF2B5EF4-FFF2-40B4-BE49-F238E27FC236}">
                    <a16:creationId xmlns:a16="http://schemas.microsoft.com/office/drawing/2014/main" id="{1A383005-B1A5-AD52-BAD8-1851206F59CA}"/>
                  </a:ext>
                </a:extLst>
              </p:cNvPr>
              <p:cNvSpPr/>
              <p:nvPr/>
            </p:nvSpPr>
            <p:spPr>
              <a:xfrm>
                <a:off x="302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実施済みの機能</a:t>
                </a:r>
              </a:p>
            </p:txBody>
          </p:sp>
          <p:cxnSp>
            <p:nvCxnSpPr>
              <p:cNvPr id="12" name="直線矢印コネクタ 11">
                <a:extLst>
                  <a:ext uri="{FF2B5EF4-FFF2-40B4-BE49-F238E27FC236}">
                    <a16:creationId xmlns:a16="http://schemas.microsoft.com/office/drawing/2014/main" id="{3653E4DF-7A5D-EE67-D31F-6D64D03C04E6}"/>
                  </a:ext>
                </a:extLst>
              </p:cNvPr>
              <p:cNvCxnSpPr/>
              <p:nvPr/>
            </p:nvCxnSpPr>
            <p:spPr>
              <a:xfrm>
                <a:off x="302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6" name="PanelGroup2">
              <a:extLst>
                <a:ext uri="{FF2B5EF4-FFF2-40B4-BE49-F238E27FC236}">
                  <a16:creationId xmlns:a16="http://schemas.microsoft.com/office/drawing/2014/main" id="{A2007A34-9A61-3C01-D672-C413701B3445}"/>
                </a:ext>
              </a:extLst>
            </p:cNvPr>
            <p:cNvGrpSpPr/>
            <p:nvPr/>
          </p:nvGrpSpPr>
          <p:grpSpPr>
            <a:xfrm>
              <a:off x="6128400" y="1990800"/>
              <a:ext cx="5761200" cy="309600"/>
              <a:chOff x="6128400" y="1990800"/>
              <a:chExt cx="5761200" cy="309600"/>
            </a:xfrm>
          </p:grpSpPr>
          <p:sp>
            <p:nvSpPr>
              <p:cNvPr id="7" name="正方形/長方形 6">
                <a:extLst>
                  <a:ext uri="{FF2B5EF4-FFF2-40B4-BE49-F238E27FC236}">
                    <a16:creationId xmlns:a16="http://schemas.microsoft.com/office/drawing/2014/main" id="{081FA0EF-B0D7-A6B9-D177-CBA186431769}"/>
                  </a:ext>
                </a:extLst>
              </p:cNvPr>
              <p:cNvSpPr/>
              <p:nvPr/>
            </p:nvSpPr>
            <p:spPr>
              <a:xfrm>
                <a:off x="6128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イメージ</a:t>
                </a:r>
              </a:p>
            </p:txBody>
          </p:sp>
          <p:cxnSp>
            <p:nvCxnSpPr>
              <p:cNvPr id="8" name="直線矢印コネクタ 7">
                <a:extLst>
                  <a:ext uri="{FF2B5EF4-FFF2-40B4-BE49-F238E27FC236}">
                    <a16:creationId xmlns:a16="http://schemas.microsoft.com/office/drawing/2014/main" id="{99FBEF6F-94C3-52B0-FA40-DD378C8E4F64}"/>
                  </a:ext>
                </a:extLst>
              </p:cNvPr>
              <p:cNvCxnSpPr/>
              <p:nvPr/>
            </p:nvCxnSpPr>
            <p:spPr>
              <a:xfrm>
                <a:off x="6128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sp>
        <p:nvSpPr>
          <p:cNvPr id="13" name="正方形/長方形 12">
            <a:extLst>
              <a:ext uri="{FF2B5EF4-FFF2-40B4-BE49-F238E27FC236}">
                <a16:creationId xmlns:a16="http://schemas.microsoft.com/office/drawing/2014/main" id="{EDAD2185-EC0D-868E-795C-E7F2FB4ACC64}"/>
              </a:ext>
            </a:extLst>
          </p:cNvPr>
          <p:cNvSpPr/>
          <p:nvPr/>
        </p:nvSpPr>
        <p:spPr>
          <a:xfrm>
            <a:off x="300778" y="2566366"/>
            <a:ext cx="5761199" cy="3131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a:solidFill>
                  <a:srgbClr val="000000"/>
                </a:solidFill>
                <a:latin typeface="BIZ UDPゴシック"/>
                <a:ea typeface="BIZ UDPゴシック"/>
              </a:rPr>
              <a:t>システム（機能）</a:t>
            </a:r>
            <a:endParaRPr lang="en-US" altLang="ja-JP" sz="1600">
              <a:solidFill>
                <a:srgbClr val="000000"/>
              </a:solidFill>
              <a:latin typeface="BIZ UDPゴシック"/>
              <a:ea typeface="BIZ UDPゴシック"/>
            </a:endParaRPr>
          </a:p>
          <a:p>
            <a:pPr marL="742950" lvl="1" indent="-285750">
              <a:buFont typeface="Wingdings" panose="05000000000000000000" pitchFamily="2" charset="2"/>
              <a:buChar char="Ø"/>
              <a:defRPr/>
            </a:pPr>
            <a:r>
              <a:rPr kumimoji="1" lang="ja-JP" altLang="en-US" sz="1600">
                <a:solidFill>
                  <a:srgbClr val="0070C0"/>
                </a:solidFill>
                <a:latin typeface="+mn-ea"/>
              </a:rPr>
              <a:t>・・・・・</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システム（</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I</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X</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p>
          <a:p>
            <a:pPr marL="742950" lvl="1" indent="-285750">
              <a:buFont typeface="Wingdings" panose="05000000000000000000" pitchFamily="2" charset="2"/>
              <a:buChar char="Ø"/>
              <a:defRPr/>
            </a:pPr>
            <a:r>
              <a:rPr kumimoji="1" lang="ja-JP" altLang="en-US" sz="1600">
                <a:solidFill>
                  <a:srgbClr val="0070C0"/>
                </a:solidFill>
                <a:latin typeface="+mn-ea"/>
              </a:rPr>
              <a:t>・・・・・</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座組</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kumimoji="1" lang="ja-JP" altLang="en-US" sz="1600">
                <a:solidFill>
                  <a:srgbClr val="0070C0"/>
                </a:solidFill>
                <a:latin typeface="+mn-ea"/>
              </a:rPr>
              <a:t>・・・・・</a:t>
            </a:r>
            <a:endParaRPr kumimoji="1" lang="en-US" altLang="ja-JP" sz="1600">
              <a:solidFill>
                <a:srgbClr val="0070C0"/>
              </a:solidFill>
              <a:latin typeface="+mn-ea"/>
            </a:endParaRP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サービス運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kumimoji="1" lang="ja-JP" altLang="en-US" sz="1600">
                <a:solidFill>
                  <a:srgbClr val="0070C0"/>
                </a:solidFill>
                <a:latin typeface="+mn-ea"/>
              </a:rPr>
              <a:t>・・・・・</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85750" indent="-285750">
              <a:buFont typeface="Arial" panose="020B0604020202020204" pitchFamily="34" charset="0"/>
              <a:buChar char="•"/>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R="0" lvl="0" algn="l" defTabSz="914400" rtl="0" eaLnBrk="1" fontAlgn="auto" latinLnBrk="0" hangingPunct="1">
              <a:lnSpc>
                <a:spcPct val="100000"/>
              </a:lnSpc>
              <a:spcBef>
                <a:spcPts val="0"/>
              </a:spcBef>
              <a:spcAft>
                <a:spcPts val="0"/>
              </a:spcAft>
              <a:buClrTx/>
              <a:buSzTx/>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
        <p:nvSpPr>
          <p:cNvPr id="15" name="テキスト プレースホルダー 10">
            <a:extLst>
              <a:ext uri="{FF2B5EF4-FFF2-40B4-BE49-F238E27FC236}">
                <a16:creationId xmlns:a16="http://schemas.microsoft.com/office/drawing/2014/main" id="{A297BE6E-52F9-8183-AA90-19F0C17C5E07}"/>
              </a:ext>
            </a:extLst>
          </p:cNvPr>
          <p:cNvSpPr txBox="1">
            <a:spLocks/>
          </p:cNvSpPr>
          <p:nvPr/>
        </p:nvSpPr>
        <p:spPr>
          <a:xfrm>
            <a:off x="300779" y="1736090"/>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lang="en-US" altLang="ja-JP" sz="1800" kern="0">
                <a:solidFill>
                  <a:srgbClr val="000000"/>
                </a:solidFill>
              </a:rPr>
              <a:t>[</a:t>
            </a:r>
            <a:r>
              <a:rPr lang="ja-JP" altLang="en-US" sz="1800" kern="0">
                <a:solidFill>
                  <a:srgbClr val="000000"/>
                </a:solidFill>
              </a:rPr>
              <a:t>サマリーを記載</a:t>
            </a:r>
            <a:r>
              <a:rPr lang="en-US" altLang="ja-JP" sz="1800" kern="0">
                <a:solidFill>
                  <a:srgbClr val="000000"/>
                </a:solidFill>
              </a:rPr>
              <a:t>]</a:t>
            </a:r>
            <a:endParaRPr lang="ja-JP" altLang="en-US" sz="1800" kern="0">
              <a:solidFill>
                <a:srgbClr val="000000"/>
              </a:solidFill>
            </a:endParaRPr>
          </a:p>
        </p:txBody>
      </p:sp>
      <p:sp>
        <p:nvSpPr>
          <p:cNvPr id="20" name="テキスト プレースホルダー 10">
            <a:extLst>
              <a:ext uri="{FF2B5EF4-FFF2-40B4-BE49-F238E27FC236}">
                <a16:creationId xmlns:a16="http://schemas.microsoft.com/office/drawing/2014/main" id="{94800FDA-81F1-3586-866D-A519778D8DB8}"/>
              </a:ext>
            </a:extLst>
          </p:cNvPr>
          <p:cNvSpPr txBox="1">
            <a:spLocks/>
          </p:cNvSpPr>
          <p:nvPr/>
        </p:nvSpPr>
        <p:spPr>
          <a:xfrm>
            <a:off x="300778" y="1197432"/>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defTabSz="914400">
              <a:spcBef>
                <a:spcPts val="300"/>
              </a:spcBef>
              <a:defRPr/>
            </a:pPr>
            <a:r>
              <a:rPr lang="ja-JP" altLang="en-US" sz="1800">
                <a:solidFill>
                  <a:srgbClr val="0070C0"/>
                </a:solidFill>
                <a:latin typeface="BIZ UDPゴシック"/>
                <a:ea typeface="BIZ UDPゴシック"/>
              </a:rPr>
              <a:t>③サブスクサービスの提供</a:t>
            </a:r>
            <a:endParaRPr lang="en-US" altLang="ja-JP" sz="1800">
              <a:solidFill>
                <a:srgbClr val="0070C0"/>
              </a:solidFill>
              <a:latin typeface="BIZ UDPゴシック"/>
              <a:ea typeface="BIZ UDPゴシック"/>
            </a:endParaRPr>
          </a:p>
        </p:txBody>
      </p:sp>
      <p:sp>
        <p:nvSpPr>
          <p:cNvPr id="11" name="テキスト ボックス 10">
            <a:extLst>
              <a:ext uri="{FF2B5EF4-FFF2-40B4-BE49-F238E27FC236}">
                <a16:creationId xmlns:a16="http://schemas.microsoft.com/office/drawing/2014/main" id="{7AD700B5-152F-F8C1-01F8-E4F93E6DE0A2}"/>
              </a:ext>
            </a:extLst>
          </p:cNvPr>
          <p:cNvSpPr txBox="1"/>
          <p:nvPr/>
        </p:nvSpPr>
        <p:spPr>
          <a:xfrm>
            <a:off x="300778" y="4891745"/>
            <a:ext cx="6335283" cy="153764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a:t>
            </a:r>
            <a:r>
              <a:rPr kumimoji="0" lang="ja-JP" altLang="en-US" sz="1400" b="0" i="0" u="none" strike="noStrike" kern="0" cap="none" spc="0" normalizeH="0" baseline="0" noProof="0">
                <a:ln>
                  <a:noFill/>
                </a:ln>
                <a:solidFill>
                  <a:srgbClr val="FFFFFF"/>
                </a:solidFill>
                <a:effectLst/>
                <a:uLnTx/>
                <a:uFillTx/>
              </a:rPr>
              <a:t>継続開発を行っている場合のみ記載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実装済みの</a:t>
            </a:r>
            <a:r>
              <a:rPr kumimoji="0" lang="en-US" altLang="ja-JP" sz="1400" b="0" i="0" u="none" strike="noStrike" kern="0" cap="none" spc="0" normalizeH="0" baseline="0" noProof="0" err="1">
                <a:ln>
                  <a:noFill/>
                </a:ln>
                <a:solidFill>
                  <a:srgbClr val="FFFFFF"/>
                </a:solidFill>
                <a:effectLst/>
                <a:uLnTx/>
                <a:uFillTx/>
              </a:rPr>
              <a:t>MaaS</a:t>
            </a:r>
            <a:r>
              <a:rPr kumimoji="0" lang="ja-JP" altLang="en-US" sz="1400" b="0" i="0" u="none" strike="noStrike" kern="0" cap="none" spc="0" normalizeH="0" baseline="0" noProof="0">
                <a:ln>
                  <a:noFill/>
                </a:ln>
                <a:solidFill>
                  <a:srgbClr val="FFFFFF"/>
                </a:solidFill>
                <a:effectLst/>
                <a:uLnTx/>
                <a:uFillTx/>
              </a:rPr>
              <a:t>のアプリやデジタルチケット等のサービスについて、システム、座組、運用体制、造成商品等について記載してください。​</a:t>
            </a:r>
          </a:p>
        </p:txBody>
      </p:sp>
      <p:sp>
        <p:nvSpPr>
          <p:cNvPr id="16" name="テキスト ボックス 15">
            <a:extLst>
              <a:ext uri="{FF2B5EF4-FFF2-40B4-BE49-F238E27FC236}">
                <a16:creationId xmlns:a16="http://schemas.microsoft.com/office/drawing/2014/main" id="{BE049EA0-0CE2-CD5F-4666-C5B7AD461329}"/>
              </a:ext>
            </a:extLst>
          </p:cNvPr>
          <p:cNvSpPr txBox="1"/>
          <p:nvPr/>
        </p:nvSpPr>
        <p:spPr>
          <a:xfrm>
            <a:off x="6965596" y="3005155"/>
            <a:ext cx="4086808" cy="3457633"/>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イメージビジュアルなどを掲載してください。</a:t>
            </a:r>
          </a:p>
        </p:txBody>
      </p:sp>
    </p:spTree>
    <p:extLst>
      <p:ext uri="{BB962C8B-B14F-4D97-AF65-F5344CB8AC3E}">
        <p14:creationId xmlns:p14="http://schemas.microsoft.com/office/powerpoint/2010/main" val="18492806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extLst>
              <p:ext uri="{D42A27DB-BD31-4B8C-83A1-F6EECF244321}">
                <p14:modId xmlns:p14="http://schemas.microsoft.com/office/powerpoint/2010/main" val="1159869441"/>
              </p:ext>
            </p:ext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7F81DA45-2EDB-3376-10B4-C61FAB506B4F}"/>
              </a:ext>
            </a:extLst>
          </p:cNvPr>
          <p:cNvSpPr>
            <a:spLocks noGrp="1"/>
          </p:cNvSpPr>
          <p:nvPr>
            <p:ph type="body" sz="quarter" idx="4294967295"/>
          </p:nvPr>
        </p:nvSpPr>
        <p:spPr>
          <a:xfrm>
            <a:off x="300779" y="1134673"/>
            <a:ext cx="11376000" cy="323165"/>
          </a:xfrm>
        </p:spPr>
        <p:txBody>
          <a:bodyPr>
            <a:normAutofit fontScale="92500" lnSpcReduction="2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マリーを記載</a:t>
            </a: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２</a:t>
            </a:r>
            <a:r>
              <a:rPr lang="en-US" altLang="ja-JP"/>
              <a:t>.</a:t>
            </a:r>
            <a:r>
              <a:rPr lang="ja-JP" altLang="en-US"/>
              <a:t>実証仮説</a:t>
            </a:r>
          </a:p>
        </p:txBody>
      </p:sp>
      <p:graphicFrame>
        <p:nvGraphicFramePr>
          <p:cNvPr id="8" name="表 14">
            <a:extLst>
              <a:ext uri="{FF2B5EF4-FFF2-40B4-BE49-F238E27FC236}">
                <a16:creationId xmlns:a16="http://schemas.microsoft.com/office/drawing/2014/main" id="{628A4627-CAA7-6C39-A2F3-3AFB41DE8AAE}"/>
              </a:ext>
            </a:extLst>
          </p:cNvPr>
          <p:cNvGraphicFramePr>
            <a:graphicFrameLocks noGrp="1"/>
          </p:cNvGraphicFramePr>
          <p:nvPr>
            <p:extLst>
              <p:ext uri="{D42A27DB-BD31-4B8C-83A1-F6EECF244321}">
                <p14:modId xmlns:p14="http://schemas.microsoft.com/office/powerpoint/2010/main" val="1255812343"/>
              </p:ext>
            </p:extLst>
          </p:nvPr>
        </p:nvGraphicFramePr>
        <p:xfrm>
          <a:off x="300779" y="1520600"/>
          <a:ext cx="11587199" cy="5135138"/>
        </p:xfrm>
        <a:graphic>
          <a:graphicData uri="http://schemas.openxmlformats.org/drawingml/2006/table">
            <a:tbl>
              <a:tblPr firstRow="1" bandRow="1">
                <a:tableStyleId>{5940675A-B579-460E-94D1-54222C63F5DA}</a:tableStyleId>
              </a:tblPr>
              <a:tblGrid>
                <a:gridCol w="2137758">
                  <a:extLst>
                    <a:ext uri="{9D8B030D-6E8A-4147-A177-3AD203B41FA5}">
                      <a16:colId xmlns:a16="http://schemas.microsoft.com/office/drawing/2014/main" val="2207648862"/>
                    </a:ext>
                  </a:extLst>
                </a:gridCol>
                <a:gridCol w="9449441">
                  <a:extLst>
                    <a:ext uri="{9D8B030D-6E8A-4147-A177-3AD203B41FA5}">
                      <a16:colId xmlns:a16="http://schemas.microsoft.com/office/drawing/2014/main" val="3194800138"/>
                    </a:ext>
                  </a:extLst>
                </a:gridCol>
              </a:tblGrid>
              <a:tr h="349700">
                <a:tc>
                  <a:txBody>
                    <a:bodyPr/>
                    <a:lstStyle/>
                    <a:p>
                      <a:pPr marL="0" indent="0">
                        <a:buFont typeface="+mj-lt"/>
                        <a:buNone/>
                      </a:pPr>
                      <a:r>
                        <a:rPr kumimoji="1" lang="ja-JP" altLang="en-US" sz="1600" b="1">
                          <a:latin typeface="+mj-ea"/>
                          <a:ea typeface="+mj-ea"/>
                        </a:rPr>
                        <a:t>項目</a:t>
                      </a:r>
                    </a:p>
                  </a:txBody>
                  <a:tcPr marL="112542" marR="112542" marT="56271" marB="56271">
                    <a:solidFill>
                      <a:schemeClr val="bg1">
                        <a:lumMod val="85000"/>
                      </a:schemeClr>
                    </a:solidFill>
                  </a:tcPr>
                </a:tc>
                <a:tc>
                  <a:txBody>
                    <a:bodyPr/>
                    <a:lstStyle/>
                    <a:p>
                      <a:pPr marL="0" indent="0" defTabSz="990546" fontAlgn="auto">
                        <a:spcBef>
                          <a:spcPts val="300"/>
                        </a:spcBef>
                        <a:spcAft>
                          <a:spcPts val="0"/>
                        </a:spcAft>
                        <a:buSzPct val="100000"/>
                        <a:buFont typeface="Meiryo UI" panose="020B0604030504040204" pitchFamily="50" charset="-128"/>
                        <a:buNone/>
                        <a:defRPr/>
                      </a:pPr>
                      <a:r>
                        <a:rPr kumimoji="1" lang="ja-JP" altLang="en-US" sz="1600" b="1">
                          <a:solidFill>
                            <a:schemeClr val="tx1"/>
                          </a:solidFill>
                          <a:latin typeface="+mj-ea"/>
                          <a:ea typeface="+mj-ea"/>
                        </a:rPr>
                        <a:t>内容</a:t>
                      </a:r>
                      <a:endParaRPr kumimoji="1" lang="en-US" altLang="ja-JP" sz="1600" b="1">
                        <a:solidFill>
                          <a:schemeClr val="tx1"/>
                        </a:solidFill>
                        <a:latin typeface="+mj-ea"/>
                        <a:ea typeface="+mj-ea"/>
                      </a:endParaRPr>
                    </a:p>
                  </a:txBody>
                  <a:tcPr marL="112542" marR="112542" marT="56271" marB="56271">
                    <a:solidFill>
                      <a:schemeClr val="bg1">
                        <a:lumMod val="85000"/>
                      </a:schemeClr>
                    </a:solidFill>
                  </a:tcPr>
                </a:tc>
                <a:extLst>
                  <a:ext uri="{0D108BD9-81ED-4DB2-BD59-A6C34878D82A}">
                    <a16:rowId xmlns:a16="http://schemas.microsoft.com/office/drawing/2014/main" val="4015009209"/>
                  </a:ext>
                </a:extLst>
              </a:tr>
              <a:tr h="4778756">
                <a:tc>
                  <a:txBody>
                    <a:bodyPr/>
                    <a:lstStyle/>
                    <a:p>
                      <a:pPr marL="0" indent="0">
                        <a:buFont typeface="+mj-lt"/>
                        <a:buNone/>
                      </a:pPr>
                      <a:r>
                        <a:rPr kumimoji="1" lang="ja-JP" altLang="en-US" sz="1600" b="0">
                          <a:latin typeface="+mn-ea"/>
                          <a:ea typeface="+mn-ea"/>
                        </a:rPr>
                        <a:t>実証仮説</a:t>
                      </a:r>
                    </a:p>
                  </a:txBody>
                  <a:tcPr marL="112542" marR="112542" marT="56271" marB="56271">
                    <a:noFill/>
                  </a:tcPr>
                </a:tc>
                <a:tc>
                  <a:txBody>
                    <a:bodyPr/>
                    <a:lstStyle/>
                    <a:p>
                      <a:pPr marL="0" marR="0" lvl="0" indent="0" algn="l" defTabSz="74295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400" b="0" i="0" u="none" strike="noStrike" kern="1200" cap="none" spc="0" normalizeH="0" baseline="0" noProof="0">
                          <a:ln>
                            <a:noFill/>
                          </a:ln>
                          <a:solidFill>
                            <a:srgbClr val="0070C0"/>
                          </a:solidFill>
                          <a:effectLst/>
                          <a:uLnTx/>
                          <a:uFillTx/>
                          <a:latin typeface="+mn-lt"/>
                          <a:ea typeface="+mn-ea"/>
                          <a:cs typeface="+mn-cs"/>
                        </a:rPr>
                        <a:t>①新規</a:t>
                      </a:r>
                      <a:r>
                        <a:rPr kumimoji="1" lang="en-US" altLang="ja-JP" sz="1400" b="0" i="0" u="none" strike="noStrike" kern="1200" cap="none" spc="0" normalizeH="0" baseline="0" noProof="0">
                          <a:ln>
                            <a:noFill/>
                          </a:ln>
                          <a:solidFill>
                            <a:srgbClr val="0070C0"/>
                          </a:solidFill>
                          <a:effectLst/>
                          <a:uLnTx/>
                          <a:uFillTx/>
                          <a:latin typeface="+mn-lt"/>
                          <a:ea typeface="+mn-ea"/>
                          <a:cs typeface="+mn-cs"/>
                        </a:rPr>
                        <a:t>MaaS</a:t>
                      </a:r>
                      <a:r>
                        <a:rPr kumimoji="1" lang="ja-JP" altLang="en-US" sz="1400" b="0" i="0" u="none" strike="noStrike" kern="1200" cap="none" spc="0" normalizeH="0" baseline="0" noProof="0">
                          <a:ln>
                            <a:noFill/>
                          </a:ln>
                          <a:solidFill>
                            <a:srgbClr val="0070C0"/>
                          </a:solidFill>
                          <a:effectLst/>
                          <a:uLnTx/>
                          <a:uFillTx/>
                          <a:latin typeface="+mn-lt"/>
                          <a:ea typeface="+mn-ea"/>
                          <a:cs typeface="+mn-cs"/>
                        </a:rPr>
                        <a:t>アプリの開発</a:t>
                      </a:r>
                      <a:endParaRPr kumimoji="1" lang="en-US" altLang="ja-JP" sz="1400" b="0" i="0" u="none" strike="noStrike" kern="1200" cap="none" spc="0" normalizeH="0" baseline="0" noProof="0">
                        <a:ln>
                          <a:noFill/>
                        </a:ln>
                        <a:solidFill>
                          <a:srgbClr val="0070C0"/>
                        </a:solidFill>
                        <a:effectLst/>
                        <a:uLnTx/>
                        <a:uFillTx/>
                        <a:latin typeface="+mn-lt"/>
                        <a:ea typeface="+mn-ea"/>
                        <a:cs typeface="+mn-cs"/>
                      </a:endParaRPr>
                    </a:p>
                    <a:p>
                      <a:pPr marL="0" indent="0">
                        <a:buFont typeface="Wingdings" panose="05000000000000000000" pitchFamily="2" charset="2"/>
                        <a:buNone/>
                      </a:pPr>
                      <a:endParaRPr lang="en-US" altLang="ja-JP" sz="1400"/>
                    </a:p>
                    <a:p>
                      <a:pPr marL="285750" indent="-285750">
                        <a:buFont typeface="Wingdings" panose="05000000000000000000" pitchFamily="2" charset="2"/>
                        <a:buChar char="l"/>
                      </a:pPr>
                      <a:r>
                        <a:rPr lang="ja-JP" altLang="en-US" sz="1400">
                          <a:solidFill>
                            <a:srgbClr val="0070C0"/>
                          </a:solidFill>
                        </a:rPr>
                        <a:t>仮説</a:t>
                      </a:r>
                      <a:r>
                        <a:rPr lang="en-US" altLang="ja-JP" sz="1400">
                          <a:solidFill>
                            <a:srgbClr val="0070C0"/>
                          </a:solidFill>
                        </a:rPr>
                        <a:t>: MaaS</a:t>
                      </a:r>
                      <a:r>
                        <a:rPr lang="ja-JP" altLang="en-US" sz="1400">
                          <a:solidFill>
                            <a:srgbClr val="0070C0"/>
                          </a:solidFill>
                        </a:rPr>
                        <a:t>システムの導入により、公共交通利用率が</a:t>
                      </a:r>
                      <a:r>
                        <a:rPr lang="en-US" altLang="ja-JP" sz="1400">
                          <a:solidFill>
                            <a:srgbClr val="0070C0"/>
                          </a:solidFill>
                        </a:rPr>
                        <a:t>20%</a:t>
                      </a:r>
                      <a:r>
                        <a:rPr lang="ja-JP" altLang="en-US" sz="1400">
                          <a:solidFill>
                            <a:srgbClr val="0070C0"/>
                          </a:solidFill>
                        </a:rPr>
                        <a:t>向上し、交通渋滞が</a:t>
                      </a:r>
                      <a:r>
                        <a:rPr lang="en-US" altLang="ja-JP" sz="1400">
                          <a:solidFill>
                            <a:srgbClr val="0070C0"/>
                          </a:solidFill>
                        </a:rPr>
                        <a:t>15%</a:t>
                      </a:r>
                      <a:r>
                        <a:rPr lang="ja-JP" altLang="en-US" sz="1400">
                          <a:solidFill>
                            <a:srgbClr val="0070C0"/>
                          </a:solidFill>
                        </a:rPr>
                        <a:t>減少する。</a:t>
                      </a:r>
                    </a:p>
                    <a:p>
                      <a:pPr marL="0" indent="0">
                        <a:buFont typeface="Wingdings" panose="05000000000000000000" pitchFamily="2" charset="2"/>
                        <a:buNone/>
                      </a:pPr>
                      <a:endParaRPr lang="en-US" altLang="ja-JP" sz="1400">
                        <a:solidFill>
                          <a:srgbClr val="0070C0"/>
                        </a:solidFill>
                      </a:endParaRPr>
                    </a:p>
                    <a:p>
                      <a:pPr marL="0" indent="0">
                        <a:buFont typeface="Wingdings" panose="05000000000000000000" pitchFamily="2" charset="2"/>
                        <a:buNone/>
                      </a:pPr>
                      <a:r>
                        <a:rPr lang="ja-JP" altLang="en-US" sz="1400">
                          <a:solidFill>
                            <a:srgbClr val="0070C0"/>
                          </a:solidFill>
                        </a:rPr>
                        <a:t>仮説が実現する理由</a:t>
                      </a:r>
                      <a:r>
                        <a:rPr lang="en-US" altLang="ja-JP" sz="1400">
                          <a:solidFill>
                            <a:srgbClr val="0070C0"/>
                          </a:solidFill>
                        </a:rPr>
                        <a:t>: MaaS</a:t>
                      </a:r>
                      <a:r>
                        <a:rPr lang="ja-JP" altLang="en-US" sz="1400">
                          <a:solidFill>
                            <a:srgbClr val="0070C0"/>
                          </a:solidFill>
                        </a:rPr>
                        <a:t>の統合システムにより、利用者は複数の交通手段をシームレスに利用でき、公共交通の魅力が増す。</a:t>
                      </a:r>
                      <a:endParaRPr lang="en-US" altLang="ja-JP" sz="1400">
                        <a:solidFill>
                          <a:srgbClr val="0070C0"/>
                        </a:solidFill>
                      </a:endParaRPr>
                    </a:p>
                    <a:p>
                      <a:pPr marL="285750" indent="-285750">
                        <a:buFont typeface="Wingdings" panose="05000000000000000000" pitchFamily="2" charset="2"/>
                        <a:buChar char="l"/>
                      </a:pPr>
                      <a:endParaRPr lang="en-US" altLang="ja-JP" sz="1400"/>
                    </a:p>
                    <a:p>
                      <a:pPr marL="0" marR="0" lvl="0" indent="0" algn="l" defTabSz="742950" rtl="0" eaLnBrk="1" fontAlgn="auto" latinLnBrk="0" hangingPunct="1">
                        <a:lnSpc>
                          <a:spcPct val="100000"/>
                        </a:lnSpc>
                        <a:spcBef>
                          <a:spcPts val="0"/>
                        </a:spcBef>
                        <a:spcAft>
                          <a:spcPts val="0"/>
                        </a:spcAft>
                        <a:buClrTx/>
                        <a:buSzTx/>
                        <a:buFont typeface="Wingdings" panose="05000000000000000000" pitchFamily="2" charset="2"/>
                        <a:buNone/>
                        <a:tabLst/>
                        <a:defRPr/>
                      </a:pPr>
                      <a:r>
                        <a:rPr lang="ja-JP" altLang="en-US" sz="1400">
                          <a:solidFill>
                            <a:srgbClr val="0070C0"/>
                          </a:solidFill>
                          <a:latin typeface="+mn-lt"/>
                          <a:ea typeface="+mn-ea"/>
                        </a:rPr>
                        <a:t>②デジタルパスの販売</a:t>
                      </a:r>
                      <a:endParaRPr lang="en-US" altLang="ja-JP" sz="1400">
                        <a:solidFill>
                          <a:srgbClr val="0070C0"/>
                        </a:solidFill>
                        <a:latin typeface="+mn-lt"/>
                        <a:ea typeface="+mn-ea"/>
                      </a:endParaRPr>
                    </a:p>
                    <a:p>
                      <a:pPr marL="0" indent="0">
                        <a:buFont typeface="Wingdings" panose="05000000000000000000" pitchFamily="2" charset="2"/>
                        <a:buNone/>
                      </a:pPr>
                      <a:endParaRPr lang="en-US" altLang="ja-JP" sz="1400"/>
                    </a:p>
                    <a:p>
                      <a:pPr marL="285750" indent="-285750">
                        <a:buFont typeface="Wingdings" panose="05000000000000000000" pitchFamily="2" charset="2"/>
                        <a:buChar char="l"/>
                      </a:pPr>
                      <a:r>
                        <a:rPr lang="ja-JP" altLang="en-US" sz="1400">
                          <a:solidFill>
                            <a:srgbClr val="0070C0"/>
                          </a:solidFill>
                        </a:rPr>
                        <a:t>仮説</a:t>
                      </a:r>
                      <a:r>
                        <a:rPr lang="en-US" altLang="ja-JP" sz="1400">
                          <a:solidFill>
                            <a:srgbClr val="0070C0"/>
                          </a:solidFill>
                        </a:rPr>
                        <a:t>: </a:t>
                      </a:r>
                      <a:r>
                        <a:rPr lang="ja-JP" altLang="en-US" sz="1400">
                          <a:solidFill>
                            <a:srgbClr val="0070C0"/>
                          </a:solidFill>
                        </a:rPr>
                        <a:t>観光施設のクーポンを含む周遊デジタルチケットの販売により、該当観光施設への来客数</a:t>
                      </a:r>
                      <a:r>
                        <a:rPr lang="en-US" altLang="ja-JP" sz="1400">
                          <a:solidFill>
                            <a:srgbClr val="0070C0"/>
                          </a:solidFill>
                        </a:rPr>
                        <a:t>20%</a:t>
                      </a:r>
                      <a:r>
                        <a:rPr lang="ja-JP" altLang="en-US" sz="1400">
                          <a:solidFill>
                            <a:srgbClr val="0070C0"/>
                          </a:solidFill>
                        </a:rPr>
                        <a:t>アップ、また観光客の移動需要を取り込み観光目的の公共交通利用率が</a:t>
                      </a:r>
                      <a:r>
                        <a:rPr lang="en-US" altLang="ja-JP" sz="1400">
                          <a:solidFill>
                            <a:srgbClr val="0070C0"/>
                          </a:solidFill>
                        </a:rPr>
                        <a:t>10%</a:t>
                      </a:r>
                      <a:r>
                        <a:rPr lang="ja-JP" altLang="en-US" sz="1400">
                          <a:solidFill>
                            <a:srgbClr val="0070C0"/>
                          </a:solidFill>
                        </a:rPr>
                        <a:t>向上。</a:t>
                      </a:r>
                      <a:endParaRPr lang="en-US" altLang="ja-JP" sz="1400">
                        <a:solidFill>
                          <a:srgbClr val="0070C0"/>
                        </a:solidFill>
                      </a:endParaRPr>
                    </a:p>
                    <a:p>
                      <a:pPr marL="285750" indent="-285750">
                        <a:buFont typeface="Wingdings" panose="05000000000000000000" pitchFamily="2" charset="2"/>
                        <a:buChar char="l"/>
                      </a:pPr>
                      <a:endParaRPr lang="en-US" altLang="ja-JP" sz="1400">
                        <a:solidFill>
                          <a:srgbClr val="0070C0"/>
                        </a:solidFill>
                      </a:endParaRPr>
                    </a:p>
                    <a:p>
                      <a:pPr marL="0" indent="0">
                        <a:buFont typeface="Wingdings" panose="05000000000000000000" pitchFamily="2" charset="2"/>
                        <a:buNone/>
                      </a:pPr>
                      <a:r>
                        <a:rPr lang="ja-JP" altLang="en-US" sz="1400">
                          <a:solidFill>
                            <a:srgbClr val="0070C0"/>
                          </a:solidFill>
                        </a:rPr>
                        <a:t>仮説が実現する理由</a:t>
                      </a:r>
                      <a:r>
                        <a:rPr lang="en-US" altLang="ja-JP" sz="1400">
                          <a:solidFill>
                            <a:srgbClr val="0070C0"/>
                          </a:solidFill>
                        </a:rPr>
                        <a:t>: </a:t>
                      </a:r>
                      <a:r>
                        <a:rPr lang="ja-JP" altLang="en-US" sz="1400">
                          <a:solidFill>
                            <a:srgbClr val="0070C0"/>
                          </a:solidFill>
                        </a:rPr>
                        <a:t>クーポン付きの周遊デジタルチケットにより、観光客は目的地までシームレスに利用でき主要観光地だけでなく、周辺エリアにおいても観光客が増加する。</a:t>
                      </a:r>
                      <a:endParaRPr lang="en-US" altLang="ja-JP" sz="1400">
                        <a:solidFill>
                          <a:srgbClr val="0070C0"/>
                        </a:solidFill>
                      </a:endParaRPr>
                    </a:p>
                    <a:p>
                      <a:pPr marL="0" indent="0">
                        <a:buFont typeface="Wingdings" panose="05000000000000000000" pitchFamily="2" charset="2"/>
                        <a:buNone/>
                      </a:pPr>
                      <a:endParaRPr lang="en-US" altLang="ja-JP" sz="1400">
                        <a:solidFill>
                          <a:srgbClr val="0070C0"/>
                        </a:solidFill>
                      </a:endParaRPr>
                    </a:p>
                    <a:p>
                      <a:pPr marL="0" marR="0" lvl="0" indent="0" algn="l" defTabSz="742950" rtl="0" eaLnBrk="1" fontAlgn="auto" latinLnBrk="0" hangingPunct="1">
                        <a:lnSpc>
                          <a:spcPct val="100000"/>
                        </a:lnSpc>
                        <a:spcBef>
                          <a:spcPts val="0"/>
                        </a:spcBef>
                        <a:spcAft>
                          <a:spcPts val="0"/>
                        </a:spcAft>
                        <a:buClrTx/>
                        <a:buSzTx/>
                        <a:buFont typeface="Wingdings" panose="05000000000000000000" pitchFamily="2" charset="2"/>
                        <a:buNone/>
                        <a:tabLst/>
                        <a:defRPr/>
                      </a:pPr>
                      <a:r>
                        <a:rPr lang="ja-JP" altLang="en-US" sz="1400">
                          <a:solidFill>
                            <a:srgbClr val="0070C0"/>
                          </a:solidFill>
                          <a:latin typeface="+mn-lt"/>
                          <a:ea typeface="+mn-ea"/>
                        </a:rPr>
                        <a:t>③サブスクサービスの提供</a:t>
                      </a:r>
                      <a:endParaRPr lang="en-US" altLang="ja-JP" sz="1400">
                        <a:solidFill>
                          <a:srgbClr val="0070C0"/>
                        </a:solidFill>
                      </a:endParaRPr>
                    </a:p>
                    <a:p>
                      <a:pPr marL="285750" marR="0" lvl="0" indent="-285750" algn="l" defTabSz="74295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400">
                          <a:solidFill>
                            <a:srgbClr val="0070C0"/>
                          </a:solidFill>
                        </a:rPr>
                        <a:t>仮説</a:t>
                      </a:r>
                      <a:r>
                        <a:rPr lang="en-US" altLang="ja-JP" sz="1400">
                          <a:solidFill>
                            <a:srgbClr val="0070C0"/>
                          </a:solidFill>
                        </a:rPr>
                        <a:t>: </a:t>
                      </a:r>
                      <a:r>
                        <a:rPr lang="ja-JP" altLang="en-US" sz="1400">
                          <a:solidFill>
                            <a:srgbClr val="0070C0"/>
                          </a:solidFill>
                        </a:rPr>
                        <a:t>サブスクサービスの導入により、公共交通利用率が</a:t>
                      </a:r>
                      <a:r>
                        <a:rPr lang="en-US" altLang="ja-JP" sz="1400">
                          <a:solidFill>
                            <a:srgbClr val="0070C0"/>
                          </a:solidFill>
                        </a:rPr>
                        <a:t>20%</a:t>
                      </a:r>
                      <a:r>
                        <a:rPr lang="ja-JP" altLang="en-US" sz="1400">
                          <a:solidFill>
                            <a:srgbClr val="0070C0"/>
                          </a:solidFill>
                        </a:rPr>
                        <a:t>向上し、交通渋滞が</a:t>
                      </a:r>
                      <a:r>
                        <a:rPr lang="en-US" altLang="ja-JP" sz="1400">
                          <a:solidFill>
                            <a:srgbClr val="0070C0"/>
                          </a:solidFill>
                        </a:rPr>
                        <a:t>15%</a:t>
                      </a:r>
                      <a:r>
                        <a:rPr lang="ja-JP" altLang="en-US" sz="1400">
                          <a:solidFill>
                            <a:srgbClr val="0070C0"/>
                          </a:solidFill>
                        </a:rPr>
                        <a:t>減少する。</a:t>
                      </a:r>
                    </a:p>
                    <a:p>
                      <a:pPr marL="285750" indent="-285750">
                        <a:buFont typeface="Wingdings" panose="05000000000000000000" pitchFamily="2" charset="2"/>
                        <a:buChar char="l"/>
                      </a:pPr>
                      <a:endParaRPr lang="en-US" altLang="ja-JP" sz="1400">
                        <a:solidFill>
                          <a:srgbClr val="0070C0"/>
                        </a:solidFill>
                      </a:endParaRPr>
                    </a:p>
                    <a:p>
                      <a:pPr marL="0" indent="0">
                        <a:buFont typeface="Wingdings" panose="05000000000000000000" pitchFamily="2" charset="2"/>
                        <a:buNone/>
                      </a:pPr>
                      <a:r>
                        <a:rPr lang="ja-JP" altLang="en-US" sz="1400">
                          <a:solidFill>
                            <a:srgbClr val="0070C0"/>
                          </a:solidFill>
                        </a:rPr>
                        <a:t>仮説が実現する理由</a:t>
                      </a:r>
                      <a:r>
                        <a:rPr lang="en-US" altLang="ja-JP" sz="1400">
                          <a:solidFill>
                            <a:srgbClr val="0070C0"/>
                          </a:solidFill>
                        </a:rPr>
                        <a:t>: </a:t>
                      </a:r>
                      <a:r>
                        <a:rPr lang="ja-JP" altLang="en-US" sz="1400">
                          <a:solidFill>
                            <a:srgbClr val="0070C0"/>
                          </a:solidFill>
                        </a:rPr>
                        <a:t>該当エリアの鉄道とバスが定額で乗り放題なため、公共交通がお得と感じる利用者が増え、公共交通の魅力が増す。</a:t>
                      </a:r>
                      <a:endParaRPr lang="en-US" altLang="ja-JP" sz="1400" u="none" kern="100">
                        <a:solidFill>
                          <a:srgbClr val="000000"/>
                        </a:solidFill>
                        <a:effectLst/>
                        <a:latin typeface="+mn-ea"/>
                        <a:ea typeface="+mn-ea"/>
                        <a:cs typeface="Arial" panose="020B0604020202020204" pitchFamily="34" charset="0"/>
                      </a:endParaRPr>
                    </a:p>
                  </a:txBody>
                  <a:tcPr marL="112542" marR="112542" marT="56271" marB="56271">
                    <a:solidFill>
                      <a:schemeClr val="bg1"/>
                    </a:solidFill>
                  </a:tcPr>
                </a:tc>
                <a:extLst>
                  <a:ext uri="{0D108BD9-81ED-4DB2-BD59-A6C34878D82A}">
                    <a16:rowId xmlns:a16="http://schemas.microsoft.com/office/drawing/2014/main" val="4257226144"/>
                  </a:ext>
                </a:extLst>
              </a:tr>
            </a:tbl>
          </a:graphicData>
        </a:graphic>
      </p:graphicFrame>
      <p:sp>
        <p:nvSpPr>
          <p:cNvPr id="11" name="テキスト ボックス 10">
            <a:extLst>
              <a:ext uri="{FF2B5EF4-FFF2-40B4-BE49-F238E27FC236}">
                <a16:creationId xmlns:a16="http://schemas.microsoft.com/office/drawing/2014/main" id="{F3C7DC9A-525C-F63B-8EA0-A1FD3AEF7283}"/>
              </a:ext>
            </a:extLst>
          </p:cNvPr>
          <p:cNvSpPr txBox="1"/>
          <p:nvPr/>
        </p:nvSpPr>
        <p:spPr>
          <a:xfrm>
            <a:off x="1754907" y="3506673"/>
            <a:ext cx="8467744" cy="163062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スコープ単位で記載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をすることにより▲▲になる、等スコープに対してどのような仮説が立つか具体的に記載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また、▲▲の部分のどうなるかについては、できるだけ定量的に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28524438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３</a:t>
            </a:r>
            <a:r>
              <a:rPr lang="en-US" altLang="ja-JP"/>
              <a:t>.</a:t>
            </a:r>
            <a:r>
              <a:rPr lang="ja-JP" altLang="en-US"/>
              <a:t>スコープ詳細</a:t>
            </a:r>
          </a:p>
        </p:txBody>
      </p:sp>
      <p:sp>
        <p:nvSpPr>
          <p:cNvPr id="11" name="テキスト プレースホルダー 10">
            <a:extLst>
              <a:ext uri="{FF2B5EF4-FFF2-40B4-BE49-F238E27FC236}">
                <a16:creationId xmlns:a16="http://schemas.microsoft.com/office/drawing/2014/main" id="{962E5203-2DFF-C1A0-2F9F-F26700D05F5E}"/>
              </a:ext>
            </a:extLst>
          </p:cNvPr>
          <p:cNvSpPr txBox="1">
            <a:spLocks noGrp="1"/>
          </p:cNvSpPr>
          <p:nvPr>
            <p:ph type="body" sz="quarter" idx="4294967295"/>
          </p:nvPr>
        </p:nvSpPr>
        <p:spPr>
          <a:xfrm>
            <a:off x="300038" y="1135063"/>
            <a:ext cx="11376025" cy="30797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kumimoji="1" lang="ja-JP" altLang="en-US" sz="1800" b="0" i="0" u="none" strike="noStrike" kern="1200" cap="none" spc="0" normalizeH="0" baseline="0" noProof="0">
                <a:ln>
                  <a:noFill/>
                </a:ln>
                <a:solidFill>
                  <a:srgbClr val="0070C0"/>
                </a:solidFill>
                <a:effectLst/>
                <a:uLnTx/>
                <a:uFillTx/>
                <a:latin typeface="BIZ UDPゴシック"/>
                <a:ea typeface="BIZ UDPゴシック"/>
                <a:cs typeface="+mn-cs"/>
              </a:rPr>
              <a:t>①新規</a:t>
            </a:r>
            <a:r>
              <a:rPr kumimoji="1" lang="en-US" altLang="ja-JP" sz="1800" b="0" i="0" u="none" strike="noStrike" kern="1200" cap="none" spc="0" normalizeH="0" baseline="0" noProof="0" err="1">
                <a:ln>
                  <a:noFill/>
                </a:ln>
                <a:solidFill>
                  <a:srgbClr val="0070C0"/>
                </a:solidFill>
                <a:effectLst/>
                <a:uLnTx/>
                <a:uFillTx/>
                <a:latin typeface="BIZ UDPゴシック"/>
                <a:ea typeface="BIZ UDPゴシック"/>
                <a:cs typeface="+mn-cs"/>
              </a:rPr>
              <a:t>MaaS</a:t>
            </a:r>
            <a:r>
              <a:rPr kumimoji="1" lang="ja-JP" altLang="en-US" sz="1800" b="0" i="0" u="none" strike="noStrike" kern="1200" cap="none" spc="0" normalizeH="0" baseline="0" noProof="0">
                <a:ln>
                  <a:noFill/>
                </a:ln>
                <a:solidFill>
                  <a:srgbClr val="0070C0"/>
                </a:solidFill>
                <a:effectLst/>
                <a:uLnTx/>
                <a:uFillTx/>
                <a:latin typeface="BIZ UDPゴシック"/>
                <a:ea typeface="BIZ UDPゴシック"/>
                <a:cs typeface="+mn-cs"/>
              </a:rPr>
              <a:t>アプリの開発</a:t>
            </a:r>
            <a:endParaRPr kumimoji="1" lang="en-US" altLang="ja-JP" sz="1800" b="0" i="0" u="none" strike="noStrike" kern="1200" cap="none" spc="0" normalizeH="0" baseline="0" noProof="0">
              <a:ln>
                <a:noFill/>
              </a:ln>
              <a:solidFill>
                <a:srgbClr val="0070C0"/>
              </a:solidFill>
              <a:effectLst/>
              <a:uLnTx/>
              <a:uFillTx/>
              <a:latin typeface="BIZ UDPゴシック"/>
              <a:ea typeface="BIZ UDPゴシック"/>
              <a:cs typeface="+mn-cs"/>
            </a:endParaRPr>
          </a:p>
        </p:txBody>
      </p:sp>
      <p:sp>
        <p:nvSpPr>
          <p:cNvPr id="26" name="テキスト ボックス 25">
            <a:extLst>
              <a:ext uri="{FF2B5EF4-FFF2-40B4-BE49-F238E27FC236}">
                <a16:creationId xmlns:a16="http://schemas.microsoft.com/office/drawing/2014/main" id="{E79CF6B0-5AD5-B0A6-5A82-B2F5A3B16A53}"/>
              </a:ext>
            </a:extLst>
          </p:cNvPr>
          <p:cNvSpPr txBox="1"/>
          <p:nvPr/>
        </p:nvSpPr>
        <p:spPr>
          <a:xfrm>
            <a:off x="453017" y="1490744"/>
            <a:ext cx="11313782" cy="710832"/>
          </a:xfrm>
          <a:prstGeom prst="rect">
            <a:avLst/>
          </a:prstGeom>
          <a:noFill/>
        </p:spPr>
        <p:txBody>
          <a:bodyPr wrap="square" anchor="t">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0070C0"/>
                </a:solidFill>
                <a:effectLst/>
                <a:uLnTx/>
                <a:uFillTx/>
              </a:rPr>
              <a:t>当該エリア内のシームレスな移動を可能とするため、</a:t>
            </a:r>
            <a:r>
              <a:rPr kumimoji="0" lang="en-US" altLang="ja-JP" sz="1400" b="0" i="0" u="none" strike="noStrike" kern="0" cap="none" spc="0" normalizeH="0" baseline="0" noProof="0" err="1">
                <a:ln>
                  <a:noFill/>
                </a:ln>
                <a:solidFill>
                  <a:srgbClr val="0070C0"/>
                </a:solidFill>
                <a:effectLst/>
                <a:uLnTx/>
                <a:uFillTx/>
              </a:rPr>
              <a:t>MaaS</a:t>
            </a:r>
            <a:r>
              <a:rPr kumimoji="0" lang="ja-JP" altLang="en-US" sz="1400" b="0" i="0" u="none" strike="noStrike" kern="0" cap="none" spc="0" normalizeH="0" baseline="0" noProof="0">
                <a:ln>
                  <a:noFill/>
                </a:ln>
                <a:solidFill>
                  <a:srgbClr val="0070C0"/>
                </a:solidFill>
                <a:effectLst/>
                <a:uLnTx/>
                <a:uFillTx/>
              </a:rPr>
              <a:t>アプリの開発及び実証を行う。</a:t>
            </a:r>
            <a:endParaRPr kumimoji="0" lang="en-US" altLang="ja-JP" sz="1400" b="0" i="0" u="none" strike="noStrike" kern="0" cap="none" spc="0" normalizeH="0" baseline="0" noProof="0">
              <a:ln>
                <a:noFill/>
              </a:ln>
              <a:solidFill>
                <a:srgbClr val="0070C0"/>
              </a:solidFill>
              <a:effectLst/>
              <a:uLnTx/>
              <a:uFillTx/>
            </a:endParaRPr>
          </a:p>
        </p:txBody>
      </p:sp>
      <p:graphicFrame>
        <p:nvGraphicFramePr>
          <p:cNvPr id="32" name="表 31">
            <a:extLst>
              <a:ext uri="{FF2B5EF4-FFF2-40B4-BE49-F238E27FC236}">
                <a16:creationId xmlns:a16="http://schemas.microsoft.com/office/drawing/2014/main" id="{3B80BC24-01AA-213D-76FD-38F653AD9B7C}"/>
              </a:ext>
            </a:extLst>
          </p:cNvPr>
          <p:cNvGraphicFramePr>
            <a:graphicFrameLocks noGrp="1"/>
          </p:cNvGraphicFramePr>
          <p:nvPr>
            <p:extLst>
              <p:ext uri="{D42A27DB-BD31-4B8C-83A1-F6EECF244321}">
                <p14:modId xmlns:p14="http://schemas.microsoft.com/office/powerpoint/2010/main" val="1092475293"/>
              </p:ext>
            </p:extLst>
          </p:nvPr>
        </p:nvGraphicFramePr>
        <p:xfrm>
          <a:off x="537268" y="2065032"/>
          <a:ext cx="5390886" cy="4435116"/>
        </p:xfrm>
        <a:graphic>
          <a:graphicData uri="http://schemas.openxmlformats.org/drawingml/2006/table">
            <a:tbl>
              <a:tblPr firstRow="1" firstCol="1" bandRow="1"/>
              <a:tblGrid>
                <a:gridCol w="1621993">
                  <a:extLst>
                    <a:ext uri="{9D8B030D-6E8A-4147-A177-3AD203B41FA5}">
                      <a16:colId xmlns:a16="http://schemas.microsoft.com/office/drawing/2014/main" val="3938936156"/>
                    </a:ext>
                  </a:extLst>
                </a:gridCol>
                <a:gridCol w="3768893">
                  <a:extLst>
                    <a:ext uri="{9D8B030D-6E8A-4147-A177-3AD203B41FA5}">
                      <a16:colId xmlns:a16="http://schemas.microsoft.com/office/drawing/2014/main" val="547714969"/>
                    </a:ext>
                  </a:extLst>
                </a:gridCol>
              </a:tblGrid>
              <a:tr h="327232">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algn="just"/>
                      <a:r>
                        <a:rPr lang="ja-JP" altLang="en-US" sz="1050" b="0" kern="100">
                          <a:solidFill>
                            <a:schemeClr val="tx1"/>
                          </a:solidFill>
                          <a:effectLst/>
                          <a:latin typeface="+mn-ea"/>
                          <a:ea typeface="+mn-ea"/>
                          <a:cs typeface="Meiryo UI" panose="020B0604030504040204" pitchFamily="50" charset="-128"/>
                        </a:rPr>
                        <a:t>スコープ</a:t>
                      </a:r>
                      <a:endParaRPr lang="ja-JP" altLang="ja-JP" sz="1050" b="0" kern="100">
                        <a:solidFill>
                          <a:schemeClr val="tx1"/>
                        </a:solidFill>
                        <a:effectLst/>
                        <a:latin typeface="+mn-ea"/>
                        <a:ea typeface="+mn-ea"/>
                        <a:cs typeface="Meiryo UI" panose="020B0604030504040204" pitchFamily="50" charset="-128"/>
                      </a:endParaRPr>
                    </a:p>
                  </a:txBody>
                  <a:tcPr marL="90000" marR="90000" marT="46800" marB="4680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75000"/>
                      </a:srgbClr>
                    </a:solid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algn="just"/>
                      <a:r>
                        <a:rPr lang="ja-JP" altLang="en-US" sz="1050" b="0" kern="100">
                          <a:solidFill>
                            <a:schemeClr val="tx1"/>
                          </a:solidFill>
                          <a:effectLst/>
                          <a:latin typeface="+mn-ea"/>
                          <a:ea typeface="+mn-ea"/>
                          <a:cs typeface="Meiryo UI" panose="020B0604030504040204" pitchFamily="50" charset="-128"/>
                        </a:rPr>
                        <a:t>概要</a:t>
                      </a:r>
                      <a:endParaRPr lang="ja-JP" sz="1050" b="0" kern="100">
                        <a:solidFill>
                          <a:schemeClr val="tx1"/>
                        </a:solidFill>
                        <a:effectLst/>
                        <a:latin typeface="+mn-ea"/>
                        <a:ea typeface="+mn-ea"/>
                        <a:cs typeface="Meiryo UI" panose="020B0604030504040204" pitchFamily="50" charset="-128"/>
                      </a:endParaRPr>
                    </a:p>
                  </a:txBody>
                  <a:tcPr marL="90000" marR="90000" marT="46800" marB="4680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1526276123"/>
                  </a:ext>
                </a:extLst>
              </a:tr>
              <a:tr h="425395">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〇〇</a:t>
                      </a:r>
                      <a:r>
                        <a:rPr kumimoji="1" lang="en-US" altLang="ja-JP" sz="1050">
                          <a:solidFill>
                            <a:srgbClr val="0070C0"/>
                          </a:solidFill>
                        </a:rPr>
                        <a:t>MaaS</a:t>
                      </a:r>
                      <a:r>
                        <a:rPr kumimoji="1" lang="ja-JP" altLang="en-US" sz="1050">
                          <a:solidFill>
                            <a:srgbClr val="0070C0"/>
                          </a:solidFill>
                        </a:rPr>
                        <a:t>の開発・提供</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対象エリアの交通サービスを統合した</a:t>
                      </a:r>
                      <a:r>
                        <a:rPr kumimoji="1" lang="en-US" altLang="ja-JP" sz="1050" err="1">
                          <a:solidFill>
                            <a:srgbClr val="0070C0"/>
                          </a:solidFill>
                        </a:rPr>
                        <a:t>MaaS</a:t>
                      </a:r>
                      <a:r>
                        <a:rPr kumimoji="1" lang="ja-JP" altLang="en-US" sz="1050">
                          <a:solidFill>
                            <a:srgbClr val="0070C0"/>
                          </a:solidFill>
                        </a:rPr>
                        <a:t>アプリを開発し、一般ユーザーに提供する。</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596975374"/>
                  </a:ext>
                </a:extLst>
              </a:tr>
              <a:tr h="501929">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企画乗車券の造成・販売</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対象エリアの交通サービスをシームレスに統合した企画乗車券造成し、販売を行う（目標：〇種）。</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479908594"/>
                  </a:ext>
                </a:extLst>
              </a:tr>
              <a:tr h="588112">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エンドコンテンツと連携した企画乗車券の造成・販売</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〇〇施設や宿泊施設のクーポンをセットにした企画乗車券を造成・販売する（目標：〇種）。</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13378181"/>
                  </a:ext>
                </a:extLst>
              </a:tr>
              <a:tr h="1244317">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50">
                          <a:solidFill>
                            <a:srgbClr val="0070C0"/>
                          </a:solidFill>
                        </a:rPr>
                        <a:t>QR</a:t>
                      </a:r>
                      <a:r>
                        <a:rPr kumimoji="1" lang="ja-JP" altLang="en-US" sz="1050">
                          <a:solidFill>
                            <a:srgbClr val="0070C0"/>
                          </a:solidFill>
                        </a:rPr>
                        <a:t>チケッティングの開発・提供</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〇〇</a:t>
                      </a:r>
                      <a:r>
                        <a:rPr kumimoji="1" lang="en-US" altLang="ja-JP" sz="1050" err="1">
                          <a:solidFill>
                            <a:srgbClr val="0070C0"/>
                          </a:solidFill>
                        </a:rPr>
                        <a:t>MaaS</a:t>
                      </a:r>
                      <a:r>
                        <a:rPr kumimoji="1" lang="ja-JP" altLang="en-US" sz="1050">
                          <a:solidFill>
                            <a:srgbClr val="0070C0"/>
                          </a:solidFill>
                        </a:rPr>
                        <a:t>で販売するチケットの認証を</a:t>
                      </a:r>
                      <a:r>
                        <a:rPr kumimoji="1" lang="en-US" altLang="ja-JP" sz="1050">
                          <a:solidFill>
                            <a:srgbClr val="0070C0"/>
                          </a:solidFill>
                        </a:rPr>
                        <a:t>QR</a:t>
                      </a:r>
                      <a:r>
                        <a:rPr kumimoji="1" lang="ja-JP" altLang="en-US" sz="1050">
                          <a:solidFill>
                            <a:srgbClr val="0070C0"/>
                          </a:solidFill>
                        </a:rPr>
                        <a:t>により行う（全種）。対象エリアの全路線に及びオンデマンド交通に</a:t>
                      </a:r>
                      <a:r>
                        <a:rPr kumimoji="1" lang="en-US" altLang="ja-JP" sz="1050">
                          <a:solidFill>
                            <a:srgbClr val="0070C0"/>
                          </a:solidFill>
                        </a:rPr>
                        <a:t>QR</a:t>
                      </a:r>
                      <a:r>
                        <a:rPr kumimoji="1" lang="ja-JP" altLang="en-US" sz="1050">
                          <a:solidFill>
                            <a:srgbClr val="0070C0"/>
                          </a:solidFill>
                        </a:rPr>
                        <a:t>認証端末を設置する。</a:t>
                      </a:r>
                      <a:endParaRPr kumimoji="1" lang="en-US" altLang="ja-JP" sz="1050">
                        <a:solidFill>
                          <a:srgbClr val="0070C0"/>
                        </a:solidFill>
                      </a:endParaRPr>
                    </a:p>
                    <a:p>
                      <a:r>
                        <a:rPr kumimoji="1" lang="ja-JP" altLang="en-US" sz="1050">
                          <a:solidFill>
                            <a:srgbClr val="0070C0"/>
                          </a:solidFill>
                        </a:rPr>
                        <a:t>設置数は以下を想定。</a:t>
                      </a:r>
                      <a:endParaRPr kumimoji="1" lang="en-US" altLang="ja-JP" sz="1050">
                        <a:solidFill>
                          <a:srgbClr val="0070C0"/>
                        </a:solidFill>
                      </a:endParaRPr>
                    </a:p>
                    <a:p>
                      <a:r>
                        <a:rPr kumimoji="1" lang="ja-JP" altLang="en-US" sz="1050">
                          <a:solidFill>
                            <a:srgbClr val="0070C0"/>
                          </a:solidFill>
                        </a:rPr>
                        <a:t>〇〇交通（</a:t>
                      </a:r>
                      <a:r>
                        <a:rPr kumimoji="1" lang="en-US" altLang="ja-JP" sz="1050">
                          <a:solidFill>
                            <a:srgbClr val="0070C0"/>
                          </a:solidFill>
                        </a:rPr>
                        <a:t>XX</a:t>
                      </a:r>
                      <a:r>
                        <a:rPr kumimoji="1" lang="ja-JP" altLang="en-US" sz="1050">
                          <a:solidFill>
                            <a:srgbClr val="0070C0"/>
                          </a:solidFill>
                        </a:rPr>
                        <a:t>台）</a:t>
                      </a:r>
                      <a:endParaRPr kumimoji="1" lang="en-US" altLang="ja-JP" sz="1050">
                        <a:solidFill>
                          <a:srgbClr val="0070C0"/>
                        </a:solidFill>
                      </a:endParaRPr>
                    </a:p>
                    <a:p>
                      <a:r>
                        <a:rPr kumimoji="1" lang="ja-JP" altLang="en-US" sz="1050">
                          <a:solidFill>
                            <a:srgbClr val="0070C0"/>
                          </a:solidFill>
                        </a:rPr>
                        <a:t>△△バス（</a:t>
                      </a:r>
                      <a:r>
                        <a:rPr kumimoji="1" lang="en-US" altLang="ja-JP" sz="1050">
                          <a:solidFill>
                            <a:srgbClr val="0070C0"/>
                          </a:solidFill>
                        </a:rPr>
                        <a:t>YY</a:t>
                      </a:r>
                      <a:r>
                        <a:rPr kumimoji="1" lang="ja-JP" altLang="en-US" sz="1050">
                          <a:solidFill>
                            <a:srgbClr val="0070C0"/>
                          </a:solidFill>
                        </a:rPr>
                        <a:t>台）</a:t>
                      </a:r>
                      <a:endParaRPr kumimoji="1" lang="en-US" altLang="ja-JP" sz="1050">
                        <a:solidFill>
                          <a:srgbClr val="0070C0"/>
                        </a:solidFill>
                      </a:endParaRPr>
                    </a:p>
                    <a:p>
                      <a:r>
                        <a:rPr kumimoji="1" lang="ja-JP" altLang="en-US" sz="1050">
                          <a:solidFill>
                            <a:srgbClr val="0070C0"/>
                          </a:solidFill>
                        </a:rPr>
                        <a:t>□□号（オンデマンドバス）（</a:t>
                      </a:r>
                      <a:r>
                        <a:rPr kumimoji="1" lang="en-US" altLang="ja-JP" sz="1050">
                          <a:solidFill>
                            <a:srgbClr val="0070C0"/>
                          </a:solidFill>
                        </a:rPr>
                        <a:t>PP</a:t>
                      </a:r>
                      <a:r>
                        <a:rPr kumimoji="1" lang="ja-JP" altLang="en-US" sz="1050">
                          <a:solidFill>
                            <a:srgbClr val="0070C0"/>
                          </a:solidFill>
                        </a:rPr>
                        <a:t>台）</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4529771"/>
                  </a:ext>
                </a:extLst>
              </a:tr>
              <a:tr h="430141">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indent="0" algn="just">
                        <a:buFont typeface="Arial" panose="020B0604020202020204" pitchFamily="34" charset="0"/>
                        <a:buNone/>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171450" lvl="0" indent="-171450" algn="just">
                        <a:buFont typeface="Arial" panose="020B0604020202020204" pitchFamily="34" charset="0"/>
                        <a:buChar char="•"/>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146275505"/>
                  </a:ext>
                </a:extLst>
              </a:tr>
              <a:tr h="416061">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indent="0" algn="just">
                        <a:buFont typeface="Arial" panose="020B0604020202020204" pitchFamily="34" charset="0"/>
                        <a:buNone/>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171450" lvl="0" indent="-171450" algn="just">
                        <a:buFont typeface="Arial" panose="020B0604020202020204" pitchFamily="34" charset="0"/>
                        <a:buChar char="•"/>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301698"/>
                  </a:ext>
                </a:extLst>
              </a:tr>
              <a:tr h="501929">
                <a:tc>
                  <a:txBody>
                    <a:bodyPr/>
                    <a:lstStyle/>
                    <a:p>
                      <a:pPr marL="0" indent="0" algn="just">
                        <a:buFont typeface="Arial" panose="020B0604020202020204" pitchFamily="34" charset="0"/>
                        <a:buNone/>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ap="flat" cmpd="sng" algn="ctr">
                      <a:solidFill>
                        <a:srgbClr val="000000"/>
                      </a:solidFill>
                      <a:prstDash val="solid"/>
                      <a:round/>
                      <a:headEnd type="none" w="med" len="med"/>
                      <a:tailEnd type="none" w="med" len="med"/>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marL="171450" lvl="0" indent="-171450" algn="just">
                        <a:buFont typeface="Arial" panose="020B0604020202020204" pitchFamily="34" charset="0"/>
                        <a:buChar char="•"/>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ap="flat" cmpd="sng" algn="ctr">
                      <a:solidFill>
                        <a:srgbClr val="000000"/>
                      </a:solidFill>
                      <a:prstDash val="solid"/>
                      <a:round/>
                      <a:headEnd type="none" w="med" len="med"/>
                      <a:tailEnd type="none" w="med" len="med"/>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985992937"/>
                  </a:ext>
                </a:extLst>
              </a:tr>
            </a:tbl>
          </a:graphicData>
        </a:graphic>
      </p:graphicFrame>
      <p:graphicFrame>
        <p:nvGraphicFramePr>
          <p:cNvPr id="33" name="表 32">
            <a:extLst>
              <a:ext uri="{FF2B5EF4-FFF2-40B4-BE49-F238E27FC236}">
                <a16:creationId xmlns:a16="http://schemas.microsoft.com/office/drawing/2014/main" id="{579C0925-57A0-3030-666F-7E61FE13005C}"/>
              </a:ext>
            </a:extLst>
          </p:cNvPr>
          <p:cNvGraphicFramePr>
            <a:graphicFrameLocks noGrp="1"/>
          </p:cNvGraphicFramePr>
          <p:nvPr>
            <p:extLst>
              <p:ext uri="{D42A27DB-BD31-4B8C-83A1-F6EECF244321}">
                <p14:modId xmlns:p14="http://schemas.microsoft.com/office/powerpoint/2010/main" val="212512707"/>
              </p:ext>
            </p:extLst>
          </p:nvPr>
        </p:nvGraphicFramePr>
        <p:xfrm>
          <a:off x="6285177" y="2065032"/>
          <a:ext cx="5390886" cy="4435116"/>
        </p:xfrm>
        <a:graphic>
          <a:graphicData uri="http://schemas.openxmlformats.org/drawingml/2006/table">
            <a:tbl>
              <a:tblPr firstRow="1" firstCol="1" bandRow="1"/>
              <a:tblGrid>
                <a:gridCol w="1621993">
                  <a:extLst>
                    <a:ext uri="{9D8B030D-6E8A-4147-A177-3AD203B41FA5}">
                      <a16:colId xmlns:a16="http://schemas.microsoft.com/office/drawing/2014/main" val="3938936156"/>
                    </a:ext>
                  </a:extLst>
                </a:gridCol>
                <a:gridCol w="3768893">
                  <a:extLst>
                    <a:ext uri="{9D8B030D-6E8A-4147-A177-3AD203B41FA5}">
                      <a16:colId xmlns:a16="http://schemas.microsoft.com/office/drawing/2014/main" val="547714969"/>
                    </a:ext>
                  </a:extLst>
                </a:gridCol>
              </a:tblGrid>
              <a:tr h="343021">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algn="just"/>
                      <a:r>
                        <a:rPr lang="ja-JP" altLang="en-US" sz="1050" b="0" kern="100">
                          <a:solidFill>
                            <a:schemeClr val="tx1"/>
                          </a:solidFill>
                          <a:effectLst/>
                          <a:latin typeface="+mn-ea"/>
                          <a:ea typeface="+mn-ea"/>
                          <a:cs typeface="Meiryo UI" panose="020B0604030504040204" pitchFamily="50" charset="-128"/>
                        </a:rPr>
                        <a:t>開発機能</a:t>
                      </a:r>
                      <a:endParaRPr lang="ja-JP" altLang="ja-JP" sz="1050" b="0" kern="100">
                        <a:solidFill>
                          <a:schemeClr val="tx1"/>
                        </a:solidFill>
                        <a:effectLst/>
                        <a:latin typeface="+mn-ea"/>
                        <a:ea typeface="+mn-ea"/>
                        <a:cs typeface="Meiryo UI" panose="020B0604030504040204" pitchFamily="50" charset="-128"/>
                      </a:endParaRPr>
                    </a:p>
                  </a:txBody>
                  <a:tcPr marL="90000" marR="90000" marT="46800" marB="4680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75000"/>
                      </a:srgbClr>
                    </a:solid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algn="just"/>
                      <a:r>
                        <a:rPr lang="ja-JP" altLang="en-US" sz="1050" b="0" kern="100">
                          <a:solidFill>
                            <a:schemeClr val="tx1"/>
                          </a:solidFill>
                          <a:effectLst/>
                          <a:latin typeface="+mn-ea"/>
                          <a:ea typeface="+mn-ea"/>
                          <a:cs typeface="Meiryo UI" panose="020B0604030504040204" pitchFamily="50" charset="-128"/>
                        </a:rPr>
                        <a:t>概要</a:t>
                      </a:r>
                      <a:endParaRPr lang="ja-JP" sz="1050" b="0" kern="100">
                        <a:solidFill>
                          <a:schemeClr val="tx1"/>
                        </a:solidFill>
                        <a:effectLst/>
                        <a:latin typeface="+mn-ea"/>
                        <a:ea typeface="+mn-ea"/>
                        <a:cs typeface="Meiryo UI" panose="020B0604030504040204" pitchFamily="50" charset="-128"/>
                      </a:endParaRPr>
                    </a:p>
                  </a:txBody>
                  <a:tcPr marL="90000" marR="90000" marT="46800" marB="4680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1526276123"/>
                  </a:ext>
                </a:extLst>
              </a:tr>
              <a:tr h="445920">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経路検索機能</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地域内の全モードを対象とした経路検索機能を提供する。</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596975374"/>
                  </a:ext>
                </a:extLst>
              </a:tr>
              <a:tr h="526146">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企画乗車券の購入機能</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地域内で提供する企画乗車券を購入する機能。経路検索機能と連携し、経路検索結果から該当する企画乗車券の購入ページへ遷移できる。</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479908594"/>
                  </a:ext>
                </a:extLst>
              </a:tr>
              <a:tr h="601038">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決済機能（既存）</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企画乗車券を購入した際に、クレジットカードによる決済ができる機能。ユーザー登録及びクレジットカード登録は</a:t>
                      </a:r>
                      <a:r>
                        <a:rPr kumimoji="1" lang="en-US" altLang="ja-JP" sz="1050">
                          <a:solidFill>
                            <a:srgbClr val="0070C0"/>
                          </a:solidFill>
                        </a:rPr>
                        <a:t>SaaS</a:t>
                      </a:r>
                      <a:r>
                        <a:rPr kumimoji="1" lang="ja-JP" altLang="en-US" sz="1050">
                          <a:solidFill>
                            <a:srgbClr val="0070C0"/>
                          </a:solidFill>
                        </a:rPr>
                        <a:t>（</a:t>
                      </a:r>
                      <a:r>
                        <a:rPr kumimoji="1" lang="en-US" altLang="ja-JP" sz="1050">
                          <a:solidFill>
                            <a:srgbClr val="0070C0"/>
                          </a:solidFill>
                        </a:rPr>
                        <a:t>GMO</a:t>
                      </a:r>
                      <a:r>
                        <a:rPr kumimoji="1" lang="ja-JP" altLang="en-US" sz="1050">
                          <a:solidFill>
                            <a:srgbClr val="0070C0"/>
                          </a:solidFill>
                        </a:rPr>
                        <a:t>）を利用する。</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13378181"/>
                  </a:ext>
                </a:extLst>
              </a:tr>
              <a:tr h="845525">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en-US" altLang="ja-JP" sz="1050">
                          <a:solidFill>
                            <a:srgbClr val="0070C0"/>
                          </a:solidFill>
                        </a:rPr>
                        <a:t>AI</a:t>
                      </a:r>
                      <a:r>
                        <a:rPr kumimoji="1" lang="ja-JP" altLang="en-US" sz="1050">
                          <a:solidFill>
                            <a:srgbClr val="0070C0"/>
                          </a:solidFill>
                        </a:rPr>
                        <a:t>オンデマンド交通の予約機能</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en-US" altLang="ja-JP" sz="1050">
                          <a:solidFill>
                            <a:srgbClr val="0070C0"/>
                          </a:solidFill>
                        </a:rPr>
                        <a:t>AI</a:t>
                      </a:r>
                      <a:r>
                        <a:rPr kumimoji="1" lang="ja-JP" altLang="en-US" sz="1050">
                          <a:solidFill>
                            <a:srgbClr val="0070C0"/>
                          </a:solidFill>
                        </a:rPr>
                        <a:t>オンデマンド交通（〇〇バス）の送迎依頼を予約できる機能。経路検索機能と連携し、経路検索結果を引き継いだ乗降地点の指定が可能。決済機能と連携し、事前に決済可能。</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4529771"/>
                  </a:ext>
                </a:extLst>
              </a:tr>
              <a:tr h="526146">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チケッティング機能（目検）</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購入した企画乗車券の提示、認証、消込を行う機能。認証は目視確認で行い、交通事業者又はクーポン発行対象となる施設管理者が画面上の操作を行うことで消込む。</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146275505"/>
                  </a:ext>
                </a:extLst>
              </a:tr>
              <a:tr h="526146">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チケッティング機能（</a:t>
                      </a:r>
                      <a:r>
                        <a:rPr kumimoji="1" lang="en-US" altLang="ja-JP" sz="1050">
                          <a:solidFill>
                            <a:srgbClr val="0070C0"/>
                          </a:solidFill>
                        </a:rPr>
                        <a:t>QR</a:t>
                      </a:r>
                      <a:r>
                        <a:rPr kumimoji="1" lang="ja-JP" altLang="en-US" sz="1050">
                          <a:solidFill>
                            <a:srgbClr val="0070C0"/>
                          </a:solidFill>
                        </a:rPr>
                        <a:t>）</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購入した企画乗車券の提示、認証、消込を行う機能。認証は</a:t>
                      </a:r>
                      <a:r>
                        <a:rPr kumimoji="1" lang="en-US" altLang="ja-JP" sz="1050">
                          <a:solidFill>
                            <a:srgbClr val="0070C0"/>
                          </a:solidFill>
                        </a:rPr>
                        <a:t>QR</a:t>
                      </a:r>
                      <a:r>
                        <a:rPr kumimoji="1" lang="ja-JP" altLang="en-US" sz="1050">
                          <a:solidFill>
                            <a:srgbClr val="0070C0"/>
                          </a:solidFill>
                        </a:rPr>
                        <a:t>認証システムで行い、消込はシステム上自動で処理される。</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569301698"/>
                  </a:ext>
                </a:extLst>
              </a:tr>
              <a:tr h="526146">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シングルライド券の購入・認証</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lvl="0" indent="0" algn="just">
                        <a:buFont typeface="Arial" panose="020B0604020202020204" pitchFamily="34" charset="0"/>
                        <a:buNone/>
                      </a:pPr>
                      <a:endParaRPr lang="ja-JP" sz="1050" b="0" kern="100">
                        <a:solidFill>
                          <a:srgbClr val="0070C0"/>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113606418"/>
                  </a:ext>
                </a:extLst>
              </a:tr>
            </a:tbl>
          </a:graphicData>
        </a:graphic>
      </p:graphicFrame>
      <p:sp>
        <p:nvSpPr>
          <p:cNvPr id="3" name="テキスト ボックス 2">
            <a:extLst>
              <a:ext uri="{FF2B5EF4-FFF2-40B4-BE49-F238E27FC236}">
                <a16:creationId xmlns:a16="http://schemas.microsoft.com/office/drawing/2014/main" id="{F6033436-1A1C-DBF8-0910-95FF2B952759}"/>
              </a:ext>
            </a:extLst>
          </p:cNvPr>
          <p:cNvSpPr txBox="1"/>
          <p:nvPr/>
        </p:nvSpPr>
        <p:spPr>
          <a:xfrm>
            <a:off x="537268" y="4734968"/>
            <a:ext cx="5275836" cy="171897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事業内容についてスコープ毎に分けて記載をお願いいたします。</a:t>
            </a:r>
            <a:endParaRPr kumimoji="0" lang="en-US" altLang="ja-JP"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なお、企画乗車券の販売や</a:t>
            </a:r>
            <a:r>
              <a:rPr kumimoji="0" lang="en-US" altLang="ja-JP" sz="1400" b="0" i="0" u="none" strike="noStrike" kern="0" cap="none" spc="0" normalizeH="0" baseline="0" noProof="0" dirty="0">
                <a:ln>
                  <a:noFill/>
                </a:ln>
                <a:solidFill>
                  <a:srgbClr val="FFFFFF"/>
                </a:solidFill>
                <a:effectLst/>
                <a:uLnTx/>
                <a:uFillTx/>
              </a:rPr>
              <a:t>QR</a:t>
            </a:r>
            <a:r>
              <a:rPr kumimoji="0" lang="ja-JP" altLang="en-US" sz="1400" b="0" i="0" u="none" strike="noStrike" kern="0" cap="none" spc="0" normalizeH="0" baseline="0" noProof="0" dirty="0">
                <a:ln>
                  <a:noFill/>
                </a:ln>
                <a:solidFill>
                  <a:srgbClr val="FFFFFF"/>
                </a:solidFill>
                <a:effectLst/>
                <a:uLnTx/>
                <a:uFillTx/>
              </a:rPr>
              <a:t>端末の設置等、本プロジェクトで導入する数量が明記できるものに関しては、具体的な目標数量の記載をお願いいたします。</a:t>
            </a:r>
            <a:endParaRPr kumimoji="0" lang="en-US" altLang="ja-JP"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ページは適宜追加してください。</a:t>
            </a:r>
            <a:endParaRPr kumimoji="0" lang="en-US" altLang="ja-JP"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参考資料は適宜追加してください。</a:t>
            </a:r>
            <a:endParaRPr kumimoji="0" lang="en-US" altLang="ja-JP" sz="1400" b="0" i="0" u="none" strike="noStrike" kern="0" cap="none" spc="0" normalizeH="0" baseline="0" noProof="0" dirty="0">
              <a:ln>
                <a:noFill/>
              </a:ln>
              <a:solidFill>
                <a:srgbClr val="FFFFFF"/>
              </a:solidFill>
              <a:effectLst/>
              <a:uLnTx/>
              <a:uFillTx/>
            </a:endParaRPr>
          </a:p>
        </p:txBody>
      </p:sp>
      <p:sp>
        <p:nvSpPr>
          <p:cNvPr id="4" name="テキスト ボックス 3">
            <a:extLst>
              <a:ext uri="{FF2B5EF4-FFF2-40B4-BE49-F238E27FC236}">
                <a16:creationId xmlns:a16="http://schemas.microsoft.com/office/drawing/2014/main" id="{2691A2D0-EAF8-CAF1-C79E-56B5117658DB}"/>
              </a:ext>
            </a:extLst>
          </p:cNvPr>
          <p:cNvSpPr txBox="1"/>
          <p:nvPr/>
        </p:nvSpPr>
        <p:spPr>
          <a:xfrm>
            <a:off x="6342702" y="4734969"/>
            <a:ext cx="5275836" cy="171897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左記スコープに対し、本プロジェクトで開発する機能を記載ください。なお、既存システムやサービスを利用する場合も記載し、既存機能であることを明記してください。</a:t>
            </a:r>
            <a:endParaRPr kumimoji="0" lang="en-US" altLang="ja-JP"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システム開発又はシステム利用を伴わないスコープの場合、記載は不要です。</a:t>
            </a:r>
            <a:endParaRPr kumimoji="0" lang="en-US" altLang="ja-JP"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ページは適宜追加してください。</a:t>
            </a:r>
            <a:endParaRPr kumimoji="0" lang="en-US" altLang="ja-JP"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参考資料は適宜追加してください。</a:t>
            </a:r>
            <a:endParaRPr kumimoji="0" lang="en-US" altLang="ja-JP" sz="14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24332511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３</a:t>
            </a:r>
            <a:r>
              <a:rPr lang="en-US" altLang="ja-JP"/>
              <a:t>.</a:t>
            </a:r>
            <a:r>
              <a:rPr lang="ja-JP" altLang="en-US"/>
              <a:t>スコープ詳細</a:t>
            </a:r>
          </a:p>
        </p:txBody>
      </p:sp>
      <p:sp>
        <p:nvSpPr>
          <p:cNvPr id="11" name="テキスト プレースホルダー 10">
            <a:extLst>
              <a:ext uri="{FF2B5EF4-FFF2-40B4-BE49-F238E27FC236}">
                <a16:creationId xmlns:a16="http://schemas.microsoft.com/office/drawing/2014/main" id="{962E5203-2DFF-C1A0-2F9F-F26700D05F5E}"/>
              </a:ext>
            </a:extLst>
          </p:cNvPr>
          <p:cNvSpPr txBox="1">
            <a:spLocks noGrp="1"/>
          </p:cNvSpPr>
          <p:nvPr>
            <p:ph type="body" sz="quarter" idx="4294967295"/>
          </p:nvPr>
        </p:nvSpPr>
        <p:spPr>
          <a:xfrm>
            <a:off x="300038" y="1135063"/>
            <a:ext cx="11376025"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lang="ja-JP" altLang="en-US" sz="1800" dirty="0">
                <a:solidFill>
                  <a:srgbClr val="0070C0"/>
                </a:solidFill>
                <a:latin typeface="BIZ UDPゴシック"/>
                <a:ea typeface="BIZ UDPゴシック"/>
              </a:rPr>
              <a:t>②デジタルパスの販売</a:t>
            </a:r>
            <a:endParaRPr kumimoji="1" lang="en-US" altLang="ja-JP" sz="1800" b="0" i="0" u="none" strike="noStrike" kern="1200" cap="none" spc="0" normalizeH="0" baseline="0" noProof="0" dirty="0">
              <a:ln>
                <a:noFill/>
              </a:ln>
              <a:solidFill>
                <a:srgbClr val="0070C0"/>
              </a:solidFill>
              <a:effectLst/>
              <a:uLnTx/>
              <a:uFillTx/>
              <a:latin typeface="BIZ UDPゴシック"/>
              <a:ea typeface="BIZ UDPゴシック"/>
              <a:cs typeface="+mn-cs"/>
            </a:endParaRPr>
          </a:p>
        </p:txBody>
      </p:sp>
      <p:sp>
        <p:nvSpPr>
          <p:cNvPr id="26" name="テキスト ボックス 25">
            <a:extLst>
              <a:ext uri="{FF2B5EF4-FFF2-40B4-BE49-F238E27FC236}">
                <a16:creationId xmlns:a16="http://schemas.microsoft.com/office/drawing/2014/main" id="{E79CF6B0-5AD5-B0A6-5A82-B2F5A3B16A53}"/>
              </a:ext>
            </a:extLst>
          </p:cNvPr>
          <p:cNvSpPr txBox="1"/>
          <p:nvPr/>
        </p:nvSpPr>
        <p:spPr>
          <a:xfrm>
            <a:off x="453017" y="1490744"/>
            <a:ext cx="11313782" cy="710832"/>
          </a:xfrm>
          <a:prstGeom prst="rect">
            <a:avLst/>
          </a:prstGeom>
          <a:noFill/>
        </p:spPr>
        <p:txBody>
          <a:bodyPr wrap="square" anchor="t">
            <a:noAutofit/>
          </a:bodyPr>
          <a:lstStyle/>
          <a:p>
            <a:pPr marR="0" lvl="0" algn="l" defTabSz="914400" rtl="0" eaLnBrk="1" fontAlgn="auto" latinLnBrk="0" hangingPunct="1">
              <a:lnSpc>
                <a:spcPct val="100000"/>
              </a:lnSpc>
              <a:spcBef>
                <a:spcPts val="300"/>
              </a:spcBef>
              <a:spcAft>
                <a:spcPts val="0"/>
              </a:spcAft>
              <a:buClrTx/>
              <a:buSzTx/>
              <a:tabLst/>
              <a:defRPr/>
            </a:pPr>
            <a:r>
              <a:rPr lang="ja-JP" altLang="en-US" sz="1400">
                <a:solidFill>
                  <a:srgbClr val="0070C0"/>
                </a:solidFill>
                <a:latin typeface="BIZ UDPゴシック"/>
                <a:ea typeface="BIZ UDPゴシック"/>
              </a:rPr>
              <a:t>①で開発したアプリにおいて、エリア内の交通のフリー乗車券と商業施設のクーポンをセットにし他デジタルパスの販売を実施。</a:t>
            </a:r>
            <a:endParaRPr lang="en-US" altLang="ja-JP" sz="1400">
              <a:solidFill>
                <a:srgbClr val="0070C0"/>
              </a:solidFill>
              <a:latin typeface="BIZ UDPゴシック"/>
              <a:ea typeface="BIZ UDPゴシック"/>
            </a:endParaRPr>
          </a:p>
        </p:txBody>
      </p:sp>
      <p:graphicFrame>
        <p:nvGraphicFramePr>
          <p:cNvPr id="32" name="表 31">
            <a:extLst>
              <a:ext uri="{FF2B5EF4-FFF2-40B4-BE49-F238E27FC236}">
                <a16:creationId xmlns:a16="http://schemas.microsoft.com/office/drawing/2014/main" id="{3B80BC24-01AA-213D-76FD-38F653AD9B7C}"/>
              </a:ext>
            </a:extLst>
          </p:cNvPr>
          <p:cNvGraphicFramePr>
            <a:graphicFrameLocks noGrp="1"/>
          </p:cNvGraphicFramePr>
          <p:nvPr>
            <p:extLst>
              <p:ext uri="{D42A27DB-BD31-4B8C-83A1-F6EECF244321}">
                <p14:modId xmlns:p14="http://schemas.microsoft.com/office/powerpoint/2010/main" val="998204283"/>
              </p:ext>
            </p:extLst>
          </p:nvPr>
        </p:nvGraphicFramePr>
        <p:xfrm>
          <a:off x="537268" y="2065032"/>
          <a:ext cx="5390886" cy="4435116"/>
        </p:xfrm>
        <a:graphic>
          <a:graphicData uri="http://schemas.openxmlformats.org/drawingml/2006/table">
            <a:tbl>
              <a:tblPr firstRow="1" firstCol="1" bandRow="1"/>
              <a:tblGrid>
                <a:gridCol w="1621993">
                  <a:extLst>
                    <a:ext uri="{9D8B030D-6E8A-4147-A177-3AD203B41FA5}">
                      <a16:colId xmlns:a16="http://schemas.microsoft.com/office/drawing/2014/main" val="3938936156"/>
                    </a:ext>
                  </a:extLst>
                </a:gridCol>
                <a:gridCol w="3768893">
                  <a:extLst>
                    <a:ext uri="{9D8B030D-6E8A-4147-A177-3AD203B41FA5}">
                      <a16:colId xmlns:a16="http://schemas.microsoft.com/office/drawing/2014/main" val="547714969"/>
                    </a:ext>
                  </a:extLst>
                </a:gridCol>
              </a:tblGrid>
              <a:tr h="327232">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algn="just"/>
                      <a:r>
                        <a:rPr lang="ja-JP" altLang="en-US" sz="1050" b="0" kern="100">
                          <a:solidFill>
                            <a:schemeClr val="tx1"/>
                          </a:solidFill>
                          <a:effectLst/>
                          <a:latin typeface="+mn-ea"/>
                          <a:ea typeface="+mn-ea"/>
                          <a:cs typeface="Meiryo UI" panose="020B0604030504040204" pitchFamily="50" charset="-128"/>
                        </a:rPr>
                        <a:t>スコープ</a:t>
                      </a:r>
                      <a:endParaRPr lang="ja-JP" altLang="ja-JP" sz="1050" b="0" kern="100">
                        <a:solidFill>
                          <a:schemeClr val="tx1"/>
                        </a:solidFill>
                        <a:effectLst/>
                        <a:latin typeface="+mn-ea"/>
                        <a:ea typeface="+mn-ea"/>
                        <a:cs typeface="Meiryo UI" panose="020B0604030504040204" pitchFamily="50" charset="-128"/>
                      </a:endParaRPr>
                    </a:p>
                  </a:txBody>
                  <a:tcPr marL="90000" marR="90000" marT="46800" marB="4680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75000"/>
                      </a:srgbClr>
                    </a:solid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algn="just"/>
                      <a:r>
                        <a:rPr lang="ja-JP" altLang="en-US" sz="1050" b="0" kern="100">
                          <a:solidFill>
                            <a:schemeClr val="tx1"/>
                          </a:solidFill>
                          <a:effectLst/>
                          <a:latin typeface="+mn-ea"/>
                          <a:ea typeface="+mn-ea"/>
                          <a:cs typeface="Meiryo UI" panose="020B0604030504040204" pitchFamily="50" charset="-128"/>
                        </a:rPr>
                        <a:t>概要</a:t>
                      </a:r>
                      <a:endParaRPr lang="ja-JP" sz="1050" b="0" kern="100">
                        <a:solidFill>
                          <a:schemeClr val="tx1"/>
                        </a:solidFill>
                        <a:effectLst/>
                        <a:latin typeface="+mn-ea"/>
                        <a:ea typeface="+mn-ea"/>
                        <a:cs typeface="Meiryo UI" panose="020B0604030504040204" pitchFamily="50" charset="-128"/>
                      </a:endParaRPr>
                    </a:p>
                  </a:txBody>
                  <a:tcPr marL="90000" marR="90000" marT="46800" marB="4680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1526276123"/>
                  </a:ext>
                </a:extLst>
              </a:tr>
              <a:tr h="425395">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〇〇</a:t>
                      </a:r>
                      <a:r>
                        <a:rPr kumimoji="1" lang="en-US" altLang="ja-JP" sz="1050">
                          <a:solidFill>
                            <a:srgbClr val="0070C0"/>
                          </a:solidFill>
                        </a:rPr>
                        <a:t>MaaS</a:t>
                      </a:r>
                      <a:r>
                        <a:rPr kumimoji="1" lang="ja-JP" altLang="en-US" sz="1050">
                          <a:solidFill>
                            <a:srgbClr val="0070C0"/>
                          </a:solidFill>
                        </a:rPr>
                        <a:t>の開発・提供</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対象エリアの交通サービスを統合した</a:t>
                      </a:r>
                      <a:r>
                        <a:rPr kumimoji="1" lang="en-US" altLang="ja-JP" sz="1050" err="1">
                          <a:solidFill>
                            <a:srgbClr val="0070C0"/>
                          </a:solidFill>
                        </a:rPr>
                        <a:t>MaaS</a:t>
                      </a:r>
                      <a:r>
                        <a:rPr kumimoji="1" lang="ja-JP" altLang="en-US" sz="1050">
                          <a:solidFill>
                            <a:srgbClr val="0070C0"/>
                          </a:solidFill>
                        </a:rPr>
                        <a:t>アプリを開発し、一般ユーザーに提供する。</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596975374"/>
                  </a:ext>
                </a:extLst>
              </a:tr>
              <a:tr h="501929">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企画乗車券の造成・販売</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対象エリアの交通サービスをシームレスに統合した企画乗車券造成し、販売を行う（目標：〇種）。</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479908594"/>
                  </a:ext>
                </a:extLst>
              </a:tr>
              <a:tr h="588112">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エンドコンテンツと連携した企画乗車券の造成・販売</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〇〇施設や宿泊施設のクーポンをセットにした企画乗車券を造成・販売する（目標：〇種）。</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13378181"/>
                  </a:ext>
                </a:extLst>
              </a:tr>
              <a:tr h="1244317">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50">
                          <a:solidFill>
                            <a:srgbClr val="0070C0"/>
                          </a:solidFill>
                        </a:rPr>
                        <a:t>QR</a:t>
                      </a:r>
                      <a:r>
                        <a:rPr kumimoji="1" lang="ja-JP" altLang="en-US" sz="1050">
                          <a:solidFill>
                            <a:srgbClr val="0070C0"/>
                          </a:solidFill>
                        </a:rPr>
                        <a:t>チケッティングの開発・提供</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〇〇</a:t>
                      </a:r>
                      <a:r>
                        <a:rPr kumimoji="1" lang="en-US" altLang="ja-JP" sz="1050" err="1">
                          <a:solidFill>
                            <a:srgbClr val="0070C0"/>
                          </a:solidFill>
                        </a:rPr>
                        <a:t>MaaS</a:t>
                      </a:r>
                      <a:r>
                        <a:rPr kumimoji="1" lang="ja-JP" altLang="en-US" sz="1050">
                          <a:solidFill>
                            <a:srgbClr val="0070C0"/>
                          </a:solidFill>
                        </a:rPr>
                        <a:t>で販売するチケットの認証を</a:t>
                      </a:r>
                      <a:r>
                        <a:rPr kumimoji="1" lang="en-US" altLang="ja-JP" sz="1050">
                          <a:solidFill>
                            <a:srgbClr val="0070C0"/>
                          </a:solidFill>
                        </a:rPr>
                        <a:t>QR</a:t>
                      </a:r>
                      <a:r>
                        <a:rPr kumimoji="1" lang="ja-JP" altLang="en-US" sz="1050">
                          <a:solidFill>
                            <a:srgbClr val="0070C0"/>
                          </a:solidFill>
                        </a:rPr>
                        <a:t>により行う（全種）。対象エリアの全路線に及びオンデマンド交通に</a:t>
                      </a:r>
                      <a:r>
                        <a:rPr kumimoji="1" lang="en-US" altLang="ja-JP" sz="1050">
                          <a:solidFill>
                            <a:srgbClr val="0070C0"/>
                          </a:solidFill>
                        </a:rPr>
                        <a:t>QR</a:t>
                      </a:r>
                      <a:r>
                        <a:rPr kumimoji="1" lang="ja-JP" altLang="en-US" sz="1050">
                          <a:solidFill>
                            <a:srgbClr val="0070C0"/>
                          </a:solidFill>
                        </a:rPr>
                        <a:t>認証端末を設置する。</a:t>
                      </a:r>
                      <a:endParaRPr kumimoji="1" lang="en-US" altLang="ja-JP" sz="1050">
                        <a:solidFill>
                          <a:srgbClr val="0070C0"/>
                        </a:solidFill>
                      </a:endParaRPr>
                    </a:p>
                    <a:p>
                      <a:r>
                        <a:rPr kumimoji="1" lang="ja-JP" altLang="en-US" sz="1050">
                          <a:solidFill>
                            <a:srgbClr val="0070C0"/>
                          </a:solidFill>
                        </a:rPr>
                        <a:t>設置数は以下を想定。</a:t>
                      </a:r>
                      <a:endParaRPr kumimoji="1" lang="en-US" altLang="ja-JP" sz="1050">
                        <a:solidFill>
                          <a:srgbClr val="0070C0"/>
                        </a:solidFill>
                      </a:endParaRPr>
                    </a:p>
                    <a:p>
                      <a:r>
                        <a:rPr kumimoji="1" lang="ja-JP" altLang="en-US" sz="1050">
                          <a:solidFill>
                            <a:srgbClr val="0070C0"/>
                          </a:solidFill>
                        </a:rPr>
                        <a:t>〇〇交通（</a:t>
                      </a:r>
                      <a:r>
                        <a:rPr kumimoji="1" lang="en-US" altLang="ja-JP" sz="1050">
                          <a:solidFill>
                            <a:srgbClr val="0070C0"/>
                          </a:solidFill>
                        </a:rPr>
                        <a:t>XX</a:t>
                      </a:r>
                      <a:r>
                        <a:rPr kumimoji="1" lang="ja-JP" altLang="en-US" sz="1050">
                          <a:solidFill>
                            <a:srgbClr val="0070C0"/>
                          </a:solidFill>
                        </a:rPr>
                        <a:t>台）</a:t>
                      </a:r>
                      <a:endParaRPr kumimoji="1" lang="en-US" altLang="ja-JP" sz="1050">
                        <a:solidFill>
                          <a:srgbClr val="0070C0"/>
                        </a:solidFill>
                      </a:endParaRPr>
                    </a:p>
                    <a:p>
                      <a:r>
                        <a:rPr kumimoji="1" lang="ja-JP" altLang="en-US" sz="1050">
                          <a:solidFill>
                            <a:srgbClr val="0070C0"/>
                          </a:solidFill>
                        </a:rPr>
                        <a:t>△△バス（</a:t>
                      </a:r>
                      <a:r>
                        <a:rPr kumimoji="1" lang="en-US" altLang="ja-JP" sz="1050">
                          <a:solidFill>
                            <a:srgbClr val="0070C0"/>
                          </a:solidFill>
                        </a:rPr>
                        <a:t>YY</a:t>
                      </a:r>
                      <a:r>
                        <a:rPr kumimoji="1" lang="ja-JP" altLang="en-US" sz="1050">
                          <a:solidFill>
                            <a:srgbClr val="0070C0"/>
                          </a:solidFill>
                        </a:rPr>
                        <a:t>台）</a:t>
                      </a:r>
                      <a:endParaRPr kumimoji="1" lang="en-US" altLang="ja-JP" sz="1050">
                        <a:solidFill>
                          <a:srgbClr val="0070C0"/>
                        </a:solidFill>
                      </a:endParaRPr>
                    </a:p>
                    <a:p>
                      <a:r>
                        <a:rPr kumimoji="1" lang="ja-JP" altLang="en-US" sz="1050">
                          <a:solidFill>
                            <a:srgbClr val="0070C0"/>
                          </a:solidFill>
                        </a:rPr>
                        <a:t>□□号（オンデマンドバス）（</a:t>
                      </a:r>
                      <a:r>
                        <a:rPr kumimoji="1" lang="en-US" altLang="ja-JP" sz="1050">
                          <a:solidFill>
                            <a:srgbClr val="0070C0"/>
                          </a:solidFill>
                        </a:rPr>
                        <a:t>PP</a:t>
                      </a:r>
                      <a:r>
                        <a:rPr kumimoji="1" lang="ja-JP" altLang="en-US" sz="1050">
                          <a:solidFill>
                            <a:srgbClr val="0070C0"/>
                          </a:solidFill>
                        </a:rPr>
                        <a:t>台）</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4529771"/>
                  </a:ext>
                </a:extLst>
              </a:tr>
              <a:tr h="430141">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indent="0" algn="just">
                        <a:buFont typeface="Arial" panose="020B0604020202020204" pitchFamily="34" charset="0"/>
                        <a:buNone/>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171450" lvl="0" indent="-171450" algn="just">
                        <a:buFont typeface="Arial" panose="020B0604020202020204" pitchFamily="34" charset="0"/>
                        <a:buChar char="•"/>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146275505"/>
                  </a:ext>
                </a:extLst>
              </a:tr>
              <a:tr h="416061">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indent="0" algn="just">
                        <a:buFont typeface="Arial" panose="020B0604020202020204" pitchFamily="34" charset="0"/>
                        <a:buNone/>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171450" lvl="0" indent="-171450" algn="just">
                        <a:buFont typeface="Arial" panose="020B0604020202020204" pitchFamily="34" charset="0"/>
                        <a:buChar char="•"/>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301698"/>
                  </a:ext>
                </a:extLst>
              </a:tr>
              <a:tr h="501929">
                <a:tc>
                  <a:txBody>
                    <a:bodyPr/>
                    <a:lstStyle/>
                    <a:p>
                      <a:pPr marL="0" indent="0" algn="just">
                        <a:buFont typeface="Arial" panose="020B0604020202020204" pitchFamily="34" charset="0"/>
                        <a:buNone/>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ap="flat" cmpd="sng" algn="ctr">
                      <a:solidFill>
                        <a:srgbClr val="000000"/>
                      </a:solidFill>
                      <a:prstDash val="solid"/>
                      <a:round/>
                      <a:headEnd type="none" w="med" len="med"/>
                      <a:tailEnd type="none" w="med" len="med"/>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marL="171450" lvl="0" indent="-171450" algn="just">
                        <a:buFont typeface="Arial" panose="020B0604020202020204" pitchFamily="34" charset="0"/>
                        <a:buChar char="•"/>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ap="flat" cmpd="sng" algn="ctr">
                      <a:solidFill>
                        <a:srgbClr val="000000"/>
                      </a:solidFill>
                      <a:prstDash val="solid"/>
                      <a:round/>
                      <a:headEnd type="none" w="med" len="med"/>
                      <a:tailEnd type="none" w="med" len="med"/>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985992937"/>
                  </a:ext>
                </a:extLst>
              </a:tr>
            </a:tbl>
          </a:graphicData>
        </a:graphic>
      </p:graphicFrame>
      <p:graphicFrame>
        <p:nvGraphicFramePr>
          <p:cNvPr id="33" name="表 32">
            <a:extLst>
              <a:ext uri="{FF2B5EF4-FFF2-40B4-BE49-F238E27FC236}">
                <a16:creationId xmlns:a16="http://schemas.microsoft.com/office/drawing/2014/main" id="{579C0925-57A0-3030-666F-7E61FE13005C}"/>
              </a:ext>
            </a:extLst>
          </p:cNvPr>
          <p:cNvGraphicFramePr>
            <a:graphicFrameLocks noGrp="1"/>
          </p:cNvGraphicFramePr>
          <p:nvPr/>
        </p:nvGraphicFramePr>
        <p:xfrm>
          <a:off x="6285177" y="2065032"/>
          <a:ext cx="5390886" cy="4435116"/>
        </p:xfrm>
        <a:graphic>
          <a:graphicData uri="http://schemas.openxmlformats.org/drawingml/2006/table">
            <a:tbl>
              <a:tblPr firstRow="1" firstCol="1" bandRow="1"/>
              <a:tblGrid>
                <a:gridCol w="1621993">
                  <a:extLst>
                    <a:ext uri="{9D8B030D-6E8A-4147-A177-3AD203B41FA5}">
                      <a16:colId xmlns:a16="http://schemas.microsoft.com/office/drawing/2014/main" val="3938936156"/>
                    </a:ext>
                  </a:extLst>
                </a:gridCol>
                <a:gridCol w="3768893">
                  <a:extLst>
                    <a:ext uri="{9D8B030D-6E8A-4147-A177-3AD203B41FA5}">
                      <a16:colId xmlns:a16="http://schemas.microsoft.com/office/drawing/2014/main" val="547714969"/>
                    </a:ext>
                  </a:extLst>
                </a:gridCol>
              </a:tblGrid>
              <a:tr h="343021">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algn="just"/>
                      <a:r>
                        <a:rPr lang="ja-JP" altLang="en-US" sz="1050" b="0" kern="100">
                          <a:solidFill>
                            <a:schemeClr val="tx1"/>
                          </a:solidFill>
                          <a:effectLst/>
                          <a:latin typeface="+mn-ea"/>
                          <a:ea typeface="+mn-ea"/>
                          <a:cs typeface="Meiryo UI" panose="020B0604030504040204" pitchFamily="50" charset="-128"/>
                        </a:rPr>
                        <a:t>開発機能</a:t>
                      </a:r>
                      <a:endParaRPr lang="ja-JP" altLang="ja-JP" sz="1050" b="0" kern="100">
                        <a:solidFill>
                          <a:schemeClr val="tx1"/>
                        </a:solidFill>
                        <a:effectLst/>
                        <a:latin typeface="+mn-ea"/>
                        <a:ea typeface="+mn-ea"/>
                        <a:cs typeface="Meiryo UI" panose="020B0604030504040204" pitchFamily="50" charset="-128"/>
                      </a:endParaRPr>
                    </a:p>
                  </a:txBody>
                  <a:tcPr marL="90000" marR="90000" marT="46800" marB="4680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75000"/>
                      </a:srgbClr>
                    </a:solid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algn="just"/>
                      <a:r>
                        <a:rPr lang="ja-JP" altLang="en-US" sz="1050" b="0" kern="100">
                          <a:solidFill>
                            <a:schemeClr val="tx1"/>
                          </a:solidFill>
                          <a:effectLst/>
                          <a:latin typeface="+mn-ea"/>
                          <a:ea typeface="+mn-ea"/>
                          <a:cs typeface="Meiryo UI" panose="020B0604030504040204" pitchFamily="50" charset="-128"/>
                        </a:rPr>
                        <a:t>概要</a:t>
                      </a:r>
                      <a:endParaRPr lang="ja-JP" sz="1050" b="0" kern="100">
                        <a:solidFill>
                          <a:schemeClr val="tx1"/>
                        </a:solidFill>
                        <a:effectLst/>
                        <a:latin typeface="+mn-ea"/>
                        <a:ea typeface="+mn-ea"/>
                        <a:cs typeface="Meiryo UI" panose="020B0604030504040204" pitchFamily="50" charset="-128"/>
                      </a:endParaRPr>
                    </a:p>
                  </a:txBody>
                  <a:tcPr marL="90000" marR="90000" marT="46800" marB="4680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1526276123"/>
                  </a:ext>
                </a:extLst>
              </a:tr>
              <a:tr h="445920">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経路検索機能</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地域内の全モードを対象とした経路検索機能を提供する。</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596975374"/>
                  </a:ext>
                </a:extLst>
              </a:tr>
              <a:tr h="526146">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企画乗車券の購入機能</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地域内で提供する企画乗車券を購入する機能。経路検索機能と連携し、経路検索結果から該当する企画乗車券の購入ページへ遷移できる。</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479908594"/>
                  </a:ext>
                </a:extLst>
              </a:tr>
              <a:tr h="601038">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決済機能（既存）</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企画乗車券を購入した際に、クレジットカードによる決済ができる機能。ユーザー登録及びクレジットカード登録は</a:t>
                      </a:r>
                      <a:r>
                        <a:rPr kumimoji="1" lang="en-US" altLang="ja-JP" sz="1050">
                          <a:solidFill>
                            <a:srgbClr val="0070C0"/>
                          </a:solidFill>
                        </a:rPr>
                        <a:t>SaaS</a:t>
                      </a:r>
                      <a:r>
                        <a:rPr kumimoji="1" lang="ja-JP" altLang="en-US" sz="1050">
                          <a:solidFill>
                            <a:srgbClr val="0070C0"/>
                          </a:solidFill>
                        </a:rPr>
                        <a:t>（</a:t>
                      </a:r>
                      <a:r>
                        <a:rPr kumimoji="1" lang="en-US" altLang="ja-JP" sz="1050">
                          <a:solidFill>
                            <a:srgbClr val="0070C0"/>
                          </a:solidFill>
                        </a:rPr>
                        <a:t>GMO</a:t>
                      </a:r>
                      <a:r>
                        <a:rPr kumimoji="1" lang="ja-JP" altLang="en-US" sz="1050">
                          <a:solidFill>
                            <a:srgbClr val="0070C0"/>
                          </a:solidFill>
                        </a:rPr>
                        <a:t>）を利用する。</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13378181"/>
                  </a:ext>
                </a:extLst>
              </a:tr>
              <a:tr h="845525">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en-US" altLang="ja-JP" sz="1050">
                          <a:solidFill>
                            <a:srgbClr val="0070C0"/>
                          </a:solidFill>
                        </a:rPr>
                        <a:t>AI</a:t>
                      </a:r>
                      <a:r>
                        <a:rPr kumimoji="1" lang="ja-JP" altLang="en-US" sz="1050">
                          <a:solidFill>
                            <a:srgbClr val="0070C0"/>
                          </a:solidFill>
                        </a:rPr>
                        <a:t>オンデマンド交通の予約機能</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en-US" altLang="ja-JP" sz="1050">
                          <a:solidFill>
                            <a:srgbClr val="0070C0"/>
                          </a:solidFill>
                        </a:rPr>
                        <a:t>AI</a:t>
                      </a:r>
                      <a:r>
                        <a:rPr kumimoji="1" lang="ja-JP" altLang="en-US" sz="1050">
                          <a:solidFill>
                            <a:srgbClr val="0070C0"/>
                          </a:solidFill>
                        </a:rPr>
                        <a:t>オンデマンド交通（〇〇バス）の送迎依頼を予約できる機能。経路検索機能と連携し、経路検索結果を引き継いだ乗降地点の指定が可能。決済機能と連携し、事前に決済可能。</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4529771"/>
                  </a:ext>
                </a:extLst>
              </a:tr>
              <a:tr h="526146">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チケッティング機能（目検）</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購入した企画乗車券の提示、認証、消込を行う機能。認証は目視確認で行い、交通事業者又はクーポン発行対象となる施設管理者が画面上の操作を行うことで消込む。</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146275505"/>
                  </a:ext>
                </a:extLst>
              </a:tr>
              <a:tr h="526146">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チケッティング機能（</a:t>
                      </a:r>
                      <a:r>
                        <a:rPr kumimoji="1" lang="en-US" altLang="ja-JP" sz="1050">
                          <a:solidFill>
                            <a:srgbClr val="0070C0"/>
                          </a:solidFill>
                        </a:rPr>
                        <a:t>QR</a:t>
                      </a:r>
                      <a:r>
                        <a:rPr kumimoji="1" lang="ja-JP" altLang="en-US" sz="1050">
                          <a:solidFill>
                            <a:srgbClr val="0070C0"/>
                          </a:solidFill>
                        </a:rPr>
                        <a:t>）</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購入した企画乗車券の提示、認証、消込を行う機能。認証は</a:t>
                      </a:r>
                      <a:r>
                        <a:rPr kumimoji="1" lang="en-US" altLang="ja-JP" sz="1050">
                          <a:solidFill>
                            <a:srgbClr val="0070C0"/>
                          </a:solidFill>
                        </a:rPr>
                        <a:t>QR</a:t>
                      </a:r>
                      <a:r>
                        <a:rPr kumimoji="1" lang="ja-JP" altLang="en-US" sz="1050">
                          <a:solidFill>
                            <a:srgbClr val="0070C0"/>
                          </a:solidFill>
                        </a:rPr>
                        <a:t>認証システムで行い、消込はシステム上自動で処理される。</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569301698"/>
                  </a:ext>
                </a:extLst>
              </a:tr>
              <a:tr h="526146">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シングルライド券の購入・認証</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lvl="0" indent="0" algn="just">
                        <a:buFont typeface="Arial" panose="020B0604020202020204" pitchFamily="34" charset="0"/>
                        <a:buNone/>
                      </a:pPr>
                      <a:endParaRPr lang="ja-JP" sz="1050" b="0" kern="100">
                        <a:solidFill>
                          <a:srgbClr val="0070C0"/>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113606418"/>
                  </a:ext>
                </a:extLst>
              </a:tr>
            </a:tbl>
          </a:graphicData>
        </a:graphic>
      </p:graphicFrame>
      <p:sp>
        <p:nvSpPr>
          <p:cNvPr id="3" name="テキスト ボックス 2">
            <a:extLst>
              <a:ext uri="{FF2B5EF4-FFF2-40B4-BE49-F238E27FC236}">
                <a16:creationId xmlns:a16="http://schemas.microsoft.com/office/drawing/2014/main" id="{9D14AEDA-AD98-3C0D-2CFE-0ED85791A5AA}"/>
              </a:ext>
            </a:extLst>
          </p:cNvPr>
          <p:cNvSpPr txBox="1"/>
          <p:nvPr/>
        </p:nvSpPr>
        <p:spPr>
          <a:xfrm>
            <a:off x="537268" y="4734968"/>
            <a:ext cx="5275836" cy="171897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事業内容についてスコープ毎に分けて記載をお願いいたします。</a:t>
            </a:r>
            <a:endParaRPr kumimoji="0" lang="en-US" altLang="ja-JP"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なお、企画乗車券の販売や</a:t>
            </a:r>
            <a:r>
              <a:rPr kumimoji="0" lang="en-US" altLang="ja-JP" sz="1400" b="0" i="0" u="none" strike="noStrike" kern="0" cap="none" spc="0" normalizeH="0" baseline="0" noProof="0" dirty="0">
                <a:ln>
                  <a:noFill/>
                </a:ln>
                <a:solidFill>
                  <a:srgbClr val="FFFFFF"/>
                </a:solidFill>
                <a:effectLst/>
                <a:uLnTx/>
                <a:uFillTx/>
              </a:rPr>
              <a:t>QR</a:t>
            </a:r>
            <a:r>
              <a:rPr kumimoji="0" lang="ja-JP" altLang="en-US" sz="1400" b="0" i="0" u="none" strike="noStrike" kern="0" cap="none" spc="0" normalizeH="0" baseline="0" noProof="0" dirty="0">
                <a:ln>
                  <a:noFill/>
                </a:ln>
                <a:solidFill>
                  <a:srgbClr val="FFFFFF"/>
                </a:solidFill>
                <a:effectLst/>
                <a:uLnTx/>
                <a:uFillTx/>
              </a:rPr>
              <a:t>端末の設置等、本プロジェクトで導入する数量が明記できるものに関しては、具体的な目標数量の記載をお願いいたします。</a:t>
            </a:r>
            <a:endParaRPr kumimoji="0" lang="en-US" altLang="ja-JP"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ページは適宜追加してください。</a:t>
            </a:r>
            <a:endParaRPr kumimoji="0" lang="en-US" altLang="ja-JP"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参考資料は適宜追加してください。</a:t>
            </a:r>
            <a:endParaRPr kumimoji="0" lang="en-US" altLang="ja-JP" sz="1400" b="0" i="0" u="none" strike="noStrike" kern="0" cap="none" spc="0" normalizeH="0" baseline="0" noProof="0" dirty="0">
              <a:ln>
                <a:noFill/>
              </a:ln>
              <a:solidFill>
                <a:srgbClr val="FFFFFF"/>
              </a:solidFill>
              <a:effectLst/>
              <a:uLnTx/>
              <a:uFillTx/>
            </a:endParaRPr>
          </a:p>
        </p:txBody>
      </p:sp>
      <p:sp>
        <p:nvSpPr>
          <p:cNvPr id="4" name="テキスト ボックス 3">
            <a:extLst>
              <a:ext uri="{FF2B5EF4-FFF2-40B4-BE49-F238E27FC236}">
                <a16:creationId xmlns:a16="http://schemas.microsoft.com/office/drawing/2014/main" id="{A7087E86-D5E0-8D3D-0F18-BAB3249C6B71}"/>
              </a:ext>
            </a:extLst>
          </p:cNvPr>
          <p:cNvSpPr txBox="1"/>
          <p:nvPr/>
        </p:nvSpPr>
        <p:spPr>
          <a:xfrm>
            <a:off x="6342702" y="4734969"/>
            <a:ext cx="5275836" cy="171897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左記スコープに対し、本プロジェクトで開発する機能を記載ください。なお、既存システムやサービスを利用する場合も記載し、既存機能であることを明記してください。</a:t>
            </a:r>
            <a:endParaRPr kumimoji="0" lang="en-US" altLang="ja-JP"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システム開発又はシステム利用を伴わないスコープの場合、記載は不要です。</a:t>
            </a:r>
            <a:endParaRPr kumimoji="0" lang="en-US" altLang="ja-JP"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ページは適宜追加してください。</a:t>
            </a:r>
            <a:endParaRPr kumimoji="0" lang="en-US" altLang="ja-JP"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参考資料は適宜追加してください。</a:t>
            </a:r>
            <a:endParaRPr kumimoji="0" lang="en-US" altLang="ja-JP" sz="14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143697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a:extLst>
              <a:ext uri="{FF2B5EF4-FFF2-40B4-BE49-F238E27FC236}">
                <a16:creationId xmlns:a16="http://schemas.microsoft.com/office/drawing/2014/main" id="{E6B03505-EDB8-244C-E39B-4DFF4A9A0927}"/>
              </a:ext>
            </a:extLst>
          </p:cNvPr>
          <p:cNvGraphicFramePr>
            <a:graphicFrameLocks noGrp="1"/>
          </p:cNvGraphicFramePr>
          <p:nvPr>
            <p:extLst>
              <p:ext uri="{D42A27DB-BD31-4B8C-83A1-F6EECF244321}">
                <p14:modId xmlns:p14="http://schemas.microsoft.com/office/powerpoint/2010/main" val="2650462513"/>
              </p:ext>
            </p:extLst>
          </p:nvPr>
        </p:nvGraphicFramePr>
        <p:xfrm>
          <a:off x="6227652" y="1934384"/>
          <a:ext cx="5390886" cy="4405812"/>
        </p:xfrm>
        <a:graphic>
          <a:graphicData uri="http://schemas.openxmlformats.org/drawingml/2006/table">
            <a:tbl>
              <a:tblPr firstRow="1" firstCol="1" bandRow="1">
                <a:tableStyleId>{5940675A-B579-460E-94D1-54222C63F5DA}</a:tableStyleId>
              </a:tblPr>
              <a:tblGrid>
                <a:gridCol w="1621993">
                  <a:extLst>
                    <a:ext uri="{9D8B030D-6E8A-4147-A177-3AD203B41FA5}">
                      <a16:colId xmlns:a16="http://schemas.microsoft.com/office/drawing/2014/main" val="3938936156"/>
                    </a:ext>
                  </a:extLst>
                </a:gridCol>
                <a:gridCol w="3768893">
                  <a:extLst>
                    <a:ext uri="{9D8B030D-6E8A-4147-A177-3AD203B41FA5}">
                      <a16:colId xmlns:a16="http://schemas.microsoft.com/office/drawing/2014/main" val="547714969"/>
                    </a:ext>
                  </a:extLst>
                </a:gridCol>
              </a:tblGrid>
              <a:tr h="343021">
                <a:tc>
                  <a:txBody>
                    <a:bodyPr/>
                    <a:lstStyle/>
                    <a:p>
                      <a:pPr algn="just"/>
                      <a:r>
                        <a:rPr lang="ja-JP" altLang="en-US" sz="1050" b="0" kern="100">
                          <a:solidFill>
                            <a:schemeClr val="tx1"/>
                          </a:solidFill>
                          <a:effectLst/>
                          <a:latin typeface="+mn-ea"/>
                          <a:ea typeface="+mn-ea"/>
                          <a:cs typeface="Meiryo UI" panose="020B0604030504040204" pitchFamily="50" charset="-128"/>
                        </a:rPr>
                        <a:t>開発機能</a:t>
                      </a:r>
                      <a:endParaRPr lang="ja-JP" altLang="ja-JP" sz="1050" b="0" kern="100">
                        <a:solidFill>
                          <a:schemeClr val="tx1"/>
                        </a:solidFill>
                        <a:effectLst/>
                        <a:latin typeface="+mn-ea"/>
                        <a:ea typeface="+mn-ea"/>
                        <a:cs typeface="Meiryo UI" panose="020B0604030504040204" pitchFamily="50" charset="-128"/>
                      </a:endParaRPr>
                    </a:p>
                  </a:txBody>
                  <a:tcPr marL="90000" marR="90000" marT="46800" marB="46800">
                    <a:solidFill>
                      <a:schemeClr val="bg1">
                        <a:lumMod val="75000"/>
                      </a:schemeClr>
                    </a:solidFill>
                  </a:tcPr>
                </a:tc>
                <a:tc>
                  <a:txBody>
                    <a:bodyPr/>
                    <a:lstStyle/>
                    <a:p>
                      <a:pPr algn="just"/>
                      <a:r>
                        <a:rPr lang="ja-JP" altLang="en-US" sz="1050" b="0" kern="100">
                          <a:solidFill>
                            <a:schemeClr val="tx1"/>
                          </a:solidFill>
                          <a:effectLst/>
                          <a:latin typeface="+mn-ea"/>
                          <a:ea typeface="+mn-ea"/>
                          <a:cs typeface="Meiryo UI" panose="020B0604030504040204" pitchFamily="50" charset="-128"/>
                        </a:rPr>
                        <a:t>概要</a:t>
                      </a:r>
                      <a:endParaRPr lang="ja-JP" sz="1050" b="0" kern="100">
                        <a:solidFill>
                          <a:schemeClr val="tx1"/>
                        </a:solidFill>
                        <a:effectLst/>
                        <a:latin typeface="+mn-ea"/>
                        <a:ea typeface="+mn-ea"/>
                        <a:cs typeface="Meiryo UI" panose="020B0604030504040204" pitchFamily="50" charset="-128"/>
                      </a:endParaRPr>
                    </a:p>
                  </a:txBody>
                  <a:tcPr marL="90000" marR="90000" marT="46800" marB="46800">
                    <a:solidFill>
                      <a:schemeClr val="bg1">
                        <a:lumMod val="75000"/>
                      </a:schemeClr>
                    </a:solidFill>
                  </a:tcPr>
                </a:tc>
                <a:extLst>
                  <a:ext uri="{0D108BD9-81ED-4DB2-BD59-A6C34878D82A}">
                    <a16:rowId xmlns:a16="http://schemas.microsoft.com/office/drawing/2014/main" val="1526276123"/>
                  </a:ext>
                </a:extLst>
              </a:tr>
              <a:tr h="445920">
                <a:tc>
                  <a:txBody>
                    <a:bodyPr/>
                    <a:lstStyle/>
                    <a:p>
                      <a:r>
                        <a:rPr kumimoji="1" lang="ja-JP" altLang="en-US" sz="1050">
                          <a:solidFill>
                            <a:srgbClr val="0070C0"/>
                          </a:solidFill>
                        </a:rPr>
                        <a:t>サブスク機能</a:t>
                      </a:r>
                    </a:p>
                  </a:txBody>
                  <a:tcPr marL="90000" marR="90000" marT="46800" marB="46800" anchor="ctr"/>
                </a:tc>
                <a:tc>
                  <a:txBody>
                    <a:bodyPr/>
                    <a:lstStyle/>
                    <a:p>
                      <a:r>
                        <a:rPr kumimoji="1" lang="ja-JP" altLang="en-US" sz="1050">
                          <a:solidFill>
                            <a:srgbClr val="0070C0"/>
                          </a:solidFill>
                        </a:rPr>
                        <a:t>左記スコープに記載の交通モードを一定額で乗車を可能とする機能。</a:t>
                      </a:r>
                    </a:p>
                  </a:txBody>
                  <a:tcPr marL="90000" marR="90000" marT="46800" marB="46800" anchor="ctr"/>
                </a:tc>
                <a:extLst>
                  <a:ext uri="{0D108BD9-81ED-4DB2-BD59-A6C34878D82A}">
                    <a16:rowId xmlns:a16="http://schemas.microsoft.com/office/drawing/2014/main" val="1596975374"/>
                  </a:ext>
                </a:extLst>
              </a:tr>
              <a:tr h="526146">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チケッティング機能（</a:t>
                      </a:r>
                      <a:r>
                        <a:rPr kumimoji="1" lang="en-US" altLang="ja-JP" sz="1050">
                          <a:solidFill>
                            <a:srgbClr val="0070C0"/>
                          </a:solidFill>
                        </a:rPr>
                        <a:t>QR</a:t>
                      </a:r>
                      <a:r>
                        <a:rPr kumimoji="1" lang="ja-JP" altLang="en-US" sz="1050">
                          <a:solidFill>
                            <a:srgbClr val="0070C0"/>
                          </a:solidFill>
                        </a:rPr>
                        <a:t>）</a:t>
                      </a:r>
                      <a:endParaRPr kumimoji="1" lang="en-US" altLang="ja-JP" sz="1050">
                        <a:solidFill>
                          <a:srgbClr val="0070C0"/>
                        </a:solidFill>
                      </a:endParaRPr>
                    </a:p>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前ページ①で開発）</a:t>
                      </a:r>
                      <a:endParaRPr kumimoji="1" lang="en-US" altLang="ja-JP" sz="1050">
                        <a:solidFill>
                          <a:srgbClr val="0070C0"/>
                        </a:solidFill>
                      </a:endParaRPr>
                    </a:p>
                  </a:txBody>
                  <a:tcPr marL="90000" marR="90000" marT="46800" marB="46800" anchor="ct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50">
                          <a:solidFill>
                            <a:srgbClr val="0070C0"/>
                          </a:solidFill>
                        </a:rPr>
                        <a:t>購入したサブスク券の提示、認証、消込を行う機能。認証は</a:t>
                      </a:r>
                      <a:r>
                        <a:rPr kumimoji="1" lang="en-US" altLang="ja-JP" sz="1050">
                          <a:solidFill>
                            <a:srgbClr val="0070C0"/>
                          </a:solidFill>
                        </a:rPr>
                        <a:t>QR</a:t>
                      </a:r>
                      <a:r>
                        <a:rPr kumimoji="1" lang="ja-JP" altLang="en-US" sz="1050">
                          <a:solidFill>
                            <a:srgbClr val="0070C0"/>
                          </a:solidFill>
                        </a:rPr>
                        <a:t>認証システムで行い、消込はシステム上自動で処理される。</a:t>
                      </a:r>
                    </a:p>
                  </a:txBody>
                  <a:tcPr marL="90000" marR="90000" marT="46800" marB="46800" anchor="ctr"/>
                </a:tc>
                <a:extLst>
                  <a:ext uri="{0D108BD9-81ED-4DB2-BD59-A6C34878D82A}">
                    <a16:rowId xmlns:a16="http://schemas.microsoft.com/office/drawing/2014/main" val="3479908594"/>
                  </a:ext>
                </a:extLst>
              </a:tr>
              <a:tr h="619248">
                <a:tc>
                  <a:txBody>
                    <a:bodyPr/>
                    <a:lstStyle/>
                    <a:p>
                      <a:r>
                        <a:rPr kumimoji="1" lang="ja-JP" altLang="en-US" sz="1050">
                          <a:solidFill>
                            <a:srgbClr val="0070C0"/>
                          </a:solidFill>
                        </a:rPr>
                        <a:t>マイナンバーカード連携機能</a:t>
                      </a:r>
                    </a:p>
                  </a:txBody>
                  <a:tcPr marL="90000" marR="90000" marT="46800" marB="46800" anchor="ctr"/>
                </a:tc>
                <a:tc>
                  <a:txBody>
                    <a:bodyPr/>
                    <a:lstStyle/>
                    <a:p>
                      <a:r>
                        <a:rPr kumimoji="1" lang="ja-JP" altLang="en-US" sz="1050">
                          <a:solidFill>
                            <a:srgbClr val="0070C0"/>
                          </a:solidFill>
                        </a:rPr>
                        <a:t>サブスク券を購入する際に、</a:t>
                      </a:r>
                      <a:r>
                        <a:rPr kumimoji="1" lang="en-US" altLang="ja-JP" sz="1050" err="1">
                          <a:solidFill>
                            <a:srgbClr val="0070C0"/>
                          </a:solidFill>
                        </a:rPr>
                        <a:t>MaaS</a:t>
                      </a:r>
                      <a:r>
                        <a:rPr kumimoji="1" lang="ja-JP" altLang="en-US" sz="1050">
                          <a:solidFill>
                            <a:srgbClr val="0070C0"/>
                          </a:solidFill>
                        </a:rPr>
                        <a:t>アプリ上に紐付けたマイナンバカードの情報より、市民割引を適用する機能。</a:t>
                      </a:r>
                    </a:p>
                  </a:txBody>
                  <a:tcPr marL="90000" marR="90000" marT="46800" marB="46800" anchor="ctr"/>
                </a:tc>
                <a:extLst>
                  <a:ext uri="{0D108BD9-81ED-4DB2-BD59-A6C34878D82A}">
                    <a16:rowId xmlns:a16="http://schemas.microsoft.com/office/drawing/2014/main" val="213378181"/>
                  </a:ext>
                </a:extLst>
              </a:tr>
              <a:tr h="845525">
                <a:tc>
                  <a:txBody>
                    <a:bodyPr/>
                    <a:lstStyle/>
                    <a:p>
                      <a:r>
                        <a:rPr kumimoji="1" lang="en-US" altLang="ja-JP" sz="1050">
                          <a:solidFill>
                            <a:srgbClr val="0070C0"/>
                          </a:solidFill>
                        </a:rPr>
                        <a:t>AI</a:t>
                      </a:r>
                      <a:r>
                        <a:rPr kumimoji="1" lang="ja-JP" altLang="en-US" sz="1050">
                          <a:solidFill>
                            <a:srgbClr val="0070C0"/>
                          </a:solidFill>
                        </a:rPr>
                        <a:t>オンデマンド交通の予約機能</a:t>
                      </a:r>
                      <a:endParaRPr kumimoji="1" lang="en-US" altLang="ja-JP" sz="1050">
                        <a:solidFill>
                          <a:srgbClr val="0070C0"/>
                        </a:solidFill>
                      </a:endParaRPr>
                    </a:p>
                    <a:p>
                      <a:r>
                        <a:rPr kumimoji="1" lang="ja-JP" altLang="en-US" sz="1050">
                          <a:solidFill>
                            <a:srgbClr val="0070C0"/>
                          </a:solidFill>
                        </a:rPr>
                        <a:t>（前ページ①で開発）</a:t>
                      </a:r>
                    </a:p>
                  </a:txBody>
                  <a:tcPr marL="90000" marR="90000" marT="46800" marB="46800" anchor="ctr"/>
                </a:tc>
                <a:tc>
                  <a:txBody>
                    <a:bodyPr/>
                    <a:lstStyle/>
                    <a:p>
                      <a:r>
                        <a:rPr kumimoji="1" lang="en-US" altLang="ja-JP" sz="1050">
                          <a:solidFill>
                            <a:srgbClr val="0070C0"/>
                          </a:solidFill>
                        </a:rPr>
                        <a:t>AI</a:t>
                      </a:r>
                      <a:r>
                        <a:rPr kumimoji="1" lang="ja-JP" altLang="en-US" sz="1050">
                          <a:solidFill>
                            <a:srgbClr val="0070C0"/>
                          </a:solidFill>
                        </a:rPr>
                        <a:t>オンデマンド交通（〇〇バス）の送迎依頼を予約できる機能。サブスク機能と連携し、事前予約可能。</a:t>
                      </a:r>
                    </a:p>
                  </a:txBody>
                  <a:tcPr marL="90000" marR="90000" marT="46800" marB="46800" anchor="ctr"/>
                </a:tc>
                <a:extLst>
                  <a:ext uri="{0D108BD9-81ED-4DB2-BD59-A6C34878D82A}">
                    <a16:rowId xmlns:a16="http://schemas.microsoft.com/office/drawing/2014/main" val="3204529771"/>
                  </a:ext>
                </a:extLst>
              </a:tr>
              <a:tr h="526146">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シェアサイクル予約機能</a:t>
                      </a:r>
                    </a:p>
                  </a:txBody>
                  <a:tcPr marL="90000" marR="90000" marT="46800" marB="46800" anchor="ctr"/>
                </a:tc>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シェアサイクル（○○会社）の利用予約ができる機能。サブスク機能と連携し、事前予約可能。</a:t>
                      </a:r>
                    </a:p>
                  </a:txBody>
                  <a:tcPr marL="90000" marR="90000" marT="46800" marB="46800" anchor="ctr"/>
                </a:tc>
                <a:extLst>
                  <a:ext uri="{0D108BD9-81ED-4DB2-BD59-A6C34878D82A}">
                    <a16:rowId xmlns:a16="http://schemas.microsoft.com/office/drawing/2014/main" val="3146275505"/>
                  </a:ext>
                </a:extLst>
              </a:tr>
              <a:tr h="526146">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050">
                        <a:solidFill>
                          <a:srgbClr val="0070C0"/>
                        </a:solidFill>
                      </a:endParaRPr>
                    </a:p>
                  </a:txBody>
                  <a:tcPr marL="90000" marR="90000" marT="46800" marB="46800" anchor="ctr"/>
                </a:tc>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050">
                        <a:solidFill>
                          <a:srgbClr val="0070C0"/>
                        </a:solidFill>
                      </a:endParaRPr>
                    </a:p>
                  </a:txBody>
                  <a:tcPr marL="90000" marR="90000" marT="46800" marB="46800" anchor="ctr"/>
                </a:tc>
                <a:extLst>
                  <a:ext uri="{0D108BD9-81ED-4DB2-BD59-A6C34878D82A}">
                    <a16:rowId xmlns:a16="http://schemas.microsoft.com/office/drawing/2014/main" val="3569301698"/>
                  </a:ext>
                </a:extLst>
              </a:tr>
              <a:tr h="526146">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050">
                        <a:solidFill>
                          <a:srgbClr val="0070C0"/>
                        </a:solidFill>
                      </a:endParaRPr>
                    </a:p>
                  </a:txBody>
                  <a:tcPr marL="90000" marR="90000" marT="46800" marB="46800" anchor="ctr"/>
                </a:tc>
                <a:tc>
                  <a:txBody>
                    <a:bodyPr/>
                    <a:lstStyle/>
                    <a:p>
                      <a:pPr marL="0" lvl="0" indent="0" algn="just">
                        <a:buFont typeface="Arial" panose="020B0604020202020204" pitchFamily="34" charset="0"/>
                        <a:buNone/>
                      </a:pPr>
                      <a:endParaRPr lang="ja-JP" sz="1050" b="0" kern="100" dirty="0">
                        <a:solidFill>
                          <a:srgbClr val="0070C0"/>
                        </a:solidFill>
                        <a:effectLst/>
                        <a:latin typeface="+mn-ea"/>
                        <a:ea typeface="+mn-ea"/>
                        <a:cs typeface="Meiryo UI" panose="020B0604030504040204" pitchFamily="50" charset="-128"/>
                      </a:endParaRPr>
                    </a:p>
                  </a:txBody>
                  <a:tcPr marL="90000" marR="90000" marT="46800" marB="46800" anchor="ctr"/>
                </a:tc>
                <a:extLst>
                  <a:ext uri="{0D108BD9-81ED-4DB2-BD59-A6C34878D82A}">
                    <a16:rowId xmlns:a16="http://schemas.microsoft.com/office/drawing/2014/main" val="4113606418"/>
                  </a:ext>
                </a:extLst>
              </a:tr>
            </a:tbl>
          </a:graphicData>
        </a:graphic>
      </p:graphicFrame>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３</a:t>
            </a:r>
            <a:r>
              <a:rPr lang="en-US" altLang="ja-JP"/>
              <a:t>.</a:t>
            </a:r>
            <a:r>
              <a:rPr lang="ja-JP" altLang="en-US"/>
              <a:t>スコープ詳細</a:t>
            </a:r>
          </a:p>
        </p:txBody>
      </p:sp>
      <p:sp>
        <p:nvSpPr>
          <p:cNvPr id="11" name="テキスト プレースホルダー 10">
            <a:extLst>
              <a:ext uri="{FF2B5EF4-FFF2-40B4-BE49-F238E27FC236}">
                <a16:creationId xmlns:a16="http://schemas.microsoft.com/office/drawing/2014/main" id="{962E5203-2DFF-C1A0-2F9F-F26700D05F5E}"/>
              </a:ext>
            </a:extLst>
          </p:cNvPr>
          <p:cNvSpPr txBox="1">
            <a:spLocks noGrp="1"/>
          </p:cNvSpPr>
          <p:nvPr>
            <p:ph type="body" sz="quarter" idx="4294967295"/>
          </p:nvPr>
        </p:nvSpPr>
        <p:spPr>
          <a:xfrm>
            <a:off x="300038" y="1135063"/>
            <a:ext cx="11376025"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lang="ja-JP" altLang="en-US" sz="1800">
                <a:solidFill>
                  <a:srgbClr val="0070C0"/>
                </a:solidFill>
                <a:latin typeface="BIZ UDPゴシック"/>
                <a:ea typeface="BIZ UDPゴシック"/>
              </a:rPr>
              <a:t>③サブスクサービスの提供</a:t>
            </a:r>
            <a:endParaRPr kumimoji="1" lang="en-US" altLang="ja-JP" sz="1800" b="0" i="0" u="none" strike="noStrike" kern="1200" cap="none" spc="0" normalizeH="0" baseline="0" noProof="0">
              <a:ln>
                <a:noFill/>
              </a:ln>
              <a:solidFill>
                <a:srgbClr val="0070C0"/>
              </a:solidFill>
              <a:effectLst/>
              <a:uLnTx/>
              <a:uFillTx/>
              <a:latin typeface="BIZ UDPゴシック"/>
              <a:ea typeface="BIZ UDPゴシック"/>
              <a:cs typeface="+mn-cs"/>
            </a:endParaRPr>
          </a:p>
        </p:txBody>
      </p:sp>
      <p:sp>
        <p:nvSpPr>
          <p:cNvPr id="26" name="テキスト ボックス 25">
            <a:extLst>
              <a:ext uri="{FF2B5EF4-FFF2-40B4-BE49-F238E27FC236}">
                <a16:creationId xmlns:a16="http://schemas.microsoft.com/office/drawing/2014/main" id="{E79CF6B0-5AD5-B0A6-5A82-B2F5A3B16A53}"/>
              </a:ext>
            </a:extLst>
          </p:cNvPr>
          <p:cNvSpPr txBox="1"/>
          <p:nvPr/>
        </p:nvSpPr>
        <p:spPr>
          <a:xfrm>
            <a:off x="453017" y="1490744"/>
            <a:ext cx="11313782" cy="710832"/>
          </a:xfrm>
          <a:prstGeom prst="rect">
            <a:avLst/>
          </a:prstGeom>
          <a:noFill/>
        </p:spPr>
        <p:txBody>
          <a:bodyPr wrap="square" anchor="t">
            <a:noAutofit/>
          </a:bodyPr>
          <a:lstStyle/>
          <a:p>
            <a:pPr marR="0" lvl="0" algn="l" defTabSz="914400" rtl="0" eaLnBrk="1" fontAlgn="auto" latinLnBrk="0" hangingPunct="1">
              <a:lnSpc>
                <a:spcPct val="100000"/>
              </a:lnSpc>
              <a:spcBef>
                <a:spcPts val="300"/>
              </a:spcBef>
              <a:spcAft>
                <a:spcPts val="0"/>
              </a:spcAft>
              <a:buClrTx/>
              <a:buSzTx/>
              <a:tabLst/>
              <a:defRPr/>
            </a:pPr>
            <a:r>
              <a:rPr lang="ja-JP" altLang="en-US" sz="1400">
                <a:solidFill>
                  <a:srgbClr val="0070C0"/>
                </a:solidFill>
                <a:latin typeface="BIZ UDPゴシック"/>
                <a:ea typeface="BIZ UDPゴシック"/>
              </a:rPr>
              <a:t>当該エリア内で主にマイカー通勤者に対して公共交通利用への転換を促すため、サブスクサービスの提供を実施。</a:t>
            </a:r>
            <a:endParaRPr lang="en-US" altLang="ja-JP" sz="1400">
              <a:solidFill>
                <a:srgbClr val="0070C0"/>
              </a:solidFill>
              <a:latin typeface="BIZ UDPゴシック"/>
              <a:ea typeface="BIZ UDPゴシック"/>
            </a:endParaRPr>
          </a:p>
        </p:txBody>
      </p:sp>
      <p:graphicFrame>
        <p:nvGraphicFramePr>
          <p:cNvPr id="3" name="表 2">
            <a:extLst>
              <a:ext uri="{FF2B5EF4-FFF2-40B4-BE49-F238E27FC236}">
                <a16:creationId xmlns:a16="http://schemas.microsoft.com/office/drawing/2014/main" id="{4B9CF8F6-B231-7F04-870D-14B3245AE835}"/>
              </a:ext>
            </a:extLst>
          </p:cNvPr>
          <p:cNvGraphicFramePr>
            <a:graphicFrameLocks noGrp="1"/>
          </p:cNvGraphicFramePr>
          <p:nvPr>
            <p:extLst>
              <p:ext uri="{D42A27DB-BD31-4B8C-83A1-F6EECF244321}">
                <p14:modId xmlns:p14="http://schemas.microsoft.com/office/powerpoint/2010/main" val="86135894"/>
              </p:ext>
            </p:extLst>
          </p:nvPr>
        </p:nvGraphicFramePr>
        <p:xfrm>
          <a:off x="453017" y="1934384"/>
          <a:ext cx="5390886" cy="3067777"/>
        </p:xfrm>
        <a:graphic>
          <a:graphicData uri="http://schemas.openxmlformats.org/drawingml/2006/table">
            <a:tbl>
              <a:tblPr firstRow="1" firstCol="1" bandRow="1"/>
              <a:tblGrid>
                <a:gridCol w="1621993">
                  <a:extLst>
                    <a:ext uri="{9D8B030D-6E8A-4147-A177-3AD203B41FA5}">
                      <a16:colId xmlns:a16="http://schemas.microsoft.com/office/drawing/2014/main" val="3938936156"/>
                    </a:ext>
                  </a:extLst>
                </a:gridCol>
                <a:gridCol w="3768893">
                  <a:extLst>
                    <a:ext uri="{9D8B030D-6E8A-4147-A177-3AD203B41FA5}">
                      <a16:colId xmlns:a16="http://schemas.microsoft.com/office/drawing/2014/main" val="547714969"/>
                    </a:ext>
                  </a:extLst>
                </a:gridCol>
              </a:tblGrid>
              <a:tr h="327396">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algn="just"/>
                      <a:r>
                        <a:rPr lang="ja-JP" altLang="en-US" sz="1050" b="0" kern="100">
                          <a:solidFill>
                            <a:schemeClr val="tx1"/>
                          </a:solidFill>
                          <a:effectLst/>
                          <a:latin typeface="+mn-ea"/>
                          <a:ea typeface="+mn-ea"/>
                          <a:cs typeface="Meiryo UI" panose="020B0604030504040204" pitchFamily="50" charset="-128"/>
                        </a:rPr>
                        <a:t>スコープ</a:t>
                      </a:r>
                      <a:endParaRPr lang="ja-JP" altLang="ja-JP" sz="1050" b="0" kern="100">
                        <a:solidFill>
                          <a:schemeClr val="tx1"/>
                        </a:solidFill>
                        <a:effectLst/>
                        <a:latin typeface="+mn-ea"/>
                        <a:ea typeface="+mn-ea"/>
                        <a:cs typeface="Meiryo UI" panose="020B0604030504040204" pitchFamily="50" charset="-128"/>
                      </a:endParaRPr>
                    </a:p>
                  </a:txBody>
                  <a:tcPr marL="90000" marR="90000" marT="46800" marB="4680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75000"/>
                      </a:srgbClr>
                    </a:solid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algn="just"/>
                      <a:r>
                        <a:rPr lang="ja-JP" altLang="en-US" sz="1050" b="0" kern="100">
                          <a:solidFill>
                            <a:schemeClr val="tx1"/>
                          </a:solidFill>
                          <a:effectLst/>
                          <a:latin typeface="+mn-ea"/>
                          <a:ea typeface="+mn-ea"/>
                          <a:cs typeface="Meiryo UI" panose="020B0604030504040204" pitchFamily="50" charset="-128"/>
                        </a:rPr>
                        <a:t>概要</a:t>
                      </a:r>
                      <a:endParaRPr lang="ja-JP" sz="1050" b="0" kern="100">
                        <a:solidFill>
                          <a:schemeClr val="tx1"/>
                        </a:solidFill>
                        <a:effectLst/>
                        <a:latin typeface="+mn-ea"/>
                        <a:ea typeface="+mn-ea"/>
                        <a:cs typeface="Meiryo UI" panose="020B0604030504040204" pitchFamily="50" charset="-128"/>
                      </a:endParaRPr>
                    </a:p>
                  </a:txBody>
                  <a:tcPr marL="90000" marR="90000" marT="46800" marB="4680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1526276123"/>
                  </a:ext>
                </a:extLst>
              </a:tr>
              <a:tr h="425608">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サブスクチケットの造成・提供</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対象エリア内の鉄道、路線バス、</a:t>
                      </a:r>
                      <a:r>
                        <a:rPr kumimoji="1" lang="en-US" altLang="ja-JP" sz="1050">
                          <a:solidFill>
                            <a:srgbClr val="0070C0"/>
                          </a:solidFill>
                        </a:rPr>
                        <a:t>AI</a:t>
                      </a:r>
                      <a:r>
                        <a:rPr kumimoji="1" lang="ja-JP" altLang="en-US" sz="1050">
                          <a:solidFill>
                            <a:srgbClr val="0070C0"/>
                          </a:solidFill>
                        </a:rPr>
                        <a:t>オンデマンド交通、シェアサイクルの行って期間乗り放題可能とするサブスクチケットを造成し、販売を行う。（</a:t>
                      </a:r>
                      <a:r>
                        <a:rPr kumimoji="1" lang="en-US" altLang="ja-JP" sz="1050">
                          <a:solidFill>
                            <a:srgbClr val="0070C0"/>
                          </a:solidFill>
                        </a:rPr>
                        <a:t>1</a:t>
                      </a:r>
                      <a:r>
                        <a:rPr kumimoji="1" lang="ja-JP" altLang="en-US" sz="1050">
                          <a:solidFill>
                            <a:srgbClr val="0070C0"/>
                          </a:solidFill>
                        </a:rPr>
                        <a:t>ヶ月券の</a:t>
                      </a:r>
                      <a:r>
                        <a:rPr kumimoji="1" lang="en-US" altLang="ja-JP" sz="1050">
                          <a:solidFill>
                            <a:srgbClr val="0070C0"/>
                          </a:solidFill>
                        </a:rPr>
                        <a:t>1</a:t>
                      </a:r>
                      <a:r>
                        <a:rPr kumimoji="1" lang="ja-JP" altLang="en-US" sz="1050">
                          <a:solidFill>
                            <a:srgbClr val="0070C0"/>
                          </a:solidFill>
                        </a:rPr>
                        <a:t>種類）</a:t>
                      </a:r>
                      <a:endParaRPr kumimoji="1" lang="en-US" altLang="ja-JP" sz="1050">
                        <a:solidFill>
                          <a:srgbClr val="0070C0"/>
                        </a:solidFill>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596975374"/>
                  </a:ext>
                </a:extLst>
              </a:tr>
              <a:tr h="502180">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マイナンバーカードとの連携</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サブスクチケットを市民割引で提供するため、</a:t>
                      </a:r>
                      <a:r>
                        <a:rPr kumimoji="1" lang="en-US" altLang="ja-JP" sz="1050" err="1">
                          <a:solidFill>
                            <a:srgbClr val="0070C0"/>
                          </a:solidFill>
                        </a:rPr>
                        <a:t>MaaS</a:t>
                      </a:r>
                      <a:r>
                        <a:rPr kumimoji="1" lang="ja-JP" altLang="en-US" sz="1050">
                          <a:solidFill>
                            <a:srgbClr val="0070C0"/>
                          </a:solidFill>
                        </a:rPr>
                        <a:t>アプリ上でマイナンバーカードとの連携を行う。</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479908594"/>
                  </a:ext>
                </a:extLst>
              </a:tr>
              <a:tr h="532261">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実証運行</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実証期間中に</a:t>
                      </a:r>
                      <a:r>
                        <a:rPr kumimoji="1" lang="en-US" altLang="ja-JP" sz="1050">
                          <a:solidFill>
                            <a:srgbClr val="0070C0"/>
                          </a:solidFill>
                        </a:rPr>
                        <a:t>1</a:t>
                      </a:r>
                      <a:r>
                        <a:rPr kumimoji="1" lang="ja-JP" altLang="en-US" sz="1050">
                          <a:solidFill>
                            <a:srgbClr val="0070C0"/>
                          </a:solidFill>
                        </a:rPr>
                        <a:t>ヶ月のサブスクチケットを販売する。</a:t>
                      </a:r>
                      <a:endParaRPr kumimoji="1" lang="en-US" altLang="ja-JP" sz="1050">
                        <a:solidFill>
                          <a:srgbClr val="0070C0"/>
                        </a:solidFill>
                      </a:endParaRPr>
                    </a:p>
                    <a:p>
                      <a:r>
                        <a:rPr kumimoji="1" lang="ja-JP" altLang="en-US" sz="1050">
                          <a:solidFill>
                            <a:srgbClr val="0070C0"/>
                          </a:solidFill>
                        </a:rPr>
                        <a:t>モニターは事前に</a:t>
                      </a:r>
                      <a:r>
                        <a:rPr kumimoji="1" lang="en-US" altLang="ja-JP" sz="1050">
                          <a:solidFill>
                            <a:srgbClr val="0070C0"/>
                          </a:solidFill>
                        </a:rPr>
                        <a:t>WEB</a:t>
                      </a:r>
                      <a:r>
                        <a:rPr kumimoji="1" lang="ja-JP" altLang="en-US" sz="1050">
                          <a:solidFill>
                            <a:srgbClr val="0070C0"/>
                          </a:solidFill>
                        </a:rPr>
                        <a:t>広告で募集。</a:t>
                      </a:r>
                      <a:endParaRPr kumimoji="1" lang="en-US" altLang="ja-JP" sz="1050">
                        <a:solidFill>
                          <a:srgbClr val="0070C0"/>
                        </a:solidFill>
                      </a:endParaRPr>
                    </a:p>
                    <a:p>
                      <a:r>
                        <a:rPr kumimoji="1" lang="ja-JP" altLang="en-US" sz="1050">
                          <a:solidFill>
                            <a:srgbClr val="0070C0"/>
                          </a:solidFill>
                        </a:rPr>
                        <a:t>実証期間４ヶ月（</a:t>
                      </a:r>
                      <a:r>
                        <a:rPr kumimoji="1" lang="en-US" altLang="ja-JP" sz="1050">
                          <a:solidFill>
                            <a:srgbClr val="0070C0"/>
                          </a:solidFill>
                        </a:rPr>
                        <a:t>10~1</a:t>
                      </a:r>
                      <a:r>
                        <a:rPr kumimoji="1" lang="ja-JP" altLang="en-US" sz="1050">
                          <a:solidFill>
                            <a:srgbClr val="0070C0"/>
                          </a:solidFill>
                        </a:rPr>
                        <a:t>月実証予定）</a:t>
                      </a:r>
                      <a:endParaRPr kumimoji="1" lang="en-US" altLang="ja-JP" sz="1050">
                        <a:solidFill>
                          <a:srgbClr val="0070C0"/>
                        </a:solidFill>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13378181"/>
                  </a:ext>
                </a:extLst>
              </a:tr>
              <a:tr h="366981">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050">
                        <a:solidFill>
                          <a:srgbClr val="0070C0"/>
                        </a:solidFill>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endParaRPr kumimoji="1" lang="en-US" altLang="ja-JP" sz="1050">
                        <a:solidFill>
                          <a:srgbClr val="0070C0"/>
                        </a:solidFill>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4529771"/>
                  </a:ext>
                </a:extLst>
              </a:tr>
              <a:tr h="321435">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indent="0" algn="just">
                        <a:buFont typeface="Arial" panose="020B0604020202020204" pitchFamily="34" charset="0"/>
                        <a:buNone/>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171450" lvl="0" indent="-171450" algn="just">
                        <a:buFont typeface="Arial" panose="020B0604020202020204" pitchFamily="34" charset="0"/>
                        <a:buChar char="•"/>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146275505"/>
                  </a:ext>
                </a:extLst>
              </a:tr>
              <a:tr h="402465">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indent="0" algn="just">
                        <a:buFont typeface="Arial" panose="020B0604020202020204" pitchFamily="34" charset="0"/>
                        <a:buNone/>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171450" lvl="0" indent="-171450" algn="just">
                        <a:buFont typeface="Arial" panose="020B0604020202020204" pitchFamily="34" charset="0"/>
                        <a:buChar char="•"/>
                      </a:pPr>
                      <a:endParaRPr lang="ja-JP" sz="1050" b="0" kern="100" dirty="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569301698"/>
                  </a:ext>
                </a:extLst>
              </a:tr>
            </a:tbl>
          </a:graphicData>
        </a:graphic>
      </p:graphicFrame>
      <p:sp>
        <p:nvSpPr>
          <p:cNvPr id="6" name="テキスト ボックス 5">
            <a:extLst>
              <a:ext uri="{FF2B5EF4-FFF2-40B4-BE49-F238E27FC236}">
                <a16:creationId xmlns:a16="http://schemas.microsoft.com/office/drawing/2014/main" id="{DE785576-7F7B-C0B7-D8B8-9D392544BFD6}"/>
              </a:ext>
            </a:extLst>
          </p:cNvPr>
          <p:cNvSpPr txBox="1"/>
          <p:nvPr/>
        </p:nvSpPr>
        <p:spPr>
          <a:xfrm>
            <a:off x="537268" y="4734968"/>
            <a:ext cx="5275836" cy="171897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事業内容についてスコープ毎に分けて記載をお願いいたします。</a:t>
            </a:r>
            <a:endParaRPr kumimoji="0" lang="en-US" altLang="ja-JP"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なお、企画乗車券の販売や</a:t>
            </a:r>
            <a:r>
              <a:rPr kumimoji="0" lang="en-US" altLang="ja-JP" sz="1400" b="0" i="0" u="none" strike="noStrike" kern="0" cap="none" spc="0" normalizeH="0" baseline="0" noProof="0" dirty="0">
                <a:ln>
                  <a:noFill/>
                </a:ln>
                <a:solidFill>
                  <a:srgbClr val="FFFFFF"/>
                </a:solidFill>
                <a:effectLst/>
                <a:uLnTx/>
                <a:uFillTx/>
              </a:rPr>
              <a:t>QR</a:t>
            </a:r>
            <a:r>
              <a:rPr kumimoji="0" lang="ja-JP" altLang="en-US" sz="1400" b="0" i="0" u="none" strike="noStrike" kern="0" cap="none" spc="0" normalizeH="0" baseline="0" noProof="0" dirty="0">
                <a:ln>
                  <a:noFill/>
                </a:ln>
                <a:solidFill>
                  <a:srgbClr val="FFFFFF"/>
                </a:solidFill>
                <a:effectLst/>
                <a:uLnTx/>
                <a:uFillTx/>
              </a:rPr>
              <a:t>端末の設置等、本プロジェクトで導入する数量が明記できるものに関しては、具体的な目標数量の記載をお願いいたします。</a:t>
            </a:r>
            <a:endParaRPr kumimoji="0" lang="en-US" altLang="ja-JP"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ページは適宜追加してください。</a:t>
            </a:r>
            <a:endParaRPr kumimoji="0" lang="en-US" altLang="ja-JP"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参考資料は適宜追加してください。</a:t>
            </a:r>
            <a:endParaRPr kumimoji="0" lang="en-US" altLang="ja-JP" sz="1400" b="0" i="0" u="none" strike="noStrike" kern="0" cap="none" spc="0" normalizeH="0" baseline="0" noProof="0" dirty="0">
              <a:ln>
                <a:noFill/>
              </a:ln>
              <a:solidFill>
                <a:srgbClr val="FFFFFF"/>
              </a:solidFill>
              <a:effectLst/>
              <a:uLnTx/>
              <a:uFillTx/>
            </a:endParaRPr>
          </a:p>
        </p:txBody>
      </p:sp>
      <p:sp>
        <p:nvSpPr>
          <p:cNvPr id="7" name="テキスト ボックス 6">
            <a:extLst>
              <a:ext uri="{FF2B5EF4-FFF2-40B4-BE49-F238E27FC236}">
                <a16:creationId xmlns:a16="http://schemas.microsoft.com/office/drawing/2014/main" id="{1B658AD7-85EF-8AF7-6F13-49C07F7732DB}"/>
              </a:ext>
            </a:extLst>
          </p:cNvPr>
          <p:cNvSpPr txBox="1"/>
          <p:nvPr/>
        </p:nvSpPr>
        <p:spPr>
          <a:xfrm>
            <a:off x="6342702" y="4734969"/>
            <a:ext cx="5275836" cy="171897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左記スコープに対し、本プロジェクトで開発する機能を記載ください。なお、既存システムやサービスを利用する場合も記載し、既存機能であることを明記してください。</a:t>
            </a:r>
            <a:endParaRPr kumimoji="0" lang="en-US" altLang="ja-JP"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システム開発又はシステム利用を伴わないスコープの場合、記載は不要です。</a:t>
            </a:r>
            <a:endParaRPr kumimoji="0" lang="en-US" altLang="ja-JP"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ページは適宜追加してください。</a:t>
            </a:r>
            <a:endParaRPr kumimoji="0" lang="en-US" altLang="ja-JP"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参考資料は適宜追加してください。</a:t>
            </a:r>
            <a:endParaRPr kumimoji="0" lang="en-US" altLang="ja-JP" sz="14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38088147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A45FDDD5-9A42-423D-9ED3-F19DD3567786}"/>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４</a:t>
            </a:r>
            <a:r>
              <a:rPr lang="en-US" altLang="ja-JP"/>
              <a:t>.</a:t>
            </a:r>
            <a:r>
              <a:rPr lang="ja-JP" altLang="en-US"/>
              <a:t>プロジェクト実施エリア</a:t>
            </a:r>
          </a:p>
        </p:txBody>
      </p:sp>
      <p:pic>
        <p:nvPicPr>
          <p:cNvPr id="4" name="図 3" descr="グラフ&#10;&#10;自動的に生成された説明">
            <a:extLst>
              <a:ext uri="{FF2B5EF4-FFF2-40B4-BE49-F238E27FC236}">
                <a16:creationId xmlns:a16="http://schemas.microsoft.com/office/drawing/2014/main" id="{45F9E099-4110-7BC2-05FA-9F23A7A3343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62159" y="1505154"/>
            <a:ext cx="7505723" cy="4946065"/>
          </a:xfrm>
          <a:prstGeom prst="rect">
            <a:avLst/>
          </a:prstGeom>
        </p:spPr>
      </p:pic>
      <p:sp>
        <p:nvSpPr>
          <p:cNvPr id="7" name="テキスト ボックス 6">
            <a:extLst>
              <a:ext uri="{FF2B5EF4-FFF2-40B4-BE49-F238E27FC236}">
                <a16:creationId xmlns:a16="http://schemas.microsoft.com/office/drawing/2014/main" id="{4CC34C06-2770-D52E-887C-60A7718811AC}"/>
              </a:ext>
            </a:extLst>
          </p:cNvPr>
          <p:cNvSpPr txBox="1"/>
          <p:nvPr/>
        </p:nvSpPr>
        <p:spPr>
          <a:xfrm>
            <a:off x="4530056" y="3978186"/>
            <a:ext cx="2216924" cy="261610"/>
          </a:xfrm>
          <a:prstGeom prst="rect">
            <a:avLst/>
          </a:prstGeom>
          <a:solidFill>
            <a:srgbClr val="FFC000">
              <a:alpha val="80000"/>
            </a:srgbClr>
          </a:solidFill>
        </p:spPr>
        <p:txBody>
          <a:bodyPr wrap="square">
            <a:spAutoFit/>
          </a:bodyPr>
          <a:lstStyle/>
          <a:p>
            <a:r>
              <a:rPr lang="ja-JP" altLang="en-US" sz="1050">
                <a:solidFill>
                  <a:schemeClr val="bg1"/>
                </a:solidFill>
              </a:rPr>
              <a:t>●●市営デマンドバス</a:t>
            </a:r>
          </a:p>
        </p:txBody>
      </p:sp>
      <p:sp>
        <p:nvSpPr>
          <p:cNvPr id="8" name="正方形/長方形 7">
            <a:extLst>
              <a:ext uri="{FF2B5EF4-FFF2-40B4-BE49-F238E27FC236}">
                <a16:creationId xmlns:a16="http://schemas.microsoft.com/office/drawing/2014/main" id="{1E2378D2-462D-DC21-377B-1F2BE4C99A33}"/>
              </a:ext>
            </a:extLst>
          </p:cNvPr>
          <p:cNvSpPr/>
          <p:nvPr/>
        </p:nvSpPr>
        <p:spPr>
          <a:xfrm rot="18900000">
            <a:off x="6479127" y="2938561"/>
            <a:ext cx="3778202" cy="2190750"/>
          </a:xfrm>
          <a:prstGeom prst="rect">
            <a:avLst/>
          </a:prstGeom>
          <a:solidFill>
            <a:srgbClr val="0070C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テキスト ボックス 10">
            <a:extLst>
              <a:ext uri="{FF2B5EF4-FFF2-40B4-BE49-F238E27FC236}">
                <a16:creationId xmlns:a16="http://schemas.microsoft.com/office/drawing/2014/main" id="{D9546854-B4CE-1F65-2F6D-8A404DD40BB1}"/>
              </a:ext>
            </a:extLst>
          </p:cNvPr>
          <p:cNvSpPr txBox="1"/>
          <p:nvPr/>
        </p:nvSpPr>
        <p:spPr>
          <a:xfrm>
            <a:off x="9767929" y="2296865"/>
            <a:ext cx="2216924" cy="261610"/>
          </a:xfrm>
          <a:prstGeom prst="rect">
            <a:avLst/>
          </a:prstGeom>
          <a:solidFill>
            <a:srgbClr val="0070C0">
              <a:alpha val="80000"/>
            </a:srgbClr>
          </a:solidFill>
        </p:spPr>
        <p:txBody>
          <a:bodyPr wrap="square">
            <a:spAutoFit/>
          </a:bodyPr>
          <a:lstStyle/>
          <a:p>
            <a:r>
              <a:rPr lang="ja-JP" altLang="en-US" sz="1050">
                <a:solidFill>
                  <a:schemeClr val="bg1"/>
                </a:solidFill>
              </a:rPr>
              <a:t>●●交通（タクシー）運行区域</a:t>
            </a:r>
          </a:p>
        </p:txBody>
      </p:sp>
      <p:cxnSp>
        <p:nvCxnSpPr>
          <p:cNvPr id="12" name="直線コネクタ 11">
            <a:extLst>
              <a:ext uri="{FF2B5EF4-FFF2-40B4-BE49-F238E27FC236}">
                <a16:creationId xmlns:a16="http://schemas.microsoft.com/office/drawing/2014/main" id="{36894EAB-405F-0998-1890-37C962DD7CF6}"/>
              </a:ext>
            </a:extLst>
          </p:cNvPr>
          <p:cNvCxnSpPr>
            <a:cxnSpLocks/>
            <a:endCxn id="11" idx="1"/>
          </p:cNvCxnSpPr>
          <p:nvPr/>
        </p:nvCxnSpPr>
        <p:spPr>
          <a:xfrm flipV="1">
            <a:off x="9523132" y="2427670"/>
            <a:ext cx="244797" cy="130805"/>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
        <p:nvSpPr>
          <p:cNvPr id="13" name="フリーフォーム: 図形 12">
            <a:extLst>
              <a:ext uri="{FF2B5EF4-FFF2-40B4-BE49-F238E27FC236}">
                <a16:creationId xmlns:a16="http://schemas.microsoft.com/office/drawing/2014/main" id="{B43B6931-1CB3-5574-1F6D-B4058353AD33}"/>
              </a:ext>
            </a:extLst>
          </p:cNvPr>
          <p:cNvSpPr/>
          <p:nvPr/>
        </p:nvSpPr>
        <p:spPr>
          <a:xfrm>
            <a:off x="6892160" y="3788647"/>
            <a:ext cx="943276" cy="1039529"/>
          </a:xfrm>
          <a:custGeom>
            <a:avLst/>
            <a:gdLst>
              <a:gd name="connsiteX0" fmla="*/ 394636 w 943276"/>
              <a:gd name="connsiteY0" fmla="*/ 0 h 1039529"/>
              <a:gd name="connsiteX1" fmla="*/ 28876 w 943276"/>
              <a:gd name="connsiteY1" fmla="*/ 279133 h 1039529"/>
              <a:gd name="connsiteX2" fmla="*/ 28876 w 943276"/>
              <a:gd name="connsiteY2" fmla="*/ 404261 h 1039529"/>
              <a:gd name="connsiteX3" fmla="*/ 0 w 943276"/>
              <a:gd name="connsiteY3" fmla="*/ 635268 h 1039529"/>
              <a:gd name="connsiteX4" fmla="*/ 356135 w 943276"/>
              <a:gd name="connsiteY4" fmla="*/ 991402 h 1039529"/>
              <a:gd name="connsiteX5" fmla="*/ 567890 w 943276"/>
              <a:gd name="connsiteY5" fmla="*/ 1001028 h 1039529"/>
              <a:gd name="connsiteX6" fmla="*/ 731520 w 943276"/>
              <a:gd name="connsiteY6" fmla="*/ 1039529 h 1039529"/>
              <a:gd name="connsiteX7" fmla="*/ 904775 w 943276"/>
              <a:gd name="connsiteY7" fmla="*/ 827773 h 1039529"/>
              <a:gd name="connsiteX8" fmla="*/ 943276 w 943276"/>
              <a:gd name="connsiteY8" fmla="*/ 298384 h 1039529"/>
              <a:gd name="connsiteX9" fmla="*/ 837398 w 943276"/>
              <a:gd name="connsiteY9" fmla="*/ 144379 h 1039529"/>
              <a:gd name="connsiteX10" fmla="*/ 394636 w 943276"/>
              <a:gd name="connsiteY10" fmla="*/ 0 h 10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3276" h="1039529">
                <a:moveTo>
                  <a:pt x="394636" y="0"/>
                </a:moveTo>
                <a:lnTo>
                  <a:pt x="28876" y="279133"/>
                </a:lnTo>
                <a:lnTo>
                  <a:pt x="28876" y="404261"/>
                </a:lnTo>
                <a:lnTo>
                  <a:pt x="0" y="635268"/>
                </a:lnTo>
                <a:lnTo>
                  <a:pt x="356135" y="991402"/>
                </a:lnTo>
                <a:cubicBezTo>
                  <a:pt x="503611" y="1003693"/>
                  <a:pt x="433004" y="1001028"/>
                  <a:pt x="567890" y="1001028"/>
                </a:cubicBezTo>
                <a:lnTo>
                  <a:pt x="731520" y="1039529"/>
                </a:lnTo>
                <a:cubicBezTo>
                  <a:pt x="909712" y="970993"/>
                  <a:pt x="844038" y="1034274"/>
                  <a:pt x="904775" y="827773"/>
                </a:cubicBezTo>
                <a:lnTo>
                  <a:pt x="943276" y="298384"/>
                </a:lnTo>
                <a:cubicBezTo>
                  <a:pt x="842853" y="157792"/>
                  <a:pt x="871708" y="213003"/>
                  <a:pt x="837398" y="144379"/>
                </a:cubicBezTo>
                <a:lnTo>
                  <a:pt x="394636" y="0"/>
                </a:lnTo>
                <a:close/>
              </a:path>
            </a:pathLst>
          </a:custGeom>
          <a:solidFill>
            <a:srgbClr val="FFC000">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a:extLst>
              <a:ext uri="{FF2B5EF4-FFF2-40B4-BE49-F238E27FC236}">
                <a16:creationId xmlns:a16="http://schemas.microsoft.com/office/drawing/2014/main" id="{3AA73118-94F8-70C1-35F7-26CD5AF7F242}"/>
              </a:ext>
            </a:extLst>
          </p:cNvPr>
          <p:cNvCxnSpPr>
            <a:cxnSpLocks/>
            <a:endCxn id="13" idx="2"/>
          </p:cNvCxnSpPr>
          <p:nvPr/>
        </p:nvCxnSpPr>
        <p:spPr>
          <a:xfrm>
            <a:off x="6746980" y="4108991"/>
            <a:ext cx="174056" cy="83917"/>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graphicFrame>
        <p:nvGraphicFramePr>
          <p:cNvPr id="15" name="表 14">
            <a:extLst>
              <a:ext uri="{FF2B5EF4-FFF2-40B4-BE49-F238E27FC236}">
                <a16:creationId xmlns:a16="http://schemas.microsoft.com/office/drawing/2014/main" id="{6BA7322B-8E83-4959-AED5-CDCB2DC09E66}"/>
              </a:ext>
            </a:extLst>
          </p:cNvPr>
          <p:cNvGraphicFramePr>
            <a:graphicFrameLocks noGrp="1"/>
          </p:cNvGraphicFramePr>
          <p:nvPr>
            <p:extLst>
              <p:ext uri="{D42A27DB-BD31-4B8C-83A1-F6EECF244321}">
                <p14:modId xmlns:p14="http://schemas.microsoft.com/office/powerpoint/2010/main" val="3517680498"/>
              </p:ext>
            </p:extLst>
          </p:nvPr>
        </p:nvGraphicFramePr>
        <p:xfrm>
          <a:off x="300779" y="1755865"/>
          <a:ext cx="3763597" cy="2032782"/>
        </p:xfrm>
        <a:graphic>
          <a:graphicData uri="http://schemas.openxmlformats.org/drawingml/2006/table">
            <a:tbl>
              <a:tblPr firstRow="1" bandRow="1">
                <a:tableStyleId>{5940675A-B579-460E-94D1-54222C63F5DA}</a:tableStyleId>
              </a:tblPr>
              <a:tblGrid>
                <a:gridCol w="3763597">
                  <a:extLst>
                    <a:ext uri="{9D8B030D-6E8A-4147-A177-3AD203B41FA5}">
                      <a16:colId xmlns:a16="http://schemas.microsoft.com/office/drawing/2014/main" val="518456691"/>
                    </a:ext>
                  </a:extLst>
                </a:gridCol>
              </a:tblGrid>
              <a:tr h="1061101">
                <a:tc>
                  <a:txBody>
                    <a:bodyPr/>
                    <a:lstStyle/>
                    <a:p>
                      <a:r>
                        <a:rPr kumimoji="1" lang="ja-JP" altLang="en-US" sz="1050">
                          <a:solidFill>
                            <a:srgbClr val="0070C0"/>
                          </a:solidFill>
                          <a:latin typeface="+mj-ea"/>
                          <a:ea typeface="+mj-ea"/>
                        </a:rPr>
                        <a:t>富山県富山市　富山駅周辺～市内主要エリア</a:t>
                      </a:r>
                      <a:endParaRPr kumimoji="1" lang="en-US" altLang="ja-JP" sz="1050">
                        <a:solidFill>
                          <a:srgbClr val="0070C0"/>
                        </a:solidFill>
                        <a:latin typeface="+mj-ea"/>
                        <a:ea typeface="+mj-ea"/>
                      </a:endParaRPr>
                    </a:p>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50" kern="1200">
                          <a:solidFill>
                            <a:schemeClr val="tx1"/>
                          </a:solidFill>
                          <a:latin typeface="+mj-ea"/>
                          <a:ea typeface="+mn-ea"/>
                          <a:cs typeface="+mn-cs"/>
                        </a:rPr>
                        <a:t>［鉄道］</a:t>
                      </a:r>
                      <a:endParaRPr kumimoji="1" lang="en-US" altLang="ja-JP" sz="1050" kern="1200">
                        <a:solidFill>
                          <a:schemeClr val="tx1"/>
                        </a:solidFill>
                        <a:latin typeface="+mj-ea"/>
                        <a:ea typeface="+mn-ea"/>
                        <a:cs typeface="+mn-cs"/>
                      </a:endParaRPr>
                    </a:p>
                    <a:p>
                      <a:pPr marL="171450" indent="-171450">
                        <a:buFont typeface="Wingdings" panose="05000000000000000000" pitchFamily="2" charset="2"/>
                        <a:buChar char="l"/>
                      </a:pPr>
                      <a:r>
                        <a:rPr kumimoji="1" lang="ja-JP" altLang="en-US" sz="1050" kern="1200">
                          <a:solidFill>
                            <a:srgbClr val="0070C0"/>
                          </a:solidFill>
                          <a:latin typeface="+mj-ea"/>
                          <a:ea typeface="+mn-ea"/>
                          <a:cs typeface="+mn-cs"/>
                        </a:rPr>
                        <a:t>富山軌道線（富山地鉄）</a:t>
                      </a:r>
                      <a:endParaRPr kumimoji="1" lang="en-US" altLang="ja-JP" sz="1050" kern="1200">
                        <a:solidFill>
                          <a:srgbClr val="0070C0"/>
                        </a:solidFill>
                        <a:latin typeface="+mj-ea"/>
                        <a:ea typeface="+mn-ea"/>
                        <a:cs typeface="+mn-cs"/>
                      </a:endParaRPr>
                    </a:p>
                    <a:p>
                      <a:pPr marL="171450" indent="-171450">
                        <a:buFont typeface="Wingdings" panose="05000000000000000000" pitchFamily="2" charset="2"/>
                        <a:buChar char="l"/>
                      </a:pPr>
                      <a:r>
                        <a:rPr kumimoji="1" lang="ja-JP" altLang="en-US" sz="1050" kern="1200">
                          <a:solidFill>
                            <a:srgbClr val="0070C0"/>
                          </a:solidFill>
                          <a:latin typeface="+mj-ea"/>
                          <a:ea typeface="+mn-ea"/>
                          <a:cs typeface="+mn-cs"/>
                        </a:rPr>
                        <a:t>あいの風とやま鉄道（富山駅～東富山駅区間）</a:t>
                      </a:r>
                      <a:endParaRPr kumimoji="1" lang="en-US" altLang="ja-JP" sz="1050" kern="1200">
                        <a:solidFill>
                          <a:srgbClr val="0070C0"/>
                        </a:solidFill>
                        <a:latin typeface="+mj-ea"/>
                        <a:ea typeface="+mn-ea"/>
                        <a:cs typeface="+mn-cs"/>
                      </a:endParaRPr>
                    </a:p>
                    <a:p>
                      <a:pPr marL="171450" indent="-171450">
                        <a:buFont typeface="Wingdings" panose="05000000000000000000" pitchFamily="2" charset="2"/>
                        <a:buChar char="l"/>
                      </a:pPr>
                      <a:r>
                        <a:rPr kumimoji="1" lang="en-US" altLang="ja-JP" sz="1050" kern="1200">
                          <a:solidFill>
                            <a:srgbClr val="0070C0"/>
                          </a:solidFill>
                          <a:latin typeface="+mj-ea"/>
                          <a:ea typeface="+mn-ea"/>
                          <a:cs typeface="+mn-cs"/>
                        </a:rPr>
                        <a:t>JR</a:t>
                      </a:r>
                      <a:r>
                        <a:rPr kumimoji="1" lang="ja-JP" altLang="en-US" sz="1050" kern="1200">
                          <a:solidFill>
                            <a:srgbClr val="0070C0"/>
                          </a:solidFill>
                          <a:latin typeface="+mj-ea"/>
                          <a:ea typeface="+mn-ea"/>
                          <a:cs typeface="+mn-cs"/>
                        </a:rPr>
                        <a:t>東日本高山本線</a:t>
                      </a:r>
                      <a:endParaRPr kumimoji="1" lang="en-US" altLang="ja-JP" sz="1050" kern="1200">
                        <a:solidFill>
                          <a:srgbClr val="0070C0"/>
                        </a:solidFill>
                        <a:latin typeface="+mj-ea"/>
                        <a:ea typeface="+mn-ea"/>
                        <a:cs typeface="+mn-cs"/>
                      </a:endParaRPr>
                    </a:p>
                    <a:p>
                      <a:pPr marL="0" indent="0">
                        <a:buFont typeface="Wingdings" panose="05000000000000000000" pitchFamily="2" charset="2"/>
                        <a:buNone/>
                      </a:pPr>
                      <a:r>
                        <a:rPr kumimoji="1" lang="ja-JP" altLang="en-US" sz="1050" kern="1200">
                          <a:solidFill>
                            <a:schemeClr val="tx1"/>
                          </a:solidFill>
                          <a:latin typeface="+mj-ea"/>
                          <a:ea typeface="+mn-ea"/>
                          <a:cs typeface="+mn-cs"/>
                        </a:rPr>
                        <a:t>［</a:t>
                      </a:r>
                      <a:r>
                        <a:rPr kumimoji="1" lang="ja-JP" altLang="en-US" sz="1050">
                          <a:solidFill>
                            <a:schemeClr val="tx1"/>
                          </a:solidFill>
                          <a:latin typeface="+mj-ea"/>
                          <a:ea typeface="+mj-ea"/>
                        </a:rPr>
                        <a:t>バス］</a:t>
                      </a:r>
                      <a:endParaRPr kumimoji="1" lang="en-US" altLang="ja-JP" sz="1050">
                        <a:solidFill>
                          <a:schemeClr val="tx1"/>
                        </a:solidFill>
                        <a:latin typeface="+mj-ea"/>
                        <a:ea typeface="+mj-ea"/>
                      </a:endParaRPr>
                    </a:p>
                    <a:p>
                      <a:pPr marL="171450" indent="-171450">
                        <a:buFont typeface="Wingdings" panose="05000000000000000000" pitchFamily="2" charset="2"/>
                        <a:buChar char="l"/>
                      </a:pPr>
                      <a:r>
                        <a:rPr kumimoji="1" lang="ja-JP" altLang="en-US" sz="1050">
                          <a:solidFill>
                            <a:srgbClr val="0070C0"/>
                          </a:solidFill>
                          <a:latin typeface="+mj-ea"/>
                          <a:ea typeface="+mj-ea"/>
                        </a:rPr>
                        <a:t>富山地鉄バス（市内全路線）</a:t>
                      </a:r>
                      <a:endParaRPr kumimoji="1" lang="en-US" altLang="ja-JP" sz="1050">
                        <a:solidFill>
                          <a:srgbClr val="0070C0"/>
                        </a:solidFill>
                        <a:latin typeface="+mj-ea"/>
                        <a:ea typeface="+mj-ea"/>
                      </a:endParaRPr>
                    </a:p>
                    <a:p>
                      <a:pPr marL="171450" indent="-171450">
                        <a:buFont typeface="Wingdings" panose="05000000000000000000" pitchFamily="2" charset="2"/>
                        <a:buChar char="l"/>
                      </a:pPr>
                      <a:r>
                        <a:rPr kumimoji="1" lang="ja-JP" altLang="en-US" sz="1050">
                          <a:solidFill>
                            <a:srgbClr val="0070C0"/>
                          </a:solidFill>
                          <a:latin typeface="+mj-ea"/>
                          <a:ea typeface="+mj-ea"/>
                        </a:rPr>
                        <a:t>市営コミュニティバス（大山地域、八尾地域、山田地域）</a:t>
                      </a:r>
                      <a:endParaRPr kumimoji="1" lang="en-US" altLang="ja-JP" sz="1050">
                        <a:solidFill>
                          <a:srgbClr val="0070C0"/>
                        </a:solidFill>
                        <a:latin typeface="+mj-ea"/>
                        <a:ea typeface="+mj-ea"/>
                      </a:endParaRPr>
                    </a:p>
                    <a:p>
                      <a:pPr marL="171450" indent="-171450">
                        <a:buFont typeface="Wingdings" panose="05000000000000000000" pitchFamily="2" charset="2"/>
                        <a:buChar char="l"/>
                      </a:pPr>
                      <a:r>
                        <a:rPr kumimoji="1" lang="ja-JP" altLang="en-US" sz="1050">
                          <a:solidFill>
                            <a:srgbClr val="0070C0"/>
                          </a:solidFill>
                          <a:latin typeface="+mj-ea"/>
                          <a:ea typeface="+mj-ea"/>
                        </a:rPr>
                        <a:t>まいどはやバス（地域自主運行バス）</a:t>
                      </a:r>
                      <a:endParaRPr kumimoji="1" lang="en-US" altLang="ja-JP" sz="1050">
                        <a:solidFill>
                          <a:srgbClr val="0070C0"/>
                        </a:solidFill>
                        <a:latin typeface="+mj-ea"/>
                        <a:ea typeface="+mj-ea"/>
                      </a:endParaRPr>
                    </a:p>
                    <a:p>
                      <a:pPr marL="0" indent="0">
                        <a:buFont typeface="Wingdings" panose="05000000000000000000" pitchFamily="2" charset="2"/>
                        <a:buNone/>
                      </a:pPr>
                      <a:r>
                        <a:rPr kumimoji="1" lang="ja-JP" altLang="en-US" sz="1050">
                          <a:solidFill>
                            <a:schemeClr val="tx1"/>
                          </a:solidFill>
                          <a:latin typeface="+mj-ea"/>
                          <a:ea typeface="+mj-ea"/>
                        </a:rPr>
                        <a:t>［デマンド交通］</a:t>
                      </a:r>
                      <a:endParaRPr kumimoji="1" lang="en-US" altLang="ja-JP" sz="1050">
                        <a:solidFill>
                          <a:schemeClr val="tx1"/>
                        </a:solidFill>
                        <a:latin typeface="+mj-ea"/>
                        <a:ea typeface="+mj-ea"/>
                      </a:endParaRPr>
                    </a:p>
                    <a:p>
                      <a:pPr marL="171450" indent="-171450">
                        <a:buFont typeface="Wingdings" panose="05000000000000000000" pitchFamily="2" charset="2"/>
                        <a:buChar char="l"/>
                      </a:pPr>
                      <a:r>
                        <a:rPr kumimoji="1" lang="ja-JP" altLang="en-US" sz="1050">
                          <a:solidFill>
                            <a:srgbClr val="0070C0"/>
                          </a:solidFill>
                          <a:latin typeface="+mj-ea"/>
                          <a:ea typeface="+mj-ea"/>
                        </a:rPr>
                        <a:t>あいのり大山（市営デマンドバス）</a:t>
                      </a:r>
                      <a:endParaRPr kumimoji="1" lang="en-US" altLang="ja-JP" sz="1050">
                        <a:solidFill>
                          <a:srgbClr val="0070C0"/>
                        </a:solidFill>
                        <a:latin typeface="+mj-ea"/>
                        <a:ea typeface="+mj-ea"/>
                      </a:endParaRPr>
                    </a:p>
                    <a:p>
                      <a:pPr marL="171450" indent="-171450">
                        <a:buFont typeface="Wingdings" panose="05000000000000000000" pitchFamily="2" charset="2"/>
                        <a:buChar char="l"/>
                      </a:pPr>
                      <a:r>
                        <a:rPr kumimoji="1" lang="ja-JP" altLang="en-US" sz="1050">
                          <a:solidFill>
                            <a:srgbClr val="0070C0"/>
                          </a:solidFill>
                          <a:latin typeface="+mj-ea"/>
                          <a:ea typeface="+mj-ea"/>
                        </a:rPr>
                        <a:t>富山交通（タクシー）</a:t>
                      </a:r>
                      <a:endParaRPr kumimoji="1" lang="ja-JP" altLang="en-US" sz="1050">
                        <a:solidFill>
                          <a:srgbClr val="0070C0"/>
                        </a:solidFill>
                        <a:highlight>
                          <a:srgbClr val="C0C0C0"/>
                        </a:highlight>
                        <a:latin typeface="+mj-ea"/>
                        <a:ea typeface="+mj-ea"/>
                      </a:endParaRPr>
                    </a:p>
                  </a:txBody>
                  <a:tcPr marL="112542" marR="112542" marT="56271" marB="5627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64430111"/>
                  </a:ext>
                </a:extLst>
              </a:tr>
            </a:tbl>
          </a:graphicData>
        </a:graphic>
      </p:graphicFrame>
      <p:sp>
        <p:nvSpPr>
          <p:cNvPr id="17" name="テキスト ボックス 16">
            <a:extLst>
              <a:ext uri="{FF2B5EF4-FFF2-40B4-BE49-F238E27FC236}">
                <a16:creationId xmlns:a16="http://schemas.microsoft.com/office/drawing/2014/main" id="{159BE264-9942-E766-987F-6CA378A61798}"/>
              </a:ext>
            </a:extLst>
          </p:cNvPr>
          <p:cNvSpPr txBox="1"/>
          <p:nvPr/>
        </p:nvSpPr>
        <p:spPr>
          <a:xfrm>
            <a:off x="1588445" y="4938690"/>
            <a:ext cx="8920716" cy="107632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本プロジェクトの具体的なサービス提供事業者名・路線・区間を文言及び図示によって明示してください。</a:t>
            </a: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サービス提供エリアが広域の場合は、地図を複数枚用意のうえ、実施エリアや路線が分かるよう明示してください。</a:t>
            </a: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プロジェクトが過年度からの継続事業の場合、今年度の対象がわかるように記載ください。</a:t>
            </a: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画像はサンプルです。提出時に削除してください。</a:t>
            </a:r>
            <a:endParaRPr kumimoji="0" lang="en-US" altLang="ja-JP" sz="1400" b="0" i="0" u="none" strike="noStrike" kern="0" cap="none" spc="0" normalizeH="0" baseline="0" noProof="0">
              <a:ln>
                <a:noFill/>
              </a:ln>
              <a:solidFill>
                <a:srgbClr val="FFFFFF"/>
              </a:solidFill>
              <a:effectLst/>
              <a:uLnTx/>
              <a:uFillTx/>
            </a:endParaRPr>
          </a:p>
        </p:txBody>
      </p:sp>
      <p:sp>
        <p:nvSpPr>
          <p:cNvPr id="19" name="テキスト ボックス 18">
            <a:extLst>
              <a:ext uri="{FF2B5EF4-FFF2-40B4-BE49-F238E27FC236}">
                <a16:creationId xmlns:a16="http://schemas.microsoft.com/office/drawing/2014/main" id="{F4F6AADC-220D-BFC7-4F32-89892ED6B785}"/>
              </a:ext>
            </a:extLst>
          </p:cNvPr>
          <p:cNvSpPr txBox="1"/>
          <p:nvPr/>
        </p:nvSpPr>
        <p:spPr>
          <a:xfrm>
            <a:off x="377162" y="1507003"/>
            <a:ext cx="3695699" cy="261962"/>
          </a:xfrm>
          <a:prstGeom prst="rect">
            <a:avLst/>
          </a:prstGeom>
          <a:solidFill>
            <a:srgbClr val="636163">
              <a:lumMod val="20000"/>
              <a:lumOff val="8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srgbClr val="000000"/>
                </a:solidFill>
                <a:effectLst/>
                <a:uLnTx/>
                <a:uFillTx/>
              </a:rPr>
              <a:t>本プロジェクトにおけるサービス提供事業者</a:t>
            </a:r>
          </a:p>
        </p:txBody>
      </p:sp>
      <p:grpSp>
        <p:nvGrpSpPr>
          <p:cNvPr id="23" name="グループ化 22">
            <a:extLst>
              <a:ext uri="{FF2B5EF4-FFF2-40B4-BE49-F238E27FC236}">
                <a16:creationId xmlns:a16="http://schemas.microsoft.com/office/drawing/2014/main" id="{A07996F8-B910-E0AB-D4FD-7620B6D4FD6E}"/>
              </a:ext>
            </a:extLst>
          </p:cNvPr>
          <p:cNvGrpSpPr/>
          <p:nvPr/>
        </p:nvGrpSpPr>
        <p:grpSpPr>
          <a:xfrm>
            <a:off x="377162" y="1144962"/>
            <a:ext cx="11327639" cy="310897"/>
            <a:chOff x="609601" y="1337306"/>
            <a:chExt cx="5206999" cy="310897"/>
          </a:xfrm>
        </p:grpSpPr>
        <p:sp>
          <p:nvSpPr>
            <p:cNvPr id="24" name="正方形/長方形 23">
              <a:extLst>
                <a:ext uri="{FF2B5EF4-FFF2-40B4-BE49-F238E27FC236}">
                  <a16:creationId xmlns:a16="http://schemas.microsoft.com/office/drawing/2014/main" id="{C05D70C8-A0E4-1745-E63B-587FB5CC9386}"/>
                </a:ext>
              </a:extLst>
            </p:cNvPr>
            <p:cNvSpPr/>
            <p:nvPr/>
          </p:nvSpPr>
          <p:spPr>
            <a:xfrm>
              <a:off x="609601" y="1337306"/>
              <a:ext cx="5198587" cy="299140"/>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rgbClr val="636163"/>
                </a:solidFill>
                <a:effectLst/>
                <a:uLnTx/>
                <a:uFillTx/>
                <a:latin typeface="Noto Sans CJK JP"/>
                <a:ea typeface="BIZ UDPゴシック"/>
                <a:cs typeface="+mn-cs"/>
              </a:endParaRPr>
            </a:p>
          </p:txBody>
        </p:sp>
        <p:cxnSp>
          <p:nvCxnSpPr>
            <p:cNvPr id="25" name="直線コネクタ 24">
              <a:extLst>
                <a:ext uri="{FF2B5EF4-FFF2-40B4-BE49-F238E27FC236}">
                  <a16:creationId xmlns:a16="http://schemas.microsoft.com/office/drawing/2014/main" id="{9B8C3470-E35E-E2A6-58B9-6E0188FCF49E}"/>
                </a:ext>
              </a:extLst>
            </p:cNvPr>
            <p:cNvCxnSpPr/>
            <p:nvPr/>
          </p:nvCxnSpPr>
          <p:spPr>
            <a:xfrm>
              <a:off x="609601" y="1648203"/>
              <a:ext cx="5206999" cy="0"/>
            </a:xfrm>
            <a:prstGeom prst="line">
              <a:avLst/>
            </a:prstGeom>
            <a:noFill/>
            <a:ln w="9525" cap="flat" cmpd="sng" algn="ctr">
              <a:solidFill>
                <a:srgbClr val="636163"/>
              </a:solidFill>
              <a:prstDash val="solid"/>
            </a:ln>
            <a:effectLst/>
          </p:spPr>
        </p:cxnSp>
      </p:grpSp>
      <p:sp>
        <p:nvSpPr>
          <p:cNvPr id="20" name="テキスト プレースホルダー 19">
            <a:extLst>
              <a:ext uri="{FF2B5EF4-FFF2-40B4-BE49-F238E27FC236}">
                <a16:creationId xmlns:a16="http://schemas.microsoft.com/office/drawing/2014/main" id="{C0739B5E-974C-B8C0-C502-00B3AE8E25D2}"/>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Tree>
    <p:extLst>
      <p:ext uri="{BB962C8B-B14F-4D97-AF65-F5344CB8AC3E}">
        <p14:creationId xmlns:p14="http://schemas.microsoft.com/office/powerpoint/2010/main" val="24525954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235315-9C48-DA83-F90B-A60269B5EF7B}"/>
            </a:ext>
          </a:extLst>
        </p:cNvPr>
        <p:cNvGrpSpPr/>
        <p:nvPr/>
      </p:nvGrpSpPr>
      <p:grpSpPr>
        <a:xfrm>
          <a:off x="0" y="0"/>
          <a:ext cx="0" cy="0"/>
          <a:chOff x="0" y="0"/>
          <a:chExt cx="0" cy="0"/>
        </a:xfrm>
      </p:grpSpPr>
      <p:pic>
        <p:nvPicPr>
          <p:cNvPr id="31" name="図 30">
            <a:extLst>
              <a:ext uri="{FF2B5EF4-FFF2-40B4-BE49-F238E27FC236}">
                <a16:creationId xmlns:a16="http://schemas.microsoft.com/office/drawing/2014/main" id="{16020430-00B1-287F-A924-BAA06D233495}"/>
              </a:ext>
            </a:extLst>
          </p:cNvPr>
          <p:cNvPicPr>
            <a:picLocks noChangeAspect="1"/>
          </p:cNvPicPr>
          <p:nvPr/>
        </p:nvPicPr>
        <p:blipFill>
          <a:blip r:embed="rId3"/>
          <a:stretch>
            <a:fillRect/>
          </a:stretch>
        </p:blipFill>
        <p:spPr>
          <a:xfrm>
            <a:off x="2077459" y="1489767"/>
            <a:ext cx="6519604" cy="4925102"/>
          </a:xfrm>
          <a:prstGeom prst="rect">
            <a:avLst/>
          </a:prstGeom>
        </p:spPr>
      </p:pic>
      <p:graphicFrame>
        <p:nvGraphicFramePr>
          <p:cNvPr id="5" name="オブジェクト 4" hidden="1">
            <a:extLst>
              <a:ext uri="{FF2B5EF4-FFF2-40B4-BE49-F238E27FC236}">
                <a16:creationId xmlns:a16="http://schemas.microsoft.com/office/drawing/2014/main" id="{84E354F3-1957-AAC3-B43F-BEDAC47C5BC8}"/>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84E354F3-1957-AAC3-B43F-BEDAC47C5BC8}"/>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6" name="テキスト プレースホルダー 5">
            <a:extLst>
              <a:ext uri="{FF2B5EF4-FFF2-40B4-BE49-F238E27FC236}">
                <a16:creationId xmlns:a16="http://schemas.microsoft.com/office/drawing/2014/main" id="{71206BDE-1A08-08E6-655E-57D44EBA924B}"/>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2" name="テキスト プレースホルダー 1">
            <a:extLst>
              <a:ext uri="{FF2B5EF4-FFF2-40B4-BE49-F238E27FC236}">
                <a16:creationId xmlns:a16="http://schemas.microsoft.com/office/drawing/2014/main" id="{CBF10691-58CC-75D5-EA23-B36D933D90D3}"/>
              </a:ext>
            </a:extLst>
          </p:cNvPr>
          <p:cNvSpPr>
            <a:spLocks noGrp="1"/>
          </p:cNvSpPr>
          <p:nvPr>
            <p:ph type="body" sz="quarter" idx="36"/>
          </p:nvPr>
        </p:nvSpPr>
        <p:spPr>
          <a:xfrm>
            <a:off x="300779" y="215626"/>
            <a:ext cx="11376000" cy="415498"/>
          </a:xfrm>
        </p:spPr>
        <p:txBody>
          <a:bodyPr/>
          <a:lstStyle/>
          <a:p>
            <a:r>
              <a:rPr lang="en-US" altLang="ja-JP" dirty="0"/>
              <a:t>Ⅱ.</a:t>
            </a:r>
            <a:r>
              <a:rPr lang="ja-JP" altLang="en-US" dirty="0"/>
              <a:t>交通サービスの高度化</a:t>
            </a:r>
          </a:p>
        </p:txBody>
      </p:sp>
      <p:sp>
        <p:nvSpPr>
          <p:cNvPr id="9" name="タイトル 8">
            <a:extLst>
              <a:ext uri="{FF2B5EF4-FFF2-40B4-BE49-F238E27FC236}">
                <a16:creationId xmlns:a16="http://schemas.microsoft.com/office/drawing/2014/main" id="{F7DA7227-3724-60C8-1F06-5A8A2F4AF1F8}"/>
              </a:ext>
            </a:extLst>
          </p:cNvPr>
          <p:cNvSpPr>
            <a:spLocks noGrp="1"/>
          </p:cNvSpPr>
          <p:nvPr>
            <p:ph type="title"/>
          </p:nvPr>
        </p:nvSpPr>
        <p:spPr/>
        <p:txBody>
          <a:bodyPr vert="horz"/>
          <a:lstStyle/>
          <a:p>
            <a:r>
              <a:rPr lang="ja-JP" altLang="en-US" dirty="0"/>
              <a:t>５</a:t>
            </a:r>
            <a:r>
              <a:rPr lang="en-US" altLang="ja-JP" dirty="0"/>
              <a:t>.</a:t>
            </a:r>
            <a:r>
              <a:rPr lang="ja-JP" altLang="en-US" dirty="0"/>
              <a:t>アーキテクチャ全体図</a:t>
            </a:r>
            <a:r>
              <a:rPr lang="en-US" altLang="ja-JP" sz="2400" dirty="0"/>
              <a:t>-</a:t>
            </a:r>
            <a:r>
              <a:rPr lang="ja-JP" altLang="en-US" sz="2400" dirty="0"/>
              <a:t>システムアーキテクチャ図</a:t>
            </a:r>
            <a:r>
              <a:rPr lang="en-US" altLang="ja-JP" sz="2400" dirty="0"/>
              <a:t>-</a:t>
            </a:r>
            <a:endParaRPr lang="ja-JP" altLang="en-US" sz="2800" dirty="0"/>
          </a:p>
        </p:txBody>
      </p:sp>
      <p:sp>
        <p:nvSpPr>
          <p:cNvPr id="4" name="テキスト ボックス 3">
            <a:extLst>
              <a:ext uri="{FF2B5EF4-FFF2-40B4-BE49-F238E27FC236}">
                <a16:creationId xmlns:a16="http://schemas.microsoft.com/office/drawing/2014/main" id="{2D0F773D-7F31-6F9D-4700-F8F75C3164F8}"/>
              </a:ext>
            </a:extLst>
          </p:cNvPr>
          <p:cNvSpPr txBox="1"/>
          <p:nvPr/>
        </p:nvSpPr>
        <p:spPr>
          <a:xfrm>
            <a:off x="2920785" y="2759484"/>
            <a:ext cx="6135987" cy="2385668"/>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システム全体の構造を視覚的に示し、各コンポーネントの相互関係を明確にするため、システムアーキテクチャを記載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機能モジュールとそのインターフェスを処理フローに従って定義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要件定義を見据え、必要な機能モジュールの定義・分割と</a:t>
            </a:r>
            <a:r>
              <a:rPr kumimoji="0" lang="en-US" altLang="ja-JP" sz="1400" b="0" i="0" u="none" strike="noStrike" kern="0" cap="none" spc="0" normalizeH="0" baseline="0" noProof="0">
                <a:ln>
                  <a:noFill/>
                </a:ln>
                <a:solidFill>
                  <a:srgbClr val="FFFFFF"/>
                </a:solidFill>
                <a:effectLst/>
                <a:uLnTx/>
                <a:uFillTx/>
              </a:rPr>
              <a:t>ID</a:t>
            </a:r>
            <a:r>
              <a:rPr kumimoji="0" lang="ja-JP" altLang="en-US" sz="1400" b="0" i="0" u="none" strike="noStrike" kern="0" cap="none" spc="0" normalizeH="0" baseline="0" noProof="0">
                <a:ln>
                  <a:noFill/>
                </a:ln>
                <a:solidFill>
                  <a:srgbClr val="FFFFFF"/>
                </a:solidFill>
                <a:effectLst/>
                <a:uLnTx/>
                <a:uFillTx/>
              </a:rPr>
              <a:t>付与、フルスクラッチ、</a:t>
            </a:r>
            <a:r>
              <a:rPr kumimoji="0" lang="en-US" altLang="ja-JP" sz="1400" b="0" i="0" u="none" strike="noStrike" kern="0" cap="none" spc="0" normalizeH="0" baseline="0" noProof="0">
                <a:ln>
                  <a:noFill/>
                </a:ln>
                <a:solidFill>
                  <a:srgbClr val="FFFFFF"/>
                </a:solidFill>
                <a:effectLst/>
                <a:uLnTx/>
                <a:uFillTx/>
              </a:rPr>
              <a:t>SaaS</a:t>
            </a:r>
            <a:r>
              <a:rPr kumimoji="0" lang="ja-JP" altLang="en-US" sz="1400" b="0" i="0" u="none" strike="noStrike" kern="0" cap="none" spc="0" normalizeH="0" baseline="0" noProof="0">
                <a:ln>
                  <a:noFill/>
                </a:ln>
                <a:solidFill>
                  <a:srgbClr val="FFFFFF"/>
                </a:solidFill>
                <a:effectLst/>
                <a:uLnTx/>
                <a:uFillTx/>
              </a:rPr>
              <a:t>利用、外部</a:t>
            </a:r>
            <a:r>
              <a:rPr kumimoji="0" lang="en-US" altLang="ja-JP" sz="1400" b="0" i="0" u="none" strike="noStrike" kern="0" cap="none" spc="0" normalizeH="0" baseline="0" noProof="0">
                <a:ln>
                  <a:noFill/>
                </a:ln>
                <a:solidFill>
                  <a:srgbClr val="FFFFFF"/>
                </a:solidFill>
                <a:effectLst/>
                <a:uLnTx/>
                <a:uFillTx/>
              </a:rPr>
              <a:t>API</a:t>
            </a:r>
            <a:r>
              <a:rPr kumimoji="0" lang="ja-JP" altLang="en-US" sz="1400" b="0" i="0" u="none" strike="noStrike" kern="0" cap="none" spc="0" normalizeH="0" baseline="0" noProof="0">
                <a:ln>
                  <a:noFill/>
                </a:ln>
                <a:solidFill>
                  <a:srgbClr val="FFFFFF"/>
                </a:solidFill>
                <a:effectLst/>
                <a:uLnTx/>
                <a:uFillTx/>
              </a:rPr>
              <a:t>利用などの区別など、可能な限り詳細な粒度で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右下の凡例を参考に作成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システム利用及び開発を行わない場合は、その旨を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画像はサンプルです。提出時に削除してください。</a:t>
            </a:r>
          </a:p>
        </p:txBody>
      </p:sp>
      <p:grpSp>
        <p:nvGrpSpPr>
          <p:cNvPr id="7" name="グループ化 6">
            <a:extLst>
              <a:ext uri="{FF2B5EF4-FFF2-40B4-BE49-F238E27FC236}">
                <a16:creationId xmlns:a16="http://schemas.microsoft.com/office/drawing/2014/main" id="{52002093-DF50-FA02-BA5F-6BBF146BCA66}"/>
              </a:ext>
            </a:extLst>
          </p:cNvPr>
          <p:cNvGrpSpPr/>
          <p:nvPr/>
        </p:nvGrpSpPr>
        <p:grpSpPr>
          <a:xfrm>
            <a:off x="10081737" y="5038356"/>
            <a:ext cx="1630886" cy="1264098"/>
            <a:chOff x="10291234" y="5263193"/>
            <a:chExt cx="1530502" cy="1186290"/>
          </a:xfrm>
        </p:grpSpPr>
        <p:sp>
          <p:nvSpPr>
            <p:cNvPr id="8" name="四角形: 角を丸くする 7">
              <a:extLst>
                <a:ext uri="{FF2B5EF4-FFF2-40B4-BE49-F238E27FC236}">
                  <a16:creationId xmlns:a16="http://schemas.microsoft.com/office/drawing/2014/main" id="{FC1AB3A4-9382-A032-5903-9A510E8475E3}"/>
                </a:ext>
              </a:extLst>
            </p:cNvPr>
            <p:cNvSpPr/>
            <p:nvPr/>
          </p:nvSpPr>
          <p:spPr>
            <a:xfrm>
              <a:off x="10291234" y="5263193"/>
              <a:ext cx="1530502" cy="1186290"/>
            </a:xfrm>
            <a:prstGeom prst="roundRect">
              <a:avLst>
                <a:gd name="adj" fmla="val 3180"/>
              </a:avLst>
            </a:prstGeom>
            <a:noFill/>
            <a:ln w="12700" cap="flat" cmpd="sng" algn="ctr">
              <a:solidFill>
                <a:srgbClr val="636163"/>
              </a:solidFill>
              <a:prstDash val="solid"/>
            </a:ln>
            <a:effectLst/>
          </p:spPr>
          <p:txBody>
            <a:bodyPr rtlCol="0" anchor="ctr"/>
            <a:lstStyle/>
            <a:p>
              <a:pPr algn="ctr">
                <a:defRPr/>
              </a:pPr>
              <a:endParaRPr kumimoji="0" lang="ja-JP" altLang="en-US" sz="2400" kern="0">
                <a:solidFill>
                  <a:srgbClr val="FFFFFF"/>
                </a:solidFill>
                <a:latin typeface="Noto Sans CJK JP"/>
              </a:endParaRPr>
            </a:p>
          </p:txBody>
        </p:sp>
        <p:grpSp>
          <p:nvGrpSpPr>
            <p:cNvPr id="10" name="グループ化 9">
              <a:extLst>
                <a:ext uri="{FF2B5EF4-FFF2-40B4-BE49-F238E27FC236}">
                  <a16:creationId xmlns:a16="http://schemas.microsoft.com/office/drawing/2014/main" id="{B738998B-D1C7-4DA0-CFF5-9A123E597911}"/>
                </a:ext>
              </a:extLst>
            </p:cNvPr>
            <p:cNvGrpSpPr/>
            <p:nvPr/>
          </p:nvGrpSpPr>
          <p:grpSpPr>
            <a:xfrm>
              <a:off x="10446248" y="5791146"/>
              <a:ext cx="1327938" cy="260466"/>
              <a:chOff x="10692611" y="5304251"/>
              <a:chExt cx="1327938" cy="260466"/>
            </a:xfrm>
          </p:grpSpPr>
          <p:pic>
            <p:nvPicPr>
              <p:cNvPr id="20" name="Picture 2">
                <a:extLst>
                  <a:ext uri="{FF2B5EF4-FFF2-40B4-BE49-F238E27FC236}">
                    <a16:creationId xmlns:a16="http://schemas.microsoft.com/office/drawing/2014/main" id="{5F251E6C-56B2-4EEE-259F-0A6F4F938D4F}"/>
                  </a:ext>
                </a:extLst>
              </p:cNvPr>
              <p:cNvPicPr>
                <a:picLocks noChangeAspect="1" noChangeArrowheads="1"/>
              </p:cNvPicPr>
              <p:nvPr/>
            </p:nvPicPr>
            <p:blipFill>
              <a:blip r:embed="rId6">
                <a:extLst>
                  <a:ext uri="{96DAC541-7B7A-43D3-8B79-37D633B846F1}">
                    <asvg:svgBlip xmlns:asvg="http://schemas.microsoft.com/office/drawing/2016/SVG/main" r:embed="rId7"/>
                  </a:ext>
                </a:extLst>
              </a:blip>
              <a:srcRect l="271" r="271"/>
              <a:stretch/>
            </p:blipFill>
            <p:spPr bwMode="auto">
              <a:xfrm>
                <a:off x="10692611" y="5304251"/>
                <a:ext cx="259054" cy="260466"/>
              </a:xfrm>
              <a:prstGeom prst="rect">
                <a:avLst/>
              </a:prstGeom>
              <a:noFill/>
            </p:spPr>
          </p:pic>
          <p:sp>
            <p:nvSpPr>
              <p:cNvPr id="21" name="テキスト ボックス 20">
                <a:extLst>
                  <a:ext uri="{FF2B5EF4-FFF2-40B4-BE49-F238E27FC236}">
                    <a16:creationId xmlns:a16="http://schemas.microsoft.com/office/drawing/2014/main" id="{2795B796-42AA-2A86-F5EC-F78EB5494350}"/>
                  </a:ext>
                </a:extLst>
              </p:cNvPr>
              <p:cNvSpPr txBox="1"/>
              <p:nvPr/>
            </p:nvSpPr>
            <p:spPr>
              <a:xfrm>
                <a:off x="11006912" y="5350898"/>
                <a:ext cx="1013637" cy="175245"/>
              </a:xfrm>
              <a:prstGeom prst="rect">
                <a:avLst/>
              </a:prstGeom>
              <a:noFill/>
            </p:spPr>
            <p:txBody>
              <a:bodyPr wrap="square" lIns="36000" tIns="0" rIns="36000" bIns="0" rtlCol="0" anchor="ctr">
                <a:noAutofit/>
              </a:bodyPr>
              <a:lstStyle/>
              <a:p>
                <a:pPr>
                  <a:defRPr/>
                </a:pPr>
                <a:r>
                  <a:rPr kumimoji="0" lang="ja-JP" altLang="en-US" sz="800" kern="0">
                    <a:solidFill>
                      <a:srgbClr val="000000"/>
                    </a:solidFill>
                    <a:latin typeface="Noto Sans CJK JP"/>
                  </a:rPr>
                  <a:t>システム</a:t>
                </a:r>
                <a:r>
                  <a:rPr kumimoji="0" lang="en-US" altLang="ja-JP" sz="800" kern="0">
                    <a:solidFill>
                      <a:srgbClr val="000000"/>
                    </a:solidFill>
                    <a:latin typeface="Noto Sans CJK JP"/>
                  </a:rPr>
                  <a:t>/</a:t>
                </a:r>
                <a:r>
                  <a:rPr kumimoji="0" lang="ja-JP" altLang="en-US" sz="800" kern="0">
                    <a:solidFill>
                      <a:srgbClr val="000000"/>
                    </a:solidFill>
                    <a:latin typeface="Noto Sans CJK JP"/>
                  </a:rPr>
                  <a:t>ライブラリ</a:t>
                </a:r>
                <a:r>
                  <a:rPr kumimoji="0" lang="en-US" altLang="ja-JP" sz="800" kern="0">
                    <a:solidFill>
                      <a:srgbClr val="000000"/>
                    </a:solidFill>
                    <a:latin typeface="Noto Sans CJK JP"/>
                  </a:rPr>
                  <a:t>/SaaS</a:t>
                </a:r>
              </a:p>
            </p:txBody>
          </p:sp>
        </p:grpSp>
        <p:grpSp>
          <p:nvGrpSpPr>
            <p:cNvPr id="11" name="グループ化 10">
              <a:extLst>
                <a:ext uri="{FF2B5EF4-FFF2-40B4-BE49-F238E27FC236}">
                  <a16:creationId xmlns:a16="http://schemas.microsoft.com/office/drawing/2014/main" id="{F9A3E8B6-D4F7-9975-8B59-D2F396C06F28}"/>
                </a:ext>
              </a:extLst>
            </p:cNvPr>
            <p:cNvGrpSpPr/>
            <p:nvPr/>
          </p:nvGrpSpPr>
          <p:grpSpPr>
            <a:xfrm>
              <a:off x="10446248" y="6114053"/>
              <a:ext cx="1145906" cy="260466"/>
              <a:chOff x="10692611" y="5591252"/>
              <a:chExt cx="1145906" cy="260466"/>
            </a:xfrm>
          </p:grpSpPr>
          <p:pic>
            <p:nvPicPr>
              <p:cNvPr id="18" name="Picture 2">
                <a:extLst>
                  <a:ext uri="{FF2B5EF4-FFF2-40B4-BE49-F238E27FC236}">
                    <a16:creationId xmlns:a16="http://schemas.microsoft.com/office/drawing/2014/main" id="{2507B095-8B76-5E1D-3144-5AC3E998E4FB}"/>
                  </a:ext>
                </a:extLst>
              </p:cNvPr>
              <p:cNvPicPr>
                <a:picLocks noChangeAspect="1" noChangeArrowheads="1"/>
              </p:cNvPicPr>
              <p:nvPr/>
            </p:nvPicPr>
            <p:blipFill>
              <a:blip r:embed="rId8">
                <a:extLst>
                  <a:ext uri="{96DAC541-7B7A-43D3-8B79-37D633B846F1}">
                    <asvg:svgBlip xmlns:asvg="http://schemas.microsoft.com/office/drawing/2016/SVG/main" r:embed="rId9"/>
                  </a:ext>
                </a:extLst>
              </a:blip>
              <a:srcRect l="271" r="271"/>
              <a:stretch/>
            </p:blipFill>
            <p:spPr bwMode="auto">
              <a:xfrm>
                <a:off x="10692611" y="5591252"/>
                <a:ext cx="259054" cy="260466"/>
              </a:xfrm>
              <a:prstGeom prst="rect">
                <a:avLst/>
              </a:prstGeom>
              <a:noFill/>
              <a:extLst>
                <a:ext uri="{909E8E84-426E-40DD-AFC4-6F175D3DCCD1}">
                  <a14:hiddenFill xmlns:a14="http://schemas.microsoft.com/office/drawing/2010/main">
                    <a:solidFill>
                      <a:srgbClr val="FFFFFF"/>
                    </a:solidFill>
                  </a14:hiddenFill>
                </a:ext>
              </a:extLst>
            </p:spPr>
          </p:pic>
          <p:sp>
            <p:nvSpPr>
              <p:cNvPr id="19" name="テキスト ボックス 18">
                <a:extLst>
                  <a:ext uri="{FF2B5EF4-FFF2-40B4-BE49-F238E27FC236}">
                    <a16:creationId xmlns:a16="http://schemas.microsoft.com/office/drawing/2014/main" id="{46CA9831-E830-18A4-36D3-B1CB18F4532A}"/>
                  </a:ext>
                </a:extLst>
              </p:cNvPr>
              <p:cNvSpPr txBox="1"/>
              <p:nvPr/>
            </p:nvSpPr>
            <p:spPr>
              <a:xfrm>
                <a:off x="11006913" y="5637899"/>
                <a:ext cx="831604" cy="175245"/>
              </a:xfrm>
              <a:prstGeom prst="rect">
                <a:avLst/>
              </a:prstGeom>
              <a:noFill/>
            </p:spPr>
            <p:txBody>
              <a:bodyPr wrap="square" lIns="36000" tIns="0" rIns="36000" bIns="0" rtlCol="0" anchor="ctr">
                <a:noAutofit/>
              </a:bodyPr>
              <a:lstStyle/>
              <a:p>
                <a:pPr>
                  <a:defRPr/>
                </a:pPr>
                <a:r>
                  <a:rPr kumimoji="0" lang="ja-JP" altLang="en-US" sz="800" kern="0">
                    <a:solidFill>
                      <a:srgbClr val="000000"/>
                    </a:solidFill>
                    <a:latin typeface="Noto Sans CJK JP"/>
                  </a:rPr>
                  <a:t>アルゴリズム</a:t>
                </a:r>
                <a:endParaRPr kumimoji="0" lang="en-US" altLang="ja-JP" sz="800" kern="0">
                  <a:solidFill>
                    <a:srgbClr val="000000"/>
                  </a:solidFill>
                  <a:latin typeface="Noto Sans CJK JP"/>
                </a:endParaRPr>
              </a:p>
            </p:txBody>
          </p:sp>
        </p:grpSp>
        <p:grpSp>
          <p:nvGrpSpPr>
            <p:cNvPr id="12" name="グループ化 11">
              <a:extLst>
                <a:ext uri="{FF2B5EF4-FFF2-40B4-BE49-F238E27FC236}">
                  <a16:creationId xmlns:a16="http://schemas.microsoft.com/office/drawing/2014/main" id="{F1638528-25FC-34FB-615D-AC43812FAD07}"/>
                </a:ext>
              </a:extLst>
            </p:cNvPr>
            <p:cNvGrpSpPr/>
            <p:nvPr/>
          </p:nvGrpSpPr>
          <p:grpSpPr>
            <a:xfrm>
              <a:off x="10451931" y="5553460"/>
              <a:ext cx="1336838" cy="175245"/>
              <a:chOff x="10698295" y="5102471"/>
              <a:chExt cx="1604126" cy="175245"/>
            </a:xfrm>
          </p:grpSpPr>
          <p:sp>
            <p:nvSpPr>
              <p:cNvPr id="16" name="テキスト ボックス 15">
                <a:extLst>
                  <a:ext uri="{FF2B5EF4-FFF2-40B4-BE49-F238E27FC236}">
                    <a16:creationId xmlns:a16="http://schemas.microsoft.com/office/drawing/2014/main" id="{47DA8D64-CEC9-1F56-B9E9-35C546FFCD9E}"/>
                  </a:ext>
                </a:extLst>
              </p:cNvPr>
              <p:cNvSpPr txBox="1"/>
              <p:nvPr/>
            </p:nvSpPr>
            <p:spPr>
              <a:xfrm>
                <a:off x="11098283" y="5102471"/>
                <a:ext cx="1204138" cy="175245"/>
              </a:xfrm>
              <a:prstGeom prst="rect">
                <a:avLst/>
              </a:prstGeom>
              <a:noFill/>
            </p:spPr>
            <p:txBody>
              <a:bodyPr wrap="square" lIns="36000" tIns="0" rIns="36000" bIns="0" rtlCol="0" anchor="ctr">
                <a:noAutofit/>
              </a:bodyPr>
              <a:lstStyle/>
              <a:p>
                <a:pPr>
                  <a:defRPr/>
                </a:pPr>
                <a:r>
                  <a:rPr kumimoji="0" lang="ja-JP" altLang="en-US" sz="800" kern="0">
                    <a:solidFill>
                      <a:srgbClr val="7EBE9A"/>
                    </a:solidFill>
                    <a:latin typeface="Noto Sans CJK JP"/>
                  </a:rPr>
                  <a:t>フルスクラッチ開発</a:t>
                </a:r>
                <a:endParaRPr kumimoji="0" lang="en-US" altLang="ja-JP" sz="800" kern="0">
                  <a:solidFill>
                    <a:srgbClr val="7EBE9A"/>
                  </a:solidFill>
                  <a:latin typeface="Noto Sans CJK JP"/>
                </a:endParaRPr>
              </a:p>
            </p:txBody>
          </p:sp>
          <p:sp>
            <p:nvSpPr>
              <p:cNvPr id="17" name="四角形: 角を丸くする 16">
                <a:extLst>
                  <a:ext uri="{FF2B5EF4-FFF2-40B4-BE49-F238E27FC236}">
                    <a16:creationId xmlns:a16="http://schemas.microsoft.com/office/drawing/2014/main" id="{2C56FA59-6C77-7FC1-AD1B-BBB66647627D}"/>
                  </a:ext>
                </a:extLst>
              </p:cNvPr>
              <p:cNvSpPr/>
              <p:nvPr/>
            </p:nvSpPr>
            <p:spPr>
              <a:xfrm>
                <a:off x="10698295" y="5164955"/>
                <a:ext cx="247686" cy="75595"/>
              </a:xfrm>
              <a:prstGeom prst="roundRect">
                <a:avLst/>
              </a:prstGeom>
              <a:solidFill>
                <a:srgbClr val="7EBE9A"/>
              </a:solidFill>
              <a:ln w="25400" cap="flat" cmpd="sng" algn="ctr">
                <a:noFill/>
                <a:prstDash val="solid"/>
              </a:ln>
              <a:effectLst/>
            </p:spPr>
            <p:txBody>
              <a:bodyPr rtlCol="0" anchor="ctr"/>
              <a:lstStyle/>
              <a:p>
                <a:pPr algn="ctr">
                  <a:defRPr/>
                </a:pPr>
                <a:endParaRPr kumimoji="0" lang="ja-JP" altLang="en-US" sz="2400" kern="0">
                  <a:solidFill>
                    <a:srgbClr val="FFFFFF"/>
                  </a:solidFill>
                  <a:latin typeface="Noto Sans CJK JP"/>
                </a:endParaRPr>
              </a:p>
            </p:txBody>
          </p:sp>
        </p:grpSp>
        <p:grpSp>
          <p:nvGrpSpPr>
            <p:cNvPr id="13" name="グループ化 12">
              <a:extLst>
                <a:ext uri="{FF2B5EF4-FFF2-40B4-BE49-F238E27FC236}">
                  <a16:creationId xmlns:a16="http://schemas.microsoft.com/office/drawing/2014/main" id="{0C48BC36-F017-A7FD-EFE5-3DD062E75EDB}"/>
                </a:ext>
              </a:extLst>
            </p:cNvPr>
            <p:cNvGrpSpPr/>
            <p:nvPr/>
          </p:nvGrpSpPr>
          <p:grpSpPr>
            <a:xfrm>
              <a:off x="10451932" y="5315774"/>
              <a:ext cx="1317183" cy="175245"/>
              <a:chOff x="10698295" y="4792973"/>
              <a:chExt cx="1580541" cy="175245"/>
            </a:xfrm>
          </p:grpSpPr>
          <p:sp>
            <p:nvSpPr>
              <p:cNvPr id="14" name="テキスト ボックス 13">
                <a:extLst>
                  <a:ext uri="{FF2B5EF4-FFF2-40B4-BE49-F238E27FC236}">
                    <a16:creationId xmlns:a16="http://schemas.microsoft.com/office/drawing/2014/main" id="{5C0D0E8C-3811-F6B0-69BB-69EE7E33FC74}"/>
                  </a:ext>
                </a:extLst>
              </p:cNvPr>
              <p:cNvSpPr txBox="1"/>
              <p:nvPr/>
            </p:nvSpPr>
            <p:spPr>
              <a:xfrm>
                <a:off x="11074698" y="4792973"/>
                <a:ext cx="1204138" cy="175245"/>
              </a:xfrm>
              <a:prstGeom prst="rect">
                <a:avLst/>
              </a:prstGeom>
              <a:noFill/>
            </p:spPr>
            <p:txBody>
              <a:bodyPr wrap="square" lIns="36000" tIns="0" rIns="36000" bIns="0" rtlCol="0" anchor="ctr">
                <a:noAutofit/>
              </a:bodyPr>
              <a:lstStyle/>
              <a:p>
                <a:pPr>
                  <a:defRPr/>
                </a:pPr>
                <a:r>
                  <a:rPr kumimoji="0" lang="ja-JP" altLang="en-US" sz="800" kern="0">
                    <a:solidFill>
                      <a:srgbClr val="F3817B"/>
                    </a:solidFill>
                    <a:latin typeface="Noto Sans CJK JP"/>
                  </a:rPr>
                  <a:t>既存モジュールの改修</a:t>
                </a:r>
                <a:endParaRPr kumimoji="0" lang="en-US" altLang="ja-JP" sz="800" kern="0">
                  <a:solidFill>
                    <a:srgbClr val="F3817B"/>
                  </a:solidFill>
                  <a:latin typeface="Noto Sans CJK JP"/>
                </a:endParaRPr>
              </a:p>
            </p:txBody>
          </p:sp>
          <p:sp>
            <p:nvSpPr>
              <p:cNvPr id="15" name="四角形: 角を丸くする 14">
                <a:extLst>
                  <a:ext uri="{FF2B5EF4-FFF2-40B4-BE49-F238E27FC236}">
                    <a16:creationId xmlns:a16="http://schemas.microsoft.com/office/drawing/2014/main" id="{96FB319F-2503-4EE3-8CBC-47A4CDE48CA8}"/>
                  </a:ext>
                </a:extLst>
              </p:cNvPr>
              <p:cNvSpPr/>
              <p:nvPr/>
            </p:nvSpPr>
            <p:spPr>
              <a:xfrm>
                <a:off x="10698295" y="4848448"/>
                <a:ext cx="247686" cy="75595"/>
              </a:xfrm>
              <a:prstGeom prst="roundRect">
                <a:avLst/>
              </a:prstGeom>
              <a:solidFill>
                <a:srgbClr val="F3817B"/>
              </a:solidFill>
              <a:ln w="25400" cap="flat" cmpd="sng" algn="ctr">
                <a:noFill/>
                <a:prstDash val="solid"/>
              </a:ln>
              <a:effectLst/>
            </p:spPr>
            <p:txBody>
              <a:bodyPr rtlCol="0" anchor="ctr"/>
              <a:lstStyle/>
              <a:p>
                <a:pPr algn="ctr">
                  <a:defRPr/>
                </a:pPr>
                <a:endParaRPr kumimoji="0" lang="ja-JP" altLang="en-US" sz="2400" kern="0">
                  <a:solidFill>
                    <a:srgbClr val="FFFFFF"/>
                  </a:solidFill>
                  <a:latin typeface="Noto Sans CJK JP"/>
                </a:endParaRPr>
              </a:p>
            </p:txBody>
          </p:sp>
        </p:grpSp>
      </p:grpSp>
    </p:spTree>
    <p:extLst>
      <p:ext uri="{BB962C8B-B14F-4D97-AF65-F5344CB8AC3E}">
        <p14:creationId xmlns:p14="http://schemas.microsoft.com/office/powerpoint/2010/main" val="26421909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6AE4F6-F01F-62C2-59D7-A3B8E9AE82D8}"/>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E8C9B9F-8072-E0E4-77B7-420C6D2F96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6" name="think-cell data - do not delete" hidden="1">
                        <a:extLst>
                          <a:ext uri="{FF2B5EF4-FFF2-40B4-BE49-F238E27FC236}">
                            <a16:creationId xmlns:a16="http://schemas.microsoft.com/office/drawing/2014/main" id="{1E8C9B9F-8072-E0E4-77B7-420C6D2F96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A89627E6-1381-E3A4-FE8B-A4EB0C783D38}"/>
              </a:ext>
            </a:extLst>
          </p:cNvPr>
          <p:cNvSpPr>
            <a:spLocks noGrp="1"/>
          </p:cNvSpPr>
          <p:nvPr>
            <p:ph type="body" sz="quarter" idx="4294967295"/>
          </p:nvPr>
        </p:nvSpPr>
        <p:spPr>
          <a:xfrm>
            <a:off x="300779" y="947034"/>
            <a:ext cx="11376000" cy="661720"/>
          </a:xfrm>
        </p:spPr>
        <p:txBody>
          <a:bodyPr/>
          <a:lstStyle/>
          <a:p>
            <a:r>
              <a:rPr kumimoji="1" lang="ja-JP" altLang="en-US"/>
              <a:t>本業務の作業スケジュールや履行体制を含めた業務実施計画書を策定</a:t>
            </a:r>
            <a:r>
              <a:rPr lang="ja-JP" altLang="en-US"/>
              <a:t>する</a:t>
            </a:r>
            <a:endParaRPr kumimoji="1" lang="ja-JP" altLang="en-US"/>
          </a:p>
          <a:p>
            <a:endParaRPr kumimoji="1" lang="ja-JP" altLang="en-US"/>
          </a:p>
        </p:txBody>
      </p:sp>
      <p:sp>
        <p:nvSpPr>
          <p:cNvPr id="3" name="テキスト プレースホルダー 2">
            <a:extLst>
              <a:ext uri="{FF2B5EF4-FFF2-40B4-BE49-F238E27FC236}">
                <a16:creationId xmlns:a16="http://schemas.microsoft.com/office/drawing/2014/main" id="{8ED92B7C-1EEB-5342-CD72-059EC9543A4F}"/>
              </a:ext>
            </a:extLst>
          </p:cNvPr>
          <p:cNvSpPr>
            <a:spLocks noGrp="1"/>
          </p:cNvSpPr>
          <p:nvPr>
            <p:ph type="body" sz="quarter" idx="36"/>
          </p:nvPr>
        </p:nvSpPr>
        <p:spPr/>
        <p:txBody>
          <a:bodyPr/>
          <a:lstStyle/>
          <a:p>
            <a:endParaRPr kumimoji="1" lang="ja-JP" altLang="en-US"/>
          </a:p>
        </p:txBody>
      </p:sp>
      <p:sp>
        <p:nvSpPr>
          <p:cNvPr id="4" name="タイトル 3">
            <a:extLst>
              <a:ext uri="{FF2B5EF4-FFF2-40B4-BE49-F238E27FC236}">
                <a16:creationId xmlns:a16="http://schemas.microsoft.com/office/drawing/2014/main" id="{DD1CA6AB-0B11-22AF-99A0-D4CD074A0CDA}"/>
              </a:ext>
            </a:extLst>
          </p:cNvPr>
          <p:cNvSpPr>
            <a:spLocks noGrp="1"/>
          </p:cNvSpPr>
          <p:nvPr>
            <p:ph type="title"/>
          </p:nvPr>
        </p:nvSpPr>
        <p:spPr>
          <a:xfrm>
            <a:off x="300779" y="601848"/>
            <a:ext cx="11376000" cy="432000"/>
          </a:xfrm>
        </p:spPr>
        <p:txBody>
          <a:bodyPr vert="horz"/>
          <a:lstStyle/>
          <a:p>
            <a:r>
              <a:rPr kumimoji="1" lang="ja-JP" altLang="en-US"/>
              <a:t>本資料の位置付け②</a:t>
            </a:r>
          </a:p>
        </p:txBody>
      </p:sp>
      <p:graphicFrame>
        <p:nvGraphicFramePr>
          <p:cNvPr id="13" name="表 12">
            <a:extLst>
              <a:ext uri="{FF2B5EF4-FFF2-40B4-BE49-F238E27FC236}">
                <a16:creationId xmlns:a16="http://schemas.microsoft.com/office/drawing/2014/main" id="{6B84DF48-8B2E-7483-E19E-A4C36C91AA03}"/>
              </a:ext>
            </a:extLst>
          </p:cNvPr>
          <p:cNvGraphicFramePr>
            <a:graphicFrameLocks noGrp="1"/>
          </p:cNvGraphicFramePr>
          <p:nvPr>
            <p:extLst>
              <p:ext uri="{D42A27DB-BD31-4B8C-83A1-F6EECF244321}">
                <p14:modId xmlns:p14="http://schemas.microsoft.com/office/powerpoint/2010/main" val="2542604242"/>
              </p:ext>
            </p:extLst>
          </p:nvPr>
        </p:nvGraphicFramePr>
        <p:xfrm>
          <a:off x="403225" y="1223302"/>
          <a:ext cx="11273553" cy="4876800"/>
        </p:xfrm>
        <a:graphic>
          <a:graphicData uri="http://schemas.openxmlformats.org/drawingml/2006/table">
            <a:tbl>
              <a:tblPr bandRow="1">
                <a:tableStyleId>{69012ECD-51FC-41F1-AA8D-1B2483CD663E}</a:tableStyleId>
              </a:tblPr>
              <a:tblGrid>
                <a:gridCol w="390612">
                  <a:extLst>
                    <a:ext uri="{9D8B030D-6E8A-4147-A177-3AD203B41FA5}">
                      <a16:colId xmlns:a16="http://schemas.microsoft.com/office/drawing/2014/main" val="2108554568"/>
                    </a:ext>
                  </a:extLst>
                </a:gridCol>
                <a:gridCol w="1404733">
                  <a:extLst>
                    <a:ext uri="{9D8B030D-6E8A-4147-A177-3AD203B41FA5}">
                      <a16:colId xmlns:a16="http://schemas.microsoft.com/office/drawing/2014/main" val="3815544931"/>
                    </a:ext>
                  </a:extLst>
                </a:gridCol>
                <a:gridCol w="2897081">
                  <a:extLst>
                    <a:ext uri="{9D8B030D-6E8A-4147-A177-3AD203B41FA5}">
                      <a16:colId xmlns:a16="http://schemas.microsoft.com/office/drawing/2014/main" val="603325944"/>
                    </a:ext>
                  </a:extLst>
                </a:gridCol>
                <a:gridCol w="6581127">
                  <a:extLst>
                    <a:ext uri="{9D8B030D-6E8A-4147-A177-3AD203B41FA5}">
                      <a16:colId xmlns:a16="http://schemas.microsoft.com/office/drawing/2014/main" val="410620975"/>
                    </a:ext>
                  </a:extLst>
                </a:gridCol>
              </a:tblGrid>
              <a:tr h="237822">
                <a:tc gridSpan="2">
                  <a:txBody>
                    <a:bodyPr/>
                    <a:lstStyle/>
                    <a:p>
                      <a:r>
                        <a:rPr kumimoji="1" lang="ja-JP" altLang="en-US" sz="1000" b="1"/>
                        <a:t>章</a:t>
                      </a:r>
                    </a:p>
                  </a:txBody>
                  <a:tcPr>
                    <a:lnL w="19050" cap="flat" cmpd="sng" algn="ctr">
                      <a:solidFill>
                        <a:schemeClr val="tx1"/>
                      </a:solid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kumimoji="1" lang="ja-JP" altLang="en-US" sz="1000"/>
                    </a:p>
                  </a:txBody>
                  <a:tcPr>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00" b="1"/>
                        <a:t>アジェンダ</a:t>
                      </a:r>
                    </a:p>
                  </a:txBody>
                  <a:tcP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00" b="1"/>
                        <a:t>記載内容</a:t>
                      </a:r>
                    </a:p>
                  </a:txBody>
                  <a:tcPr>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20628022"/>
                  </a:ext>
                </a:extLst>
              </a:tr>
              <a:tr h="237822">
                <a:tc rowSpan="10">
                  <a:txBody>
                    <a:bodyPr/>
                    <a:lstStyle/>
                    <a:p>
                      <a:r>
                        <a:rPr kumimoji="1" lang="en-US" altLang="ja-JP" sz="1000"/>
                        <a:t>Ⅲ</a:t>
                      </a:r>
                    </a:p>
                    <a:p>
                      <a:endParaRPr kumimoji="1" lang="en-US" altLang="ja-JP" sz="1000"/>
                    </a:p>
                    <a:p>
                      <a:endParaRPr kumimoji="1" lang="en-US" altLang="ja-JP" sz="1000"/>
                    </a:p>
                    <a:p>
                      <a:endParaRPr kumimoji="1" lang="en-US" altLang="ja-JP" sz="1000"/>
                    </a:p>
                  </a:txBody>
                  <a:tcPr>
                    <a:lnL w="19050" cap="flat" cmpd="sng" algn="ctr">
                      <a:solidFill>
                        <a:schemeClr val="tx1"/>
                      </a:solid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rowSpan="10">
                  <a:txBody>
                    <a:bodyPr/>
                    <a:lstStyle/>
                    <a:p>
                      <a:r>
                        <a:rPr kumimoji="1" lang="ja-JP" altLang="en-US" sz="1000">
                          <a:solidFill>
                            <a:schemeClr val="tx1"/>
                          </a:solidFill>
                        </a:rPr>
                        <a:t>モビリティデータの取得と活用</a:t>
                      </a:r>
                      <a:endParaRPr kumimoji="1" lang="en-US" altLang="ja-JP" sz="1000">
                        <a:solidFill>
                          <a:schemeClr val="tx1"/>
                        </a:solidFill>
                      </a:endParaRPr>
                    </a:p>
                    <a:p>
                      <a:endParaRPr kumimoji="1" lang="en-US" altLang="ja-JP" sz="1000">
                        <a:solidFill>
                          <a:schemeClr val="tx1"/>
                        </a:solidFill>
                      </a:endParaRPr>
                    </a:p>
                  </a:txBody>
                  <a:tcPr>
                    <a:lnR w="6350" cap="flat" cmpd="sng" algn="ctr">
                      <a:solidFill>
                        <a:srgbClr val="E4E4E4"/>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r>
                        <a:rPr kumimoji="1" lang="en-US" altLang="ja-JP" sz="1000" dirty="0">
                          <a:solidFill>
                            <a:schemeClr val="tx1"/>
                          </a:solidFill>
                        </a:rPr>
                        <a:t>1.</a:t>
                      </a:r>
                      <a:r>
                        <a:rPr kumimoji="1" lang="ja-JP" altLang="en-US" sz="1000" dirty="0">
                          <a:solidFill>
                            <a:schemeClr val="tx1"/>
                          </a:solidFill>
                        </a:rPr>
                        <a:t>データ活用の全体像</a:t>
                      </a:r>
                    </a:p>
                  </a:txBody>
                  <a:tcPr>
                    <a:lnL w="6350" cap="flat" cmpd="sng" algn="ctr">
                      <a:solidFill>
                        <a:srgbClr val="E4E4E4"/>
                      </a:solidFill>
                      <a:prstDash val="solid"/>
                      <a:round/>
                      <a:headEnd type="none" w="med" len="med"/>
                      <a:tailEnd type="none" w="med" len="med"/>
                    </a:lnL>
                    <a:lnT w="19050" cap="flat" cmpd="sng" algn="ctr">
                      <a:solidFill>
                        <a:schemeClr val="tx1"/>
                      </a:solidFill>
                      <a:prstDash val="solid"/>
                      <a:round/>
                      <a:headEnd type="none" w="med" len="med"/>
                      <a:tailEnd type="none" w="med" len="med"/>
                    </a:lnT>
                    <a:noFill/>
                  </a:tcPr>
                </a:tc>
                <a:tc>
                  <a:txBody>
                    <a:bodyPr/>
                    <a:lstStyle/>
                    <a:p>
                      <a:r>
                        <a:rPr kumimoji="1" lang="ja-JP" altLang="en-US" sz="1000"/>
                        <a:t>提供するサービスの全体像を明確にする</a:t>
                      </a:r>
                      <a:endParaRPr kumimoji="1" lang="en-US" altLang="ja-JP" sz="1000"/>
                    </a:p>
                  </a:txBody>
                  <a:tcPr>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3000664750"/>
                  </a:ext>
                </a:extLst>
              </a:tr>
              <a:tr h="237822">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２</a:t>
                      </a:r>
                      <a:r>
                        <a:rPr kumimoji="1" lang="en-US" altLang="ja-JP" sz="1000" dirty="0">
                          <a:solidFill>
                            <a:schemeClr val="tx1"/>
                          </a:solidFill>
                        </a:rPr>
                        <a:t>.</a:t>
                      </a:r>
                      <a:r>
                        <a:rPr kumimoji="1" lang="ja-JP" altLang="en-US" sz="1000" dirty="0">
                          <a:solidFill>
                            <a:schemeClr val="tx1"/>
                          </a:solidFill>
                        </a:rPr>
                        <a:t>実証仮説</a:t>
                      </a:r>
                    </a:p>
                  </a:txBody>
                  <a:tcPr>
                    <a:lnL w="6350" cap="flat" cmpd="sng" algn="ctr">
                      <a:solidFill>
                        <a:srgbClr val="E4E4E4"/>
                      </a:solidFill>
                      <a:prstDash val="solid"/>
                      <a:round/>
                      <a:headEnd type="none" w="med" len="med"/>
                      <a:tailEnd type="none" w="med" len="med"/>
                    </a:lnL>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00"/>
                        <a:t>実証の前提条件や期待される結果を定義する</a:t>
                      </a:r>
                      <a:endParaRPr kumimoji="1" lang="en-US" altLang="ja-JP" sz="1000"/>
                    </a:p>
                  </a:txBody>
                  <a:tcPr>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4187408296"/>
                  </a:ext>
                </a:extLst>
              </a:tr>
              <a:tr h="237822">
                <a:tc vMerge="1">
                  <a:txBody>
                    <a:bodyPr/>
                    <a:lstStyle/>
                    <a:p>
                      <a:endParaRPr/>
                    </a:p>
                  </a:txBody>
                  <a:tcPr>
                    <a:lnT w="12700" cap="flat" cmpd="sng" algn="ctr">
                      <a:solidFill>
                        <a:schemeClr val="tx1"/>
                      </a:solidFill>
                      <a:prstDash val="solid"/>
                      <a:round/>
                      <a:headEnd type="none" w="med" len="med"/>
                      <a:tailEnd type="none" w="med" len="med"/>
                    </a:lnT>
                    <a:solidFill>
                      <a:schemeClr val="bg1"/>
                    </a:solidFill>
                  </a:tcPr>
                </a:tc>
                <a:tc vMerge="1">
                  <a:txBody>
                    <a:bodyPr/>
                    <a:lstStyle/>
                    <a:p>
                      <a:endParaRPr kumimoji="1" lang="ja-JP" altLang="en-US" sz="1000"/>
                    </a:p>
                  </a:txBody>
                  <a:tcPr>
                    <a:lnT w="12700" cap="flat" cmpd="sng" algn="ctr">
                      <a:solidFill>
                        <a:schemeClr val="tx1"/>
                      </a:solidFill>
                      <a:prstDash val="solid"/>
                      <a:round/>
                      <a:headEnd type="none" w="med" len="med"/>
                      <a:tailEnd type="none" w="med" len="med"/>
                    </a:lnT>
                    <a:solidFill>
                      <a:schemeClr val="bg1"/>
                    </a:solidFill>
                  </a:tcPr>
                </a:tc>
                <a:tc>
                  <a:txBody>
                    <a:bodyPr/>
                    <a:lstStyle/>
                    <a:p>
                      <a:r>
                        <a:rPr kumimoji="1" lang="ja-JP" altLang="en-US" sz="1000" dirty="0">
                          <a:solidFill>
                            <a:schemeClr val="tx1"/>
                          </a:solidFill>
                        </a:rPr>
                        <a:t>３</a:t>
                      </a:r>
                      <a:r>
                        <a:rPr kumimoji="1" lang="en-US" altLang="ja-JP" sz="1000" dirty="0">
                          <a:solidFill>
                            <a:schemeClr val="tx1"/>
                          </a:solidFill>
                        </a:rPr>
                        <a:t>.</a:t>
                      </a:r>
                      <a:r>
                        <a:rPr kumimoji="1" lang="ja-JP" altLang="en-US" sz="1000" dirty="0">
                          <a:solidFill>
                            <a:schemeClr val="tx1"/>
                          </a:solidFill>
                        </a:rPr>
                        <a:t>スコープ詳細</a:t>
                      </a:r>
                    </a:p>
                  </a:txBody>
                  <a:tcPr>
                    <a:lnL w="6350" cap="flat" cmpd="sng" algn="ctr">
                      <a:solidFill>
                        <a:srgbClr val="E4E4E4"/>
                      </a:solidFill>
                      <a:prstDash val="solid"/>
                      <a:round/>
                      <a:headEnd type="none" w="med" len="med"/>
                      <a:tailEnd type="none" w="med" len="med"/>
                    </a:lnL>
                    <a:noFill/>
                  </a:tcPr>
                </a:tc>
                <a:tc>
                  <a:txBody>
                    <a:bodyPr/>
                    <a:lstStyle/>
                    <a:p>
                      <a:r>
                        <a:rPr kumimoji="1" lang="ja-JP" altLang="en-US" sz="1000"/>
                        <a:t>スコープ単位で実施する内容を明確にする</a:t>
                      </a:r>
                    </a:p>
                  </a:txBody>
                  <a:tcPr>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871575238"/>
                  </a:ext>
                </a:extLst>
              </a:tr>
              <a:tr h="237822">
                <a:tc vMerge="1">
                  <a:txBody>
                    <a:bodyPr/>
                    <a:lstStyle/>
                    <a:p>
                      <a:endParaRPr/>
                    </a:p>
                  </a:txBody>
                  <a:tcPr>
                    <a:lnT w="19050" cap="flat" cmpd="sng" algn="ctr">
                      <a:solidFill>
                        <a:schemeClr val="tx1"/>
                      </a:solidFill>
                      <a:prstDash val="solid"/>
                      <a:round/>
                      <a:headEnd type="none" w="med" len="med"/>
                      <a:tailEnd type="none" w="med" len="med"/>
                    </a:lnT>
                    <a:solidFill>
                      <a:schemeClr val="bg1"/>
                    </a:solidFill>
                  </a:tcPr>
                </a:tc>
                <a:tc vMerge="1">
                  <a:txBody>
                    <a:bodyPr/>
                    <a:lstStyle/>
                    <a:p>
                      <a:endParaRPr kumimoji="1" lang="ja-JP" altLang="en-US" sz="1000"/>
                    </a:p>
                  </a:txBody>
                  <a:tcPr>
                    <a:lnT w="19050" cap="flat" cmpd="sng" algn="ctr">
                      <a:solidFill>
                        <a:schemeClr val="tx1"/>
                      </a:solidFill>
                      <a:prstDash val="solid"/>
                      <a:round/>
                      <a:headEnd type="none" w="med" len="med"/>
                      <a:tailEnd type="none" w="med" len="med"/>
                    </a:lnT>
                    <a:solidFill>
                      <a:schemeClr val="bg1"/>
                    </a:solidFill>
                  </a:tcPr>
                </a:tc>
                <a:tc>
                  <a:txBody>
                    <a:bodyPr/>
                    <a:lstStyle/>
                    <a:p>
                      <a:r>
                        <a:rPr kumimoji="1" lang="ja-JP" altLang="en-US" sz="1000" dirty="0"/>
                        <a:t>４</a:t>
                      </a:r>
                      <a:r>
                        <a:rPr kumimoji="1" lang="en-US" altLang="ja-JP" sz="1000" dirty="0"/>
                        <a:t>.</a:t>
                      </a:r>
                      <a:r>
                        <a:rPr kumimoji="1" lang="ja-JP" altLang="en-US" sz="1000" dirty="0"/>
                        <a:t>データ活用実施エリア</a:t>
                      </a:r>
                    </a:p>
                  </a:txBody>
                  <a:tcPr>
                    <a:lnL w="6350" cap="flat" cmpd="sng" algn="ctr">
                      <a:solidFill>
                        <a:srgbClr val="E4E4E4"/>
                      </a:solidFill>
                      <a:prstDash val="solid"/>
                      <a:round/>
                      <a:headEnd type="none" w="med" len="med"/>
                      <a:tailEnd type="none" w="med" len="med"/>
                    </a:lnL>
                    <a:noFill/>
                  </a:tcPr>
                </a:tc>
                <a:tc>
                  <a:txBody>
                    <a:bodyPr/>
                    <a:lstStyle/>
                    <a:p>
                      <a:r>
                        <a:rPr kumimoji="1" lang="ja-JP" altLang="en-US" sz="1000"/>
                        <a:t>データ活用を実施する具体的な地域や範囲を特定する</a:t>
                      </a:r>
                    </a:p>
                  </a:txBody>
                  <a:tcPr>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1173715988"/>
                  </a:ext>
                </a:extLst>
              </a:tr>
              <a:tr h="237822">
                <a:tc vMerge="1">
                  <a:txBody>
                    <a:bodyPr/>
                    <a:lstStyle/>
                    <a:p>
                      <a:endParaRPr/>
                    </a:p>
                  </a:txBody>
                  <a:tcPr>
                    <a:solidFill>
                      <a:schemeClr val="bg1"/>
                    </a:solidFill>
                  </a:tcPr>
                </a:tc>
                <a:tc vMerge="1">
                  <a:txBody>
                    <a:bodyPr/>
                    <a:lstStyle/>
                    <a:p>
                      <a:endParaRPr kumimoji="1" lang="ja-JP" altLang="en-US" sz="1000"/>
                    </a:p>
                  </a:txBody>
                  <a:tcPr>
                    <a:solidFill>
                      <a:schemeClr val="bg1"/>
                    </a:solidFill>
                  </a:tcPr>
                </a:tc>
                <a:tc>
                  <a:txBody>
                    <a:bodyPr/>
                    <a:lstStyle/>
                    <a:p>
                      <a:r>
                        <a:rPr kumimoji="1" lang="en-US" altLang="ja-JP" sz="1000" dirty="0"/>
                        <a:t>5.</a:t>
                      </a:r>
                      <a:r>
                        <a:rPr kumimoji="1" lang="ja-JP" altLang="en-US" sz="1000" dirty="0"/>
                        <a:t>アーキテクチャ全体図</a:t>
                      </a:r>
                    </a:p>
                  </a:txBody>
                  <a:tcPr>
                    <a:lnL w="6350" cap="flat" cmpd="sng" algn="ctr">
                      <a:solidFill>
                        <a:srgbClr val="E4E4E4"/>
                      </a:solidFill>
                      <a:prstDash val="solid"/>
                      <a:round/>
                      <a:headEnd type="none" w="med" len="med"/>
                      <a:tailEnd type="none" w="med" len="med"/>
                    </a:lnL>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00"/>
                        <a:t>システム全体の構造を視覚的に示し、各コンポーネントの相互関係を明確にする</a:t>
                      </a:r>
                    </a:p>
                  </a:txBody>
                  <a:tcPr>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1657409"/>
                  </a:ext>
                </a:extLst>
              </a:tr>
              <a:tr h="237822">
                <a:tc vMerge="1">
                  <a:txBody>
                    <a:bodyPr/>
                    <a:lstStyle/>
                    <a:p>
                      <a:endParaRPr kumimoji="1" lang="ja-JP" altLang="en-US"/>
                    </a:p>
                  </a:txBody>
                  <a:tcPr/>
                </a:tc>
                <a:tc vMerge="1">
                  <a:txBody>
                    <a:bodyPr/>
                    <a:lstStyle/>
                    <a:p>
                      <a:endParaRPr kumimoji="1" lang="ja-JP" altLang="en-US"/>
                    </a:p>
                  </a:txBody>
                  <a:tcPr/>
                </a:tc>
                <a:tc>
                  <a:txBody>
                    <a:bodyPr/>
                    <a:lstStyle/>
                    <a:p>
                      <a:r>
                        <a:rPr kumimoji="1" lang="en-US" altLang="ja-JP" sz="1000" dirty="0"/>
                        <a:t>6.</a:t>
                      </a:r>
                      <a:r>
                        <a:rPr kumimoji="1" lang="ja-JP" altLang="en-US" sz="1000" dirty="0"/>
                        <a:t>ハードウェアアーキテクチャ</a:t>
                      </a:r>
                      <a:endParaRPr kumimoji="1" lang="ja-JP" altLang="en-US" sz="1000" dirty="0">
                        <a:solidFill>
                          <a:srgbClr val="C00000"/>
                        </a:solidFill>
                      </a:endParaRPr>
                    </a:p>
                  </a:txBody>
                  <a:tcPr>
                    <a:lnL w="6350" cap="flat" cmpd="sng" algn="ctr">
                      <a:solidFill>
                        <a:srgbClr val="E4E4E4"/>
                      </a:solidFill>
                      <a:prstDash val="solid"/>
                      <a:round/>
                      <a:headEnd type="none" w="med" len="med"/>
                      <a:tailEnd type="none" w="med" len="med"/>
                    </a:lnL>
                    <a:noFill/>
                  </a:tcPr>
                </a:tc>
                <a:tc>
                  <a:txBody>
                    <a:bodyPr/>
                    <a:lstStyle/>
                    <a:p>
                      <a:r>
                        <a:rPr kumimoji="1" lang="ja-JP" altLang="en-US" sz="1000" dirty="0"/>
                        <a:t>システム全体において稼働するデバイスやインフラを説明する</a:t>
                      </a:r>
                      <a:endParaRPr kumimoji="1" lang="en-US" altLang="ja-JP" sz="1000" dirty="0"/>
                    </a:p>
                  </a:txBody>
                  <a:tcPr>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866047000"/>
                  </a:ext>
                </a:extLst>
              </a:tr>
              <a:tr h="237822">
                <a:tc vMerge="1">
                  <a:txBody>
                    <a:bodyPr/>
                    <a:lstStyle/>
                    <a:p>
                      <a:endParaRPr kumimoji="1" lang="ja-JP" altLang="en-US"/>
                    </a:p>
                  </a:txBody>
                  <a:tcPr>
                    <a:lnT w="19050" cap="flat" cmpd="sng" algn="ctr">
                      <a:solidFill>
                        <a:schemeClr val="tx1"/>
                      </a:solidFill>
                      <a:prstDash val="solid"/>
                      <a:round/>
                      <a:headEnd type="none" w="med" len="med"/>
                      <a:tailEnd type="none" w="med" len="med"/>
                    </a:lnT>
                  </a:tcPr>
                </a:tc>
                <a:tc vMerge="1">
                  <a:txBody>
                    <a:bodyPr/>
                    <a:lstStyle/>
                    <a:p>
                      <a:endParaRPr kumimoji="1" lang="ja-JP" altLang="en-US"/>
                    </a:p>
                  </a:txBody>
                  <a:tcPr>
                    <a:lnT w="19050" cap="flat" cmpd="sng" algn="ctr">
                      <a:solidFill>
                        <a:schemeClr val="tx1"/>
                      </a:solidFill>
                      <a:prstDash val="solid"/>
                      <a:round/>
                      <a:headEnd type="none" w="med" len="med"/>
                      <a:tailEnd type="none" w="med" len="med"/>
                    </a:lnT>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７．利用する技術要素</a:t>
                      </a:r>
                      <a:endParaRPr kumimoji="1" lang="en-US" altLang="ja-JP" sz="1000" dirty="0">
                        <a:solidFill>
                          <a:schemeClr val="tx1"/>
                        </a:solidFill>
                      </a:endParaRPr>
                    </a:p>
                  </a:txBody>
                  <a:tcPr>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00" dirty="0"/>
                        <a:t>システム開発において使用する技術スタックやツールを明示、各機能を説明する</a:t>
                      </a:r>
                    </a:p>
                  </a:txBody>
                  <a:tcPr>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827228097"/>
                  </a:ext>
                </a:extLst>
              </a:tr>
              <a:tr h="237822">
                <a:tc vMerge="1">
                  <a:txBody>
                    <a:bodyPr/>
                    <a:lstStyle/>
                    <a:p>
                      <a:endParaRPr kumimoji="1" lang="ja-JP" altLang="en-US"/>
                    </a:p>
                  </a:txBody>
                  <a:tcPr/>
                </a:tc>
                <a:tc vMerge="1">
                  <a:txBody>
                    <a:bodyPr/>
                    <a:lstStyle/>
                    <a:p>
                      <a:endParaRPr kumimoji="1" lang="ja-JP" altLang="en-US"/>
                    </a:p>
                  </a:txBody>
                  <a:tcPr/>
                </a:tc>
                <a:tc>
                  <a:txBody>
                    <a:bodyPr/>
                    <a:lstStyle/>
                    <a:p>
                      <a:r>
                        <a:rPr kumimoji="1" lang="ja-JP" altLang="en-US" sz="1000" dirty="0">
                          <a:solidFill>
                            <a:schemeClr val="tx1"/>
                          </a:solidFill>
                        </a:rPr>
                        <a:t>８．利用するデータ一覧</a:t>
                      </a:r>
                      <a:endParaRPr kumimoji="1" lang="en-US" altLang="ja-JP" sz="1000" dirty="0">
                        <a:solidFill>
                          <a:schemeClr val="tx1"/>
                        </a:solidFill>
                      </a:endParaRPr>
                    </a:p>
                  </a:txBody>
                  <a:tcPr>
                    <a:lnL w="6350" cap="flat" cmpd="sng" algn="ctr">
                      <a:solidFill>
                        <a:srgbClr val="E4E4E4"/>
                      </a:solidFill>
                      <a:prstDash val="solid"/>
                      <a:round/>
                      <a:headEnd type="none" w="med" len="med"/>
                      <a:tailEnd type="none" w="med" len="med"/>
                    </a:lnL>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00" dirty="0"/>
                        <a:t>システムで使用する全てのデータソースをリストアップし、その利用方法を説明する</a:t>
                      </a:r>
                    </a:p>
                  </a:txBody>
                  <a:tcPr>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3507058599"/>
                  </a:ext>
                </a:extLst>
              </a:tr>
              <a:tr h="237822">
                <a:tc vMerge="1">
                  <a:txBody>
                    <a:bodyPr/>
                    <a:lstStyle/>
                    <a:p>
                      <a:endParaRPr kumimoji="1" lang="ja-JP" altLang="en-US"/>
                    </a:p>
                  </a:txBody>
                  <a:tcPr/>
                </a:tc>
                <a:tc vMerge="1">
                  <a:txBody>
                    <a:bodyPr/>
                    <a:lstStyle/>
                    <a:p>
                      <a:endParaRPr kumimoji="1" lang="ja-JP" altLang="en-US"/>
                    </a:p>
                  </a:txBody>
                  <a:tcPr/>
                </a:tc>
                <a:tc>
                  <a:txBody>
                    <a:bodyPr/>
                    <a:lstStyle/>
                    <a:p>
                      <a:r>
                        <a:rPr kumimoji="1" lang="ja-JP" altLang="en-US" sz="1000" dirty="0">
                          <a:solidFill>
                            <a:schemeClr val="tx1"/>
                          </a:solidFill>
                        </a:rPr>
                        <a:t>９．ユーザインタフェース</a:t>
                      </a:r>
                      <a:endParaRPr kumimoji="1" lang="en-US" altLang="ja-JP" sz="1000" dirty="0">
                        <a:solidFill>
                          <a:schemeClr val="tx1"/>
                        </a:solidFill>
                      </a:endParaRPr>
                    </a:p>
                  </a:txBody>
                  <a:tcPr>
                    <a:lnL w="6350" cap="flat" cmpd="sng" algn="ctr">
                      <a:solidFill>
                        <a:srgbClr val="E4E4E4"/>
                      </a:solidFill>
                      <a:prstDash val="solid"/>
                      <a:round/>
                      <a:headEnd type="none" w="med" len="med"/>
                      <a:tailEnd type="none" w="med" len="med"/>
                    </a:lnL>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00" dirty="0"/>
                        <a:t>ユーザーがシステムを操作するためのインターフェースの設計方針とその具体的な構成要素を示す</a:t>
                      </a:r>
                    </a:p>
                  </a:txBody>
                  <a:tcPr>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1970593812"/>
                  </a:ext>
                </a:extLst>
              </a:tr>
              <a:tr h="237822">
                <a:tc vMerge="1">
                  <a:txBody>
                    <a:bodyPr/>
                    <a:lstStyle/>
                    <a:p>
                      <a:endParaRPr/>
                    </a:p>
                  </a:txBody>
                  <a:tcPr>
                    <a:solidFill>
                      <a:schemeClr val="bg1"/>
                    </a:solidFill>
                  </a:tcPr>
                </a:tc>
                <a:tc vMerge="1">
                  <a:txBody>
                    <a:bodyPr/>
                    <a:lstStyle/>
                    <a:p>
                      <a:endParaRPr kumimoji="1" lang="ja-JP" altLang="en-US" sz="1000"/>
                    </a:p>
                  </a:txBody>
                  <a:tcPr>
                    <a:solidFill>
                      <a:schemeClr val="bg1"/>
                    </a:solidFill>
                  </a:tcPr>
                </a:tc>
                <a:tc>
                  <a:txBody>
                    <a:bodyPr/>
                    <a:lstStyle/>
                    <a:p>
                      <a:r>
                        <a:rPr kumimoji="1" lang="ja-JP" altLang="en-US" sz="1000" dirty="0">
                          <a:solidFill>
                            <a:schemeClr val="tx1"/>
                          </a:solidFill>
                        </a:rPr>
                        <a:t>１０．事業の推進体制</a:t>
                      </a:r>
                      <a:endParaRPr kumimoji="1" lang="en-US" altLang="ja-JP" sz="1000" dirty="0">
                        <a:solidFill>
                          <a:schemeClr val="tx1"/>
                        </a:solidFill>
                      </a:endParaRPr>
                    </a:p>
                  </a:txBody>
                  <a:tcPr>
                    <a:lnL w="6350" cap="flat" cmpd="sng" algn="ctr">
                      <a:solidFill>
                        <a:srgbClr val="E4E4E4"/>
                      </a:solidFill>
                      <a:prstDash val="solid"/>
                      <a:round/>
                      <a:headEnd type="none" w="med" len="med"/>
                      <a:tailEnd type="none" w="med" len="med"/>
                    </a:lnL>
                    <a:lnB w="19050" cap="flat" cmpd="sng" algn="ctr">
                      <a:solidFill>
                        <a:schemeClr val="tx1"/>
                      </a:solidFill>
                      <a:prstDash val="solid"/>
                      <a:round/>
                      <a:headEnd type="none" w="med" len="med"/>
                      <a:tailEnd type="none" w="med" len="med"/>
                    </a:lnB>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00" dirty="0"/>
                        <a:t>事業に関与する主要な関係者を特定し、役割を明確にする</a:t>
                      </a:r>
                    </a:p>
                  </a:txBody>
                  <a:tcPr>
                    <a:lnR w="19050" cap="flat" cmpd="sng" algn="ctr">
                      <a:solidFill>
                        <a:schemeClr val="tx1"/>
                      </a:solidFill>
                      <a:prstDash val="solid"/>
                      <a:round/>
                      <a:headEnd type="none" w="med" len="med"/>
                      <a:tailEnd type="none" w="med" len="med"/>
                    </a:lnR>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37948930"/>
                  </a:ext>
                </a:extLst>
              </a:tr>
              <a:tr h="237822">
                <a:tc rowSpan="9">
                  <a:txBody>
                    <a:bodyPr/>
                    <a:lstStyle/>
                    <a:p>
                      <a:r>
                        <a:rPr kumimoji="1" lang="en-US" altLang="ja-JP" sz="1000"/>
                        <a:t>Ⅳ</a:t>
                      </a:r>
                    </a:p>
                  </a:txBody>
                  <a:tcPr>
                    <a:lnL w="19050" cap="flat" cmpd="sng" algn="ctr">
                      <a:solidFill>
                        <a:schemeClr val="tx1"/>
                      </a:solid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rowSpan="9">
                  <a:txBody>
                    <a:bodyPr/>
                    <a:lstStyle/>
                    <a:p>
                      <a:r>
                        <a:rPr kumimoji="1" lang="ja-JP" altLang="en-US" sz="1000"/>
                        <a:t>エンドコンテンツとの連携</a:t>
                      </a:r>
                    </a:p>
                  </a:txBody>
                  <a:tcPr>
                    <a:lnR w="6350" cap="flat" cmpd="sng" algn="ctr">
                      <a:solidFill>
                        <a:srgbClr val="E4E4E4"/>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r>
                        <a:rPr kumimoji="1" lang="en-US" altLang="ja-JP" sz="1000">
                          <a:solidFill>
                            <a:schemeClr val="tx1"/>
                          </a:solidFill>
                        </a:rPr>
                        <a:t>1.</a:t>
                      </a:r>
                      <a:r>
                        <a:rPr kumimoji="1" lang="ja-JP" altLang="en-US" sz="1000">
                          <a:solidFill>
                            <a:schemeClr val="tx1"/>
                          </a:solidFill>
                        </a:rPr>
                        <a:t>サービス全体像</a:t>
                      </a:r>
                    </a:p>
                  </a:txBody>
                  <a:tcPr>
                    <a:lnL w="6350" cap="flat" cmpd="sng" algn="ctr">
                      <a:solidFill>
                        <a:srgbClr val="E4E4E4"/>
                      </a:solidFill>
                      <a:prstDash val="solid"/>
                      <a:round/>
                      <a:headEnd type="none" w="med" len="med"/>
                      <a:tailEnd type="none" w="med" len="med"/>
                    </a:lnL>
                    <a:lnT w="19050" cap="flat" cmpd="sng" algn="ctr">
                      <a:solidFill>
                        <a:schemeClr val="tx1"/>
                      </a:solidFill>
                      <a:prstDash val="solid"/>
                      <a:round/>
                      <a:headEnd type="none" w="med" len="med"/>
                      <a:tailEnd type="none" w="med" len="med"/>
                    </a:lnT>
                    <a:noFill/>
                  </a:tcPr>
                </a:tc>
                <a:tc>
                  <a:txBody>
                    <a:bodyPr/>
                    <a:lstStyle/>
                    <a:p>
                      <a:r>
                        <a:rPr kumimoji="1" lang="ja-JP" altLang="en-US" sz="1000"/>
                        <a:t>提供するサービスの全体像を明確にする</a:t>
                      </a:r>
                      <a:endParaRPr kumimoji="1" lang="en-US" altLang="ja-JP" sz="1000"/>
                    </a:p>
                  </a:txBody>
                  <a:tcPr>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4270378454"/>
                  </a:ext>
                </a:extLst>
              </a:tr>
              <a:tr h="237822">
                <a:tc vMerge="1">
                  <a:txBody>
                    <a:bodyPr/>
                    <a:lstStyle/>
                    <a:p>
                      <a:endParaRPr/>
                    </a:p>
                  </a:txBody>
                  <a:tcPr>
                    <a:solidFill>
                      <a:schemeClr val="bg1"/>
                    </a:solidFill>
                  </a:tcPr>
                </a:tc>
                <a:tc vMerge="1">
                  <a:txBody>
                    <a:bodyPr/>
                    <a:lstStyle/>
                    <a:p>
                      <a:endParaRPr kumimoji="1" lang="ja-JP" altLang="en-US" sz="1000"/>
                    </a:p>
                  </a:txBody>
                  <a:tcPr>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00">
                          <a:solidFill>
                            <a:schemeClr val="tx1"/>
                          </a:solidFill>
                        </a:rPr>
                        <a:t>２</a:t>
                      </a:r>
                      <a:r>
                        <a:rPr kumimoji="1" lang="en-US" altLang="ja-JP" sz="1000">
                          <a:solidFill>
                            <a:schemeClr val="tx1"/>
                          </a:solidFill>
                        </a:rPr>
                        <a:t>.</a:t>
                      </a:r>
                      <a:r>
                        <a:rPr kumimoji="1" lang="ja-JP" altLang="en-US" sz="1000">
                          <a:solidFill>
                            <a:schemeClr val="tx1"/>
                          </a:solidFill>
                        </a:rPr>
                        <a:t>実証仮説</a:t>
                      </a:r>
                    </a:p>
                  </a:txBody>
                  <a:tcPr>
                    <a:lnL w="6350" cap="flat" cmpd="sng" algn="ctr">
                      <a:solidFill>
                        <a:srgbClr val="E4E4E4"/>
                      </a:solidFill>
                      <a:prstDash val="solid"/>
                      <a:round/>
                      <a:headEnd type="none" w="med" len="med"/>
                      <a:tailEnd type="none" w="med" len="med"/>
                    </a:lnL>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00"/>
                        <a:t>実証の前提条件や期待される結果を定義する</a:t>
                      </a:r>
                      <a:endParaRPr kumimoji="1" lang="en-US" altLang="ja-JP" sz="1000"/>
                    </a:p>
                  </a:txBody>
                  <a:tcPr>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869051808"/>
                  </a:ext>
                </a:extLst>
              </a:tr>
              <a:tr h="237822">
                <a:tc vMerge="1">
                  <a:txBody>
                    <a:bodyPr/>
                    <a:lstStyle/>
                    <a:p>
                      <a:endParaRPr kumimoji="1" lang="ja-JP" altLang="en-US"/>
                    </a:p>
                  </a:txBody>
                  <a:tcPr/>
                </a:tc>
                <a:tc vMerge="1">
                  <a:txBody>
                    <a:bodyPr/>
                    <a:lstStyle/>
                    <a:p>
                      <a:endParaRPr kumimoji="1" lang="ja-JP" altLang="en-US"/>
                    </a:p>
                  </a:txBody>
                  <a:tcPr/>
                </a:tc>
                <a:tc>
                  <a:txBody>
                    <a:bodyPr/>
                    <a:lstStyle/>
                    <a:p>
                      <a:r>
                        <a:rPr kumimoji="1" lang="ja-JP" altLang="en-US" sz="1000">
                          <a:solidFill>
                            <a:schemeClr val="tx1"/>
                          </a:solidFill>
                        </a:rPr>
                        <a:t>３</a:t>
                      </a:r>
                      <a:r>
                        <a:rPr kumimoji="1" lang="en-US" altLang="ja-JP" sz="1000">
                          <a:solidFill>
                            <a:schemeClr val="tx1"/>
                          </a:solidFill>
                        </a:rPr>
                        <a:t>.</a:t>
                      </a:r>
                      <a:r>
                        <a:rPr kumimoji="1" lang="ja-JP" altLang="en-US" sz="1000">
                          <a:solidFill>
                            <a:schemeClr val="tx1"/>
                          </a:solidFill>
                        </a:rPr>
                        <a:t>スコープ詳細</a:t>
                      </a:r>
                    </a:p>
                  </a:txBody>
                  <a:tcPr>
                    <a:lnL w="6350" cap="flat" cmpd="sng" algn="ctr">
                      <a:solidFill>
                        <a:srgbClr val="E4E4E4"/>
                      </a:solidFill>
                      <a:prstDash val="solid"/>
                      <a:round/>
                      <a:headEnd type="none" w="med" len="med"/>
                      <a:tailEnd type="none" w="med" len="med"/>
                    </a:lnL>
                    <a:noFill/>
                  </a:tcPr>
                </a:tc>
                <a:tc>
                  <a:txBody>
                    <a:bodyPr/>
                    <a:lstStyle/>
                    <a:p>
                      <a:r>
                        <a:rPr kumimoji="1" lang="ja-JP" altLang="en-US" sz="1000"/>
                        <a:t>スコープ単位で実施する内容を明確にする</a:t>
                      </a:r>
                    </a:p>
                  </a:txBody>
                  <a:tcPr>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592137047"/>
                  </a:ext>
                </a:extLst>
              </a:tr>
              <a:tr h="237822">
                <a:tc vMerge="1">
                  <a:txBody>
                    <a:bodyPr/>
                    <a:lstStyle/>
                    <a:p>
                      <a:endParaRPr kumimoji="1" lang="ja-JP" altLang="en-US"/>
                    </a:p>
                  </a:txBody>
                  <a:tcPr/>
                </a:tc>
                <a:tc vMerge="1">
                  <a:txBody>
                    <a:bodyPr/>
                    <a:lstStyle/>
                    <a:p>
                      <a:endParaRPr kumimoji="1" lang="ja-JP" altLang="en-US"/>
                    </a:p>
                  </a:txBody>
                  <a:tcPr/>
                </a:tc>
                <a:tc>
                  <a:txBody>
                    <a:bodyPr/>
                    <a:lstStyle/>
                    <a:p>
                      <a:r>
                        <a:rPr kumimoji="1" lang="en-US" altLang="ja-JP" sz="1000"/>
                        <a:t>4.</a:t>
                      </a:r>
                      <a:r>
                        <a:rPr kumimoji="1" lang="ja-JP" altLang="en-US" sz="1000"/>
                        <a:t>プロジェクト実施エリア</a:t>
                      </a:r>
                    </a:p>
                  </a:txBody>
                  <a:tcPr>
                    <a:lnL w="6350" cap="flat" cmpd="sng" algn="ctr">
                      <a:solidFill>
                        <a:srgbClr val="E4E4E4"/>
                      </a:solidFill>
                      <a:prstDash val="solid"/>
                      <a:round/>
                      <a:headEnd type="none" w="med" len="med"/>
                      <a:tailEnd type="none" w="med" len="med"/>
                    </a:lnL>
                    <a:noFill/>
                  </a:tcPr>
                </a:tc>
                <a:tc>
                  <a:txBody>
                    <a:bodyPr/>
                    <a:lstStyle/>
                    <a:p>
                      <a:r>
                        <a:rPr kumimoji="1" lang="ja-JP" altLang="en-US" sz="1000"/>
                        <a:t>実証を行う具体的な地域や範囲を特定する</a:t>
                      </a:r>
                    </a:p>
                  </a:txBody>
                  <a:tcPr>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1456758591"/>
                  </a:ext>
                </a:extLst>
              </a:tr>
              <a:tr h="237822">
                <a:tc vMerge="1">
                  <a:txBody>
                    <a:bodyPr/>
                    <a:lstStyle/>
                    <a:p>
                      <a:endParaRPr kumimoji="1" lang="ja-JP" altLang="en-US"/>
                    </a:p>
                  </a:txBody>
                  <a:tcPr/>
                </a:tc>
                <a:tc vMerge="1">
                  <a:txBody>
                    <a:bodyPr/>
                    <a:lstStyle/>
                    <a:p>
                      <a:endParaRPr kumimoji="1" lang="ja-JP" altLang="en-US"/>
                    </a:p>
                  </a:txBody>
                  <a:tcPr/>
                </a:tc>
                <a:tc>
                  <a:txBody>
                    <a:bodyPr/>
                    <a:lstStyle/>
                    <a:p>
                      <a:r>
                        <a:rPr kumimoji="1" lang="en-US" altLang="ja-JP" sz="1000" dirty="0"/>
                        <a:t>5.</a:t>
                      </a:r>
                      <a:r>
                        <a:rPr kumimoji="1" lang="ja-JP" altLang="en-US" sz="1000" dirty="0"/>
                        <a:t>アーキテクチャ全体図</a:t>
                      </a:r>
                    </a:p>
                  </a:txBody>
                  <a:tcPr>
                    <a:lnL w="6350" cap="flat" cmpd="sng" algn="ctr">
                      <a:solidFill>
                        <a:srgbClr val="E4E4E4"/>
                      </a:solidFill>
                      <a:prstDash val="solid"/>
                      <a:round/>
                      <a:headEnd type="none" w="med" len="med"/>
                      <a:tailEnd type="none" w="med" len="med"/>
                    </a:lnL>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00"/>
                        <a:t>システム全体の構造を視覚的に示し、各コンポーネントの相互関係を明確にする</a:t>
                      </a:r>
                    </a:p>
                  </a:txBody>
                  <a:tcPr>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423254043"/>
                  </a:ext>
                </a:extLst>
              </a:tr>
              <a:tr h="237822">
                <a:tc vMerge="1">
                  <a:txBody>
                    <a:bodyPr/>
                    <a:lstStyle/>
                    <a:p>
                      <a:endParaRPr kumimoji="1" lang="ja-JP" altLang="en-US"/>
                    </a:p>
                  </a:txBody>
                  <a:tcPr/>
                </a:tc>
                <a:tc vMerge="1">
                  <a:txBody>
                    <a:bodyPr/>
                    <a:lstStyle/>
                    <a:p>
                      <a:endParaRPr kumimoji="1" lang="ja-JP" altLang="en-US"/>
                    </a:p>
                  </a:txBody>
                  <a:tcPr/>
                </a:tc>
                <a:tc>
                  <a:txBody>
                    <a:bodyPr/>
                    <a:lstStyle/>
                    <a:p>
                      <a:r>
                        <a:rPr kumimoji="1" lang="en-US" altLang="ja-JP" sz="1000" dirty="0"/>
                        <a:t>6.</a:t>
                      </a:r>
                      <a:r>
                        <a:rPr kumimoji="1" lang="ja-JP" altLang="en-US" sz="1000" dirty="0"/>
                        <a:t>ハードウェアアーキテクチャ</a:t>
                      </a:r>
                      <a:endParaRPr kumimoji="1" lang="ja-JP" altLang="en-US" sz="1000" dirty="0">
                        <a:solidFill>
                          <a:srgbClr val="C00000"/>
                        </a:solidFill>
                      </a:endParaRPr>
                    </a:p>
                  </a:txBody>
                  <a:tcPr>
                    <a:lnL w="6350" cap="flat" cmpd="sng" algn="ctr">
                      <a:solidFill>
                        <a:srgbClr val="E4E4E4"/>
                      </a:solidFill>
                      <a:prstDash val="solid"/>
                      <a:round/>
                      <a:headEnd type="none" w="med" len="med"/>
                      <a:tailEnd type="none" w="med" len="med"/>
                    </a:lnL>
                    <a:noFill/>
                  </a:tcPr>
                </a:tc>
                <a:tc>
                  <a:txBody>
                    <a:bodyPr/>
                    <a:lstStyle/>
                    <a:p>
                      <a:r>
                        <a:rPr kumimoji="1" lang="ja-JP" altLang="en-US" sz="1000" dirty="0"/>
                        <a:t>システム全体において稼働するデバイスやインフラを説明する</a:t>
                      </a:r>
                      <a:endParaRPr kumimoji="1" lang="en-US" altLang="ja-JP" sz="1000" dirty="0"/>
                    </a:p>
                  </a:txBody>
                  <a:tcPr>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379518410"/>
                  </a:ext>
                </a:extLst>
              </a:tr>
              <a:tr h="237822">
                <a:tc vMerge="1">
                  <a:txBody>
                    <a:bodyPr/>
                    <a:lstStyle/>
                    <a:p>
                      <a:endParaRPr kumimoji="1" lang="ja-JP" altLang="en-US"/>
                    </a:p>
                  </a:txBody>
                  <a:tcPr>
                    <a:lnT w="19050" cap="flat" cmpd="sng" algn="ctr">
                      <a:solidFill>
                        <a:schemeClr val="tx1"/>
                      </a:solidFill>
                      <a:prstDash val="solid"/>
                      <a:round/>
                      <a:headEnd type="none" w="med" len="med"/>
                      <a:tailEnd type="none" w="med" len="med"/>
                    </a:lnT>
                  </a:tcPr>
                </a:tc>
                <a:tc vMerge="1">
                  <a:txBody>
                    <a:bodyPr/>
                    <a:lstStyle/>
                    <a:p>
                      <a:endParaRPr kumimoji="1" lang="ja-JP" altLang="en-US"/>
                    </a:p>
                  </a:txBody>
                  <a:tcPr>
                    <a:lnT w="19050" cap="flat" cmpd="sng" algn="ctr">
                      <a:solidFill>
                        <a:schemeClr val="tx1"/>
                      </a:solidFill>
                      <a:prstDash val="solid"/>
                      <a:round/>
                      <a:headEnd type="none" w="med" len="med"/>
                      <a:tailEnd type="none" w="med" len="med"/>
                    </a:lnT>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７．利用する技術要素</a:t>
                      </a:r>
                      <a:endParaRPr kumimoji="1" lang="en-US" altLang="ja-JP" sz="1000" dirty="0">
                        <a:solidFill>
                          <a:schemeClr val="tx1"/>
                        </a:solidFill>
                      </a:endParaRPr>
                    </a:p>
                  </a:txBody>
                  <a:tcPr>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00" dirty="0"/>
                        <a:t>システム開発において使用する技術スタックやツールを明示、各機能を説明する</a:t>
                      </a:r>
                    </a:p>
                  </a:txBody>
                  <a:tcPr>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1426453776"/>
                  </a:ext>
                </a:extLst>
              </a:tr>
              <a:tr h="237822">
                <a:tc vMerge="1">
                  <a:txBody>
                    <a:bodyPr/>
                    <a:lstStyle/>
                    <a:p>
                      <a:endParaRPr kumimoji="1" lang="ja-JP" altLang="en-US"/>
                    </a:p>
                  </a:txBody>
                  <a:tcPr/>
                </a:tc>
                <a:tc vMerge="1">
                  <a:txBody>
                    <a:bodyPr/>
                    <a:lstStyle/>
                    <a:p>
                      <a:endParaRPr kumimoji="1" lang="ja-JP" altLang="en-US"/>
                    </a:p>
                  </a:txBody>
                  <a:tcPr/>
                </a:tc>
                <a:tc>
                  <a:txBody>
                    <a:bodyPr/>
                    <a:lstStyle/>
                    <a:p>
                      <a:r>
                        <a:rPr kumimoji="1" lang="ja-JP" altLang="en-US" sz="1000" dirty="0">
                          <a:solidFill>
                            <a:schemeClr val="tx1"/>
                          </a:solidFill>
                        </a:rPr>
                        <a:t>８．ユーザインタフェース</a:t>
                      </a:r>
                      <a:endParaRPr kumimoji="1" lang="en-US" altLang="ja-JP" sz="1000" dirty="0">
                        <a:solidFill>
                          <a:schemeClr val="tx1"/>
                        </a:solidFill>
                      </a:endParaRPr>
                    </a:p>
                  </a:txBody>
                  <a:tcPr>
                    <a:lnL w="6350" cap="flat" cmpd="sng" algn="ctr">
                      <a:solidFill>
                        <a:srgbClr val="E4E4E4"/>
                      </a:solidFill>
                      <a:prstDash val="solid"/>
                      <a:round/>
                      <a:headEnd type="none" w="med" len="med"/>
                      <a:tailEnd type="none" w="med" len="med"/>
                    </a:lnL>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00"/>
                        <a:t>ユーザーがシステムを操作するためのインターフェースの設計方針とその具体的な構成要素を示す</a:t>
                      </a:r>
                    </a:p>
                  </a:txBody>
                  <a:tcPr>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3261697317"/>
                  </a:ext>
                </a:extLst>
              </a:tr>
              <a:tr h="237822">
                <a:tc vMerge="1">
                  <a:txBody>
                    <a:bodyPr/>
                    <a:lstStyle/>
                    <a:p>
                      <a:endParaRPr/>
                    </a:p>
                  </a:txBody>
                  <a:tcPr>
                    <a:solidFill>
                      <a:schemeClr val="bg1"/>
                    </a:solidFill>
                  </a:tcPr>
                </a:tc>
                <a:tc vMerge="1">
                  <a:txBody>
                    <a:bodyPr/>
                    <a:lstStyle/>
                    <a:p>
                      <a:endParaRPr kumimoji="1" lang="ja-JP" altLang="en-US" sz="1000"/>
                    </a:p>
                  </a:txBody>
                  <a:tcPr>
                    <a:solidFill>
                      <a:schemeClr val="bg1"/>
                    </a:solidFill>
                  </a:tcPr>
                </a:tc>
                <a:tc>
                  <a:txBody>
                    <a:bodyPr/>
                    <a:lstStyle/>
                    <a:p>
                      <a:r>
                        <a:rPr kumimoji="1" lang="ja-JP" altLang="en-US" sz="1000" dirty="0">
                          <a:solidFill>
                            <a:schemeClr val="tx1"/>
                          </a:solidFill>
                        </a:rPr>
                        <a:t>９．事業の推進体制</a:t>
                      </a:r>
                      <a:endParaRPr kumimoji="1" lang="en-US" altLang="ja-JP" sz="1000" dirty="0">
                        <a:solidFill>
                          <a:schemeClr val="tx1"/>
                        </a:solidFill>
                      </a:endParaRPr>
                    </a:p>
                  </a:txBody>
                  <a:tcPr>
                    <a:lnL w="6350" cap="flat" cmpd="sng" algn="ctr">
                      <a:solidFill>
                        <a:srgbClr val="E4E4E4"/>
                      </a:solidFill>
                      <a:prstDash val="solid"/>
                      <a:round/>
                      <a:headEnd type="none" w="med" len="med"/>
                      <a:tailEnd type="none" w="med" len="med"/>
                    </a:lnL>
                    <a:lnB w="19050" cap="flat" cmpd="sng" algn="ctr">
                      <a:solidFill>
                        <a:schemeClr val="tx1"/>
                      </a:solidFill>
                      <a:prstDash val="solid"/>
                      <a:round/>
                      <a:headEnd type="none" w="med" len="med"/>
                      <a:tailEnd type="none" w="med" len="med"/>
                    </a:lnB>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00" dirty="0"/>
                        <a:t>事業に関与する主要な関係者を特定し、役割を明確にする</a:t>
                      </a:r>
                    </a:p>
                  </a:txBody>
                  <a:tcPr>
                    <a:lnR w="19050" cap="flat" cmpd="sng" algn="ctr">
                      <a:solidFill>
                        <a:schemeClr val="tx1"/>
                      </a:solidFill>
                      <a:prstDash val="solid"/>
                      <a:round/>
                      <a:headEnd type="none" w="med" len="med"/>
                      <a:tailEnd type="none" w="med" len="med"/>
                    </a:lnR>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55219452"/>
                  </a:ext>
                </a:extLst>
              </a:tr>
            </a:tbl>
          </a:graphicData>
        </a:graphic>
      </p:graphicFrame>
    </p:spTree>
    <p:extLst>
      <p:ext uri="{BB962C8B-B14F-4D97-AF65-F5344CB8AC3E}">
        <p14:creationId xmlns:p14="http://schemas.microsoft.com/office/powerpoint/2010/main" val="24343942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235315-9C48-DA83-F90B-A60269B5EF7B}"/>
            </a:ext>
          </a:extLst>
        </p:cNvPr>
        <p:cNvGrpSpPr/>
        <p:nvPr/>
      </p:nvGrpSpPr>
      <p:grpSpPr>
        <a:xfrm>
          <a:off x="0" y="0"/>
          <a:ext cx="0" cy="0"/>
          <a:chOff x="0" y="0"/>
          <a:chExt cx="0" cy="0"/>
        </a:xfrm>
      </p:grpSpPr>
      <p:pic>
        <p:nvPicPr>
          <p:cNvPr id="14" name="図 13">
            <a:extLst>
              <a:ext uri="{FF2B5EF4-FFF2-40B4-BE49-F238E27FC236}">
                <a16:creationId xmlns:a16="http://schemas.microsoft.com/office/drawing/2014/main" id="{14F881AA-A9DD-5D4C-6B41-DC64E37C5F31}"/>
              </a:ext>
            </a:extLst>
          </p:cNvPr>
          <p:cNvPicPr>
            <a:picLocks noChangeAspect="1"/>
          </p:cNvPicPr>
          <p:nvPr/>
        </p:nvPicPr>
        <p:blipFill>
          <a:blip r:embed="rId3"/>
          <a:stretch>
            <a:fillRect/>
          </a:stretch>
        </p:blipFill>
        <p:spPr>
          <a:xfrm>
            <a:off x="1527382" y="1582517"/>
            <a:ext cx="9137236" cy="3692966"/>
          </a:xfrm>
          <a:prstGeom prst="rect">
            <a:avLst/>
          </a:prstGeom>
        </p:spPr>
      </p:pic>
      <p:graphicFrame>
        <p:nvGraphicFramePr>
          <p:cNvPr id="5" name="オブジェクト 4" hidden="1">
            <a:extLst>
              <a:ext uri="{FF2B5EF4-FFF2-40B4-BE49-F238E27FC236}">
                <a16:creationId xmlns:a16="http://schemas.microsoft.com/office/drawing/2014/main" id="{84E354F3-1957-AAC3-B43F-BEDAC47C5BC8}"/>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84E354F3-1957-AAC3-B43F-BEDAC47C5BC8}"/>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6" name="テキスト プレースホルダー 5">
            <a:extLst>
              <a:ext uri="{FF2B5EF4-FFF2-40B4-BE49-F238E27FC236}">
                <a16:creationId xmlns:a16="http://schemas.microsoft.com/office/drawing/2014/main" id="{71206BDE-1A08-08E6-655E-57D44EBA924B}"/>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2" name="テキスト プレースホルダー 1">
            <a:extLst>
              <a:ext uri="{FF2B5EF4-FFF2-40B4-BE49-F238E27FC236}">
                <a16:creationId xmlns:a16="http://schemas.microsoft.com/office/drawing/2014/main" id="{CBF10691-58CC-75D5-EA23-B36D933D90D3}"/>
              </a:ext>
            </a:extLst>
          </p:cNvPr>
          <p:cNvSpPr>
            <a:spLocks noGrp="1"/>
          </p:cNvSpPr>
          <p:nvPr>
            <p:ph type="body" sz="quarter" idx="36"/>
          </p:nvPr>
        </p:nvSpPr>
        <p:spPr/>
        <p:txBody>
          <a:bodyPr/>
          <a:lstStyle/>
          <a:p>
            <a:r>
              <a:rPr lang="en-US" altLang="ja-JP" dirty="0"/>
              <a:t>Ⅱ.</a:t>
            </a:r>
            <a:r>
              <a:rPr lang="ja-JP" altLang="en-US" dirty="0"/>
              <a:t>交通サービスの高度化</a:t>
            </a:r>
          </a:p>
        </p:txBody>
      </p:sp>
      <p:sp>
        <p:nvSpPr>
          <p:cNvPr id="9" name="タイトル 8">
            <a:extLst>
              <a:ext uri="{FF2B5EF4-FFF2-40B4-BE49-F238E27FC236}">
                <a16:creationId xmlns:a16="http://schemas.microsoft.com/office/drawing/2014/main" id="{F7DA7227-3724-60C8-1F06-5A8A2F4AF1F8}"/>
              </a:ext>
            </a:extLst>
          </p:cNvPr>
          <p:cNvSpPr>
            <a:spLocks noGrp="1"/>
          </p:cNvSpPr>
          <p:nvPr>
            <p:ph type="title"/>
          </p:nvPr>
        </p:nvSpPr>
        <p:spPr/>
        <p:txBody>
          <a:bodyPr vert="horz"/>
          <a:lstStyle/>
          <a:p>
            <a:r>
              <a:rPr lang="ja-JP" altLang="en-US" dirty="0"/>
              <a:t>６</a:t>
            </a:r>
            <a:r>
              <a:rPr lang="en-US" altLang="ja-JP" dirty="0"/>
              <a:t>.</a:t>
            </a:r>
            <a:r>
              <a:rPr lang="ja-JP" altLang="en-US" dirty="0"/>
              <a:t>ハードウェアアーキテクチャ</a:t>
            </a:r>
            <a:endParaRPr lang="ja-JP" altLang="en-US" sz="2800" dirty="0"/>
          </a:p>
        </p:txBody>
      </p:sp>
      <p:sp>
        <p:nvSpPr>
          <p:cNvPr id="7" name="テキスト ボックス 6">
            <a:extLst>
              <a:ext uri="{FF2B5EF4-FFF2-40B4-BE49-F238E27FC236}">
                <a16:creationId xmlns:a16="http://schemas.microsoft.com/office/drawing/2014/main" id="{753EDDE2-9BD8-2942-AFF5-CB0966A2B583}"/>
              </a:ext>
            </a:extLst>
          </p:cNvPr>
          <p:cNvSpPr txBox="1"/>
          <p:nvPr/>
        </p:nvSpPr>
        <p:spPr>
          <a:xfrm>
            <a:off x="3083206" y="2820813"/>
            <a:ext cx="6135987" cy="2385668"/>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システム全体において稼働するデバイスやインフラを把握するため、ハードウェアアーキテクチャを記載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特に</a:t>
            </a:r>
            <a:r>
              <a:rPr kumimoji="0" lang="en-US" altLang="ja-JP" sz="1400" b="0" i="0" u="none" strike="noStrike" kern="0" cap="none" spc="0" normalizeH="0" baseline="0" noProof="0">
                <a:ln>
                  <a:noFill/>
                </a:ln>
                <a:solidFill>
                  <a:srgbClr val="FFFFFF"/>
                </a:solidFill>
                <a:effectLst/>
                <a:uLnTx/>
                <a:uFillTx/>
              </a:rPr>
              <a:t>IaaS</a:t>
            </a:r>
            <a:r>
              <a:rPr kumimoji="0" lang="ja-JP" altLang="en-US" sz="1400" b="0" i="0" u="none" strike="noStrike" kern="0" cap="none" spc="0" normalizeH="0" baseline="0" noProof="0">
                <a:ln>
                  <a:noFill/>
                </a:ln>
                <a:solidFill>
                  <a:srgbClr val="FFFFFF"/>
                </a:solidFill>
                <a:effectLst/>
                <a:uLnTx/>
                <a:uFillTx/>
              </a:rPr>
              <a:t>や</a:t>
            </a:r>
            <a:r>
              <a:rPr kumimoji="0" lang="en-US" altLang="ja-JP" sz="1400" b="0" i="0" u="none" strike="noStrike" kern="0" cap="none" spc="0" normalizeH="0" baseline="0" noProof="0">
                <a:ln>
                  <a:noFill/>
                </a:ln>
                <a:solidFill>
                  <a:srgbClr val="FFFFFF"/>
                </a:solidFill>
                <a:effectLst/>
                <a:uLnTx/>
                <a:uFillTx/>
              </a:rPr>
              <a:t>PaaS</a:t>
            </a:r>
            <a:r>
              <a:rPr kumimoji="0" lang="ja-JP" altLang="en-US" sz="1400" b="0" i="0" u="none" strike="noStrike" kern="0" cap="none" spc="0" normalizeH="0" baseline="0" noProof="0">
                <a:ln>
                  <a:noFill/>
                </a:ln>
                <a:solidFill>
                  <a:srgbClr val="FFFFFF"/>
                </a:solidFill>
                <a:effectLst/>
                <a:uLnTx/>
                <a:uFillTx/>
              </a:rPr>
              <a:t>など外部クラウドサーバを利用する場合、利用するコンポーネント名を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外部デバイス（改札機や認証端末など）と接続する場合などは、デバイスの製品名を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また画像はサンプルです。提出時に削除してください。</a:t>
            </a:r>
          </a:p>
        </p:txBody>
      </p:sp>
    </p:spTree>
    <p:extLst>
      <p:ext uri="{BB962C8B-B14F-4D97-AF65-F5344CB8AC3E}">
        <p14:creationId xmlns:p14="http://schemas.microsoft.com/office/powerpoint/2010/main" val="22794945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6" name="テキスト プレースホルダー 5">
            <a:extLst>
              <a:ext uri="{FF2B5EF4-FFF2-40B4-BE49-F238E27FC236}">
                <a16:creationId xmlns:a16="http://schemas.microsoft.com/office/drawing/2014/main" id="{85E02E86-1857-0430-484E-BB6E2039FE47}"/>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2" name="テキスト プレースホルダー 1">
            <a:extLst>
              <a:ext uri="{FF2B5EF4-FFF2-40B4-BE49-F238E27FC236}">
                <a16:creationId xmlns:a16="http://schemas.microsoft.com/office/drawing/2014/main" id="{A45FDDD5-9A42-423D-9ED3-F19DD3567786}"/>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７</a:t>
            </a:r>
            <a:r>
              <a:rPr lang="en-US" altLang="ja-JP"/>
              <a:t>.</a:t>
            </a:r>
            <a:r>
              <a:rPr lang="ja-JP" altLang="en-US"/>
              <a:t>利用する技術要素</a:t>
            </a:r>
          </a:p>
        </p:txBody>
      </p:sp>
      <p:graphicFrame>
        <p:nvGraphicFramePr>
          <p:cNvPr id="3" name="表 2">
            <a:extLst>
              <a:ext uri="{FF2B5EF4-FFF2-40B4-BE49-F238E27FC236}">
                <a16:creationId xmlns:a16="http://schemas.microsoft.com/office/drawing/2014/main" id="{1E352AD7-4D05-33EE-61E0-3F07FA0F915F}"/>
              </a:ext>
            </a:extLst>
          </p:cNvPr>
          <p:cNvGraphicFramePr>
            <a:graphicFrameLocks noGrp="1"/>
          </p:cNvGraphicFramePr>
          <p:nvPr>
            <p:extLst>
              <p:ext uri="{D42A27DB-BD31-4B8C-83A1-F6EECF244321}">
                <p14:modId xmlns:p14="http://schemas.microsoft.com/office/powerpoint/2010/main" val="2588544493"/>
              </p:ext>
            </p:extLst>
          </p:nvPr>
        </p:nvGraphicFramePr>
        <p:xfrm>
          <a:off x="300777" y="2050275"/>
          <a:ext cx="11595948" cy="2731151"/>
        </p:xfrm>
        <a:graphic>
          <a:graphicData uri="http://schemas.openxmlformats.org/drawingml/2006/table">
            <a:tbl>
              <a:tblPr firstRow="1">
                <a:tableStyleId>{5940675A-B579-460E-94D1-54222C63F5DA}</a:tableStyleId>
              </a:tblPr>
              <a:tblGrid>
                <a:gridCol w="2239223">
                  <a:extLst>
                    <a:ext uri="{9D8B030D-6E8A-4147-A177-3AD203B41FA5}">
                      <a16:colId xmlns:a16="http://schemas.microsoft.com/office/drawing/2014/main" val="3505984062"/>
                    </a:ext>
                  </a:extLst>
                </a:gridCol>
                <a:gridCol w="2917825">
                  <a:extLst>
                    <a:ext uri="{9D8B030D-6E8A-4147-A177-3AD203B41FA5}">
                      <a16:colId xmlns:a16="http://schemas.microsoft.com/office/drawing/2014/main" val="1183473455"/>
                    </a:ext>
                  </a:extLst>
                </a:gridCol>
                <a:gridCol w="6438900">
                  <a:extLst>
                    <a:ext uri="{9D8B030D-6E8A-4147-A177-3AD203B41FA5}">
                      <a16:colId xmlns:a16="http://schemas.microsoft.com/office/drawing/2014/main" val="1554345629"/>
                    </a:ext>
                  </a:extLst>
                </a:gridCol>
              </a:tblGrid>
              <a:tr h="252938">
                <a:tc>
                  <a:txBody>
                    <a:bodyPr/>
                    <a:lstStyle/>
                    <a:p>
                      <a:pPr algn="l"/>
                      <a:r>
                        <a:rPr lang="ja-JP" sz="1400" b="1" kern="100">
                          <a:effectLst/>
                          <a:latin typeface="+mn-ea"/>
                          <a:ea typeface="+mn-ea"/>
                        </a:rPr>
                        <a:t>項目</a:t>
                      </a:r>
                      <a:endParaRPr lang="ja-JP" sz="1400" b="1" kern="100">
                        <a:effectLst/>
                        <a:latin typeface="+mn-ea"/>
                        <a:ea typeface="+mn-ea"/>
                        <a:cs typeface="Meiryo UI" panose="020B0604030504040204" pitchFamily="50" charset="-128"/>
                      </a:endParaRPr>
                    </a:p>
                  </a:txBody>
                  <a:tcPr marL="36195" marR="36195" marT="46800" marB="46800">
                    <a:solidFill>
                      <a:schemeClr val="bg1">
                        <a:lumMod val="75000"/>
                      </a:schemeClr>
                    </a:solidFill>
                  </a:tcPr>
                </a:tc>
                <a:tc>
                  <a:txBody>
                    <a:bodyPr/>
                    <a:lstStyle/>
                    <a:p>
                      <a:pPr algn="l"/>
                      <a:r>
                        <a:rPr lang="ja-JP" altLang="en-US" sz="1400" b="1" kern="100">
                          <a:effectLst/>
                          <a:latin typeface="+mn-ea"/>
                          <a:ea typeface="+mn-ea"/>
                          <a:cs typeface="Meiryo UI" panose="020B0604030504040204" pitchFamily="50" charset="-128"/>
                        </a:rPr>
                        <a:t>名称</a:t>
                      </a:r>
                      <a:endParaRPr lang="ja-JP" sz="1400" b="1" kern="100">
                        <a:effectLst/>
                        <a:latin typeface="+mn-ea"/>
                        <a:ea typeface="+mn-ea"/>
                        <a:cs typeface="Meiryo UI" panose="020B0604030504040204" pitchFamily="50" charset="-128"/>
                      </a:endParaRPr>
                    </a:p>
                  </a:txBody>
                  <a:tcPr marL="36195" marR="36195" marT="46800" marB="46800">
                    <a:solidFill>
                      <a:schemeClr val="bg1">
                        <a:lumMod val="75000"/>
                      </a:schemeClr>
                    </a:solidFill>
                  </a:tcPr>
                </a:tc>
                <a:tc>
                  <a:txBody>
                    <a:bodyPr/>
                    <a:lstStyle/>
                    <a:p>
                      <a:pPr algn="l"/>
                      <a:endParaRPr lang="ja-JP" sz="1400" b="1" kern="100">
                        <a:effectLst/>
                        <a:latin typeface="+mn-ea"/>
                        <a:ea typeface="+mn-ea"/>
                        <a:cs typeface="Meiryo UI" panose="020B0604030504040204" pitchFamily="50" charset="-128"/>
                      </a:endParaRPr>
                    </a:p>
                  </a:txBody>
                  <a:tcPr marL="36195" marR="36195" marT="46800" marB="46800">
                    <a:solidFill>
                      <a:schemeClr val="bg1">
                        <a:lumMod val="75000"/>
                      </a:schemeClr>
                    </a:solidFill>
                  </a:tcPr>
                </a:tc>
                <a:extLst>
                  <a:ext uri="{0D108BD9-81ED-4DB2-BD59-A6C34878D82A}">
                    <a16:rowId xmlns:a16="http://schemas.microsoft.com/office/drawing/2014/main" val="2329924580"/>
                  </a:ext>
                </a:extLst>
              </a:tr>
              <a:tr h="338114">
                <a:tc>
                  <a:txBody>
                    <a:bodyPr/>
                    <a:lstStyle/>
                    <a:p>
                      <a:pPr algn="just"/>
                      <a:r>
                        <a:rPr lang="ja-JP" altLang="en-US" sz="1400" kern="100">
                          <a:solidFill>
                            <a:srgbClr val="0070C0"/>
                          </a:solidFill>
                          <a:effectLst/>
                          <a:latin typeface="+mn-ea"/>
                          <a:ea typeface="+mn-ea"/>
                          <a:cs typeface="Meiryo UI" panose="020B0604030504040204" pitchFamily="50" charset="-128"/>
                        </a:rPr>
                        <a:t>プログラミング言語</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ja-JP" altLang="en-US" sz="1400">
                          <a:solidFill>
                            <a:srgbClr val="0070C0"/>
                          </a:solidFill>
                          <a:latin typeface="+mn-ea"/>
                          <a:ea typeface="+mn-ea"/>
                        </a:rPr>
                        <a:t>Python, JavaScript</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XXXXXX</a:t>
                      </a:r>
                      <a:endParaRPr lang="ja-JP"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3614498428"/>
                  </a:ext>
                </a:extLst>
              </a:tr>
              <a:tr h="338114">
                <a:tc>
                  <a:txBody>
                    <a:bodyPr/>
                    <a:lstStyle/>
                    <a:p>
                      <a:pPr marL="0" marR="0" lvl="0" indent="0" algn="just" defTabSz="742950" rtl="0" eaLnBrk="1" fontAlgn="auto" latinLnBrk="0" hangingPunct="1">
                        <a:lnSpc>
                          <a:spcPct val="100000"/>
                        </a:lnSpc>
                        <a:spcBef>
                          <a:spcPts val="0"/>
                        </a:spcBef>
                        <a:spcAft>
                          <a:spcPts val="0"/>
                        </a:spcAft>
                        <a:buClrTx/>
                        <a:buSzTx/>
                        <a:buFontTx/>
                        <a:buNone/>
                        <a:tabLst/>
                        <a:defRPr/>
                      </a:pPr>
                      <a:r>
                        <a:rPr lang="en-US" altLang="ja-JP" sz="1400" kern="100">
                          <a:solidFill>
                            <a:srgbClr val="0070C0"/>
                          </a:solidFill>
                          <a:effectLst/>
                          <a:latin typeface="+mn-ea"/>
                          <a:ea typeface="+mn-ea"/>
                          <a:cs typeface="Meiryo UI" panose="020B0604030504040204" pitchFamily="50" charset="-128"/>
                        </a:rPr>
                        <a:t>RDBMS</a:t>
                      </a:r>
                      <a:endParaRPr lang="ja-JP" alt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Amazon RDS for PostgreSQL</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XXXXXX</a:t>
                      </a:r>
                      <a:endParaRPr lang="ja-JP"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2270619158"/>
                  </a:ext>
                </a:extLst>
              </a:tr>
              <a:tr h="338114">
                <a:tc>
                  <a:txBody>
                    <a:bodyPr/>
                    <a:lstStyle/>
                    <a:p>
                      <a:pPr marL="0" marR="0" lvl="0" indent="0" algn="just" defTabSz="742950" rtl="0" eaLnBrk="1" fontAlgn="auto" latinLnBrk="0" hangingPunct="1">
                        <a:lnSpc>
                          <a:spcPct val="100000"/>
                        </a:lnSpc>
                        <a:spcBef>
                          <a:spcPts val="0"/>
                        </a:spcBef>
                        <a:spcAft>
                          <a:spcPts val="0"/>
                        </a:spcAft>
                        <a:buClrTx/>
                        <a:buSzTx/>
                        <a:buFontTx/>
                        <a:buNone/>
                        <a:tabLst/>
                        <a:defRPr/>
                      </a:pPr>
                      <a:r>
                        <a:rPr lang="en-US" altLang="ja-JP" sz="1400" kern="100">
                          <a:solidFill>
                            <a:srgbClr val="0070C0"/>
                          </a:solidFill>
                          <a:effectLst/>
                          <a:latin typeface="+mn-ea"/>
                          <a:ea typeface="+mn-ea"/>
                          <a:cs typeface="Meiryo UI" panose="020B0604030504040204" pitchFamily="50" charset="-128"/>
                        </a:rPr>
                        <a:t>NoSQL</a:t>
                      </a:r>
                      <a:endParaRPr lang="ja-JP" alt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MongoDB Atlas</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endParaRPr lang="ja-JP"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1352402600"/>
                  </a:ext>
                </a:extLst>
              </a:tr>
              <a:tr h="395507">
                <a:tc>
                  <a:txBody>
                    <a:bodyPr/>
                    <a:lstStyle/>
                    <a:p>
                      <a:pPr algn="just"/>
                      <a:r>
                        <a:rPr lang="en-US" altLang="ja-JP" sz="1400" kern="100">
                          <a:solidFill>
                            <a:srgbClr val="0070C0"/>
                          </a:solidFill>
                          <a:effectLst/>
                          <a:latin typeface="+mn-ea"/>
                          <a:ea typeface="+mn-ea"/>
                          <a:cs typeface="Meiryo UI" panose="020B0604030504040204" pitchFamily="50" charset="-128"/>
                        </a:rPr>
                        <a:t>WebGIS</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Mapribre, Deck.gl</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XXXXXX</a:t>
                      </a:r>
                      <a:endParaRPr lang="ja-JP"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2173848345"/>
                  </a:ext>
                </a:extLst>
              </a:tr>
              <a:tr h="338114">
                <a:tc>
                  <a:txBody>
                    <a:bodyPr/>
                    <a:lstStyle/>
                    <a:p>
                      <a:pPr algn="just"/>
                      <a:r>
                        <a:rPr lang="en-US" altLang="ja-JP" sz="1400" kern="100">
                          <a:solidFill>
                            <a:srgbClr val="0070C0"/>
                          </a:solidFill>
                          <a:effectLst/>
                          <a:latin typeface="+mn-ea"/>
                          <a:ea typeface="+mn-ea"/>
                          <a:cs typeface="Meiryo UI" panose="020B0604030504040204" pitchFamily="50" charset="-128"/>
                        </a:rPr>
                        <a:t>BI</a:t>
                      </a:r>
                      <a:r>
                        <a:rPr lang="ja-JP" altLang="en-US" sz="1400" kern="100">
                          <a:solidFill>
                            <a:srgbClr val="0070C0"/>
                          </a:solidFill>
                          <a:effectLst/>
                          <a:latin typeface="+mn-ea"/>
                          <a:ea typeface="+mn-ea"/>
                          <a:cs typeface="Meiryo UI" panose="020B0604030504040204" pitchFamily="50" charset="-128"/>
                        </a:rPr>
                        <a:t>ツール</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a:solidFill>
                            <a:srgbClr val="0070C0"/>
                          </a:solidFill>
                          <a:latin typeface="+mn-ea"/>
                          <a:ea typeface="+mn-ea"/>
                        </a:rPr>
                        <a:t>Tableau</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XXXXXX</a:t>
                      </a:r>
                      <a:endParaRPr lang="ja-JP"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3231779892"/>
                  </a:ext>
                </a:extLst>
              </a:tr>
              <a:tr h="338114">
                <a:tc>
                  <a:txBody>
                    <a:bodyPr/>
                    <a:lstStyle/>
                    <a:p>
                      <a:pPr algn="just"/>
                      <a:r>
                        <a:rPr lang="ja-JP" altLang="en-US" sz="1400" kern="100">
                          <a:solidFill>
                            <a:srgbClr val="0070C0"/>
                          </a:solidFill>
                          <a:effectLst/>
                          <a:latin typeface="+mn-ea"/>
                          <a:ea typeface="+mn-ea"/>
                          <a:cs typeface="Meiryo UI" panose="020B0604030504040204" pitchFamily="50" charset="-128"/>
                        </a:rPr>
                        <a:t>経路検索</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Mixway API</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endParaRPr lang="ja-JP" altLang="en-US"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3668803341"/>
                  </a:ext>
                </a:extLst>
              </a:tr>
              <a:tr h="338114">
                <a:tc>
                  <a:txBody>
                    <a:bodyPr/>
                    <a:lstStyle/>
                    <a:p>
                      <a:pPr algn="just"/>
                      <a:r>
                        <a:rPr lang="en-US" altLang="ja-JP" sz="1400" kern="100">
                          <a:solidFill>
                            <a:srgbClr val="0070C0"/>
                          </a:solidFill>
                          <a:effectLst/>
                          <a:latin typeface="+mn-ea"/>
                          <a:ea typeface="+mn-ea"/>
                          <a:cs typeface="Meiryo UI" panose="020B0604030504040204" pitchFamily="50" charset="-128"/>
                        </a:rPr>
                        <a:t>NW</a:t>
                      </a:r>
                      <a:r>
                        <a:rPr lang="ja-JP" altLang="en-US" sz="1400" kern="100">
                          <a:solidFill>
                            <a:srgbClr val="0070C0"/>
                          </a:solidFill>
                          <a:effectLst/>
                          <a:latin typeface="+mn-ea"/>
                          <a:ea typeface="+mn-ea"/>
                          <a:cs typeface="Meiryo UI" panose="020B0604030504040204" pitchFamily="50" charset="-128"/>
                        </a:rPr>
                        <a:t>検索</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NAVITIME API</a:t>
                      </a:r>
                    </a:p>
                  </a:txBody>
                  <a:tcPr marL="36195" marR="36195" marT="46800" marB="46800"/>
                </a:tc>
                <a:tc>
                  <a:txBody>
                    <a:bodyPr/>
                    <a:lstStyle/>
                    <a:p>
                      <a:pPr algn="just"/>
                      <a:endParaRPr lang="ja-JP" altLang="en-US"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430931605"/>
                  </a:ext>
                </a:extLst>
              </a:tr>
            </a:tbl>
          </a:graphicData>
        </a:graphic>
      </p:graphicFrame>
      <p:sp>
        <p:nvSpPr>
          <p:cNvPr id="4" name="テキスト ボックス 3">
            <a:extLst>
              <a:ext uri="{FF2B5EF4-FFF2-40B4-BE49-F238E27FC236}">
                <a16:creationId xmlns:a16="http://schemas.microsoft.com/office/drawing/2014/main" id="{A1277F05-26FA-BC40-8E8E-34D0007C0DF7}"/>
              </a:ext>
            </a:extLst>
          </p:cNvPr>
          <p:cNvSpPr txBox="1"/>
          <p:nvPr/>
        </p:nvSpPr>
        <p:spPr>
          <a:xfrm>
            <a:off x="3028006" y="3816975"/>
            <a:ext cx="6135987" cy="1234162"/>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システム開発において、使用する技術スタックやツールを明示し、それらの機能を説明してください。</a:t>
            </a:r>
          </a:p>
        </p:txBody>
      </p:sp>
    </p:spTree>
    <p:extLst>
      <p:ext uri="{BB962C8B-B14F-4D97-AF65-F5344CB8AC3E}">
        <p14:creationId xmlns:p14="http://schemas.microsoft.com/office/powerpoint/2010/main" val="35564007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920D49B5-780A-0B0E-081E-8188B35BACC6}"/>
              </a:ext>
            </a:extLst>
          </p:cNvPr>
          <p:cNvPicPr>
            <a:picLocks noChangeAspect="1"/>
          </p:cNvPicPr>
          <p:nvPr/>
        </p:nvPicPr>
        <p:blipFill>
          <a:blip r:embed="rId3"/>
          <a:stretch>
            <a:fillRect/>
          </a:stretch>
        </p:blipFill>
        <p:spPr>
          <a:xfrm>
            <a:off x="883308" y="1338394"/>
            <a:ext cx="9797121" cy="5303980"/>
          </a:xfrm>
          <a:prstGeom prst="rect">
            <a:avLst/>
          </a:prstGeom>
        </p:spPr>
      </p:pic>
      <p:graphicFrame>
        <p:nvGraphicFramePr>
          <p:cNvPr id="6" name="think-cell data - do not delete" hidden="1">
            <a:extLst>
              <a:ext uri="{FF2B5EF4-FFF2-40B4-BE49-F238E27FC236}">
                <a16:creationId xmlns:a16="http://schemas.microsoft.com/office/drawing/2014/main" id="{474E5002-D1F2-D774-C181-0B3C4AA38F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08" imgH="608" progId="TCLayout.ActiveDocument.1">
                  <p:embed/>
                </p:oleObj>
              </mc:Choice>
              <mc:Fallback>
                <p:oleObj name="think-cell スライド" r:id="rId4" imgW="608" imgH="608" progId="TCLayout.ActiveDocument.1">
                  <p:embed/>
                  <p:pic>
                    <p:nvPicPr>
                      <p:cNvPr id="6" name="think-cell data - do not delete" hidden="1">
                        <a:extLst>
                          <a:ext uri="{FF2B5EF4-FFF2-40B4-BE49-F238E27FC236}">
                            <a16:creationId xmlns:a16="http://schemas.microsoft.com/office/drawing/2014/main" id="{474E5002-D1F2-D774-C181-0B3C4AA38F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0E5D0AD9-2BA7-E85C-4211-2AC064C1CB7E}"/>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kumimoji="1" lang="ja-JP" altLang="en-US"/>
          </a:p>
        </p:txBody>
      </p:sp>
      <p:sp>
        <p:nvSpPr>
          <p:cNvPr id="3" name="テキスト プレースホルダー 2">
            <a:extLst>
              <a:ext uri="{FF2B5EF4-FFF2-40B4-BE49-F238E27FC236}">
                <a16:creationId xmlns:a16="http://schemas.microsoft.com/office/drawing/2014/main" id="{417A18CA-0059-03EF-FE57-D2DBA870D210}"/>
              </a:ext>
            </a:extLst>
          </p:cNvPr>
          <p:cNvSpPr>
            <a:spLocks noGrp="1"/>
          </p:cNvSpPr>
          <p:nvPr>
            <p:ph type="body" sz="quarter" idx="36"/>
          </p:nvPr>
        </p:nvSpPr>
        <p:spPr>
          <a:xfrm>
            <a:off x="300779" y="215626"/>
            <a:ext cx="11376000" cy="415498"/>
          </a:xfrm>
        </p:spPr>
        <p:txBody>
          <a:bodyPr/>
          <a:lstStyle/>
          <a:p>
            <a:r>
              <a:rPr lang="en-US" altLang="ja-JP"/>
              <a:t>Ⅱ.</a:t>
            </a:r>
            <a:r>
              <a:rPr lang="ja-JP" altLang="en-US"/>
              <a:t>交通サービスの高度化</a:t>
            </a:r>
          </a:p>
        </p:txBody>
      </p:sp>
      <p:sp>
        <p:nvSpPr>
          <p:cNvPr id="4" name="タイトル 3">
            <a:extLst>
              <a:ext uri="{FF2B5EF4-FFF2-40B4-BE49-F238E27FC236}">
                <a16:creationId xmlns:a16="http://schemas.microsoft.com/office/drawing/2014/main" id="{4F1B8C31-A2AA-E8B5-6842-B8CA68666E37}"/>
              </a:ext>
            </a:extLst>
          </p:cNvPr>
          <p:cNvSpPr>
            <a:spLocks noGrp="1"/>
          </p:cNvSpPr>
          <p:nvPr>
            <p:ph type="title"/>
          </p:nvPr>
        </p:nvSpPr>
        <p:spPr/>
        <p:txBody>
          <a:bodyPr vert="horz"/>
          <a:lstStyle/>
          <a:p>
            <a:r>
              <a:rPr lang="ja-JP" altLang="en-US"/>
              <a:t>８</a:t>
            </a:r>
            <a:r>
              <a:rPr kumimoji="1" lang="en-US" altLang="ja-JP"/>
              <a:t>.</a:t>
            </a:r>
            <a:r>
              <a:rPr kumimoji="1" lang="ja-JP" altLang="en-US"/>
              <a:t>ユーザインタフェース｜全体</a:t>
            </a:r>
            <a:r>
              <a:rPr lang="en-US" altLang="ja-JP"/>
              <a:t>UI/UX</a:t>
            </a:r>
            <a:r>
              <a:rPr lang="ja-JP" altLang="en-US"/>
              <a:t>、画面遷移図</a:t>
            </a:r>
            <a:endParaRPr kumimoji="1" lang="ja-JP" altLang="en-US"/>
          </a:p>
        </p:txBody>
      </p:sp>
      <p:sp>
        <p:nvSpPr>
          <p:cNvPr id="7" name="テキスト ボックス 6">
            <a:extLst>
              <a:ext uri="{FF2B5EF4-FFF2-40B4-BE49-F238E27FC236}">
                <a16:creationId xmlns:a16="http://schemas.microsoft.com/office/drawing/2014/main" id="{4AF50D1B-B984-2378-E84F-10D1B7500960}"/>
              </a:ext>
            </a:extLst>
          </p:cNvPr>
          <p:cNvSpPr txBox="1"/>
          <p:nvPr/>
        </p:nvSpPr>
        <p:spPr>
          <a:xfrm>
            <a:off x="2290774" y="2797550"/>
            <a:ext cx="6982188" cy="2385668"/>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エンドユーザー（コンシューマ）とシステム管理者等（交通事業者や自治体）の両面からユーザーインターフェースを定義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予定を含む基本的な設計方針と構成要素でも構いません。​</a:t>
            </a:r>
          </a:p>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UI</a:t>
            </a:r>
            <a:r>
              <a:rPr kumimoji="0" lang="ja-JP" altLang="en-US" sz="1400" b="0" i="0" u="none" strike="noStrike" kern="0" cap="none" spc="0" normalizeH="0" baseline="0" noProof="0">
                <a:ln>
                  <a:noFill/>
                </a:ln>
                <a:solidFill>
                  <a:srgbClr val="FFFFFF"/>
                </a:solidFill>
                <a:effectLst/>
                <a:uLnTx/>
                <a:uFillTx/>
              </a:rPr>
              <a:t>設計には、画面遷移図、主要な</a:t>
            </a:r>
            <a:r>
              <a:rPr kumimoji="0" lang="en-US" altLang="ja-JP" sz="1400" b="0" i="0" u="none" strike="noStrike" kern="0" cap="none" spc="0" normalizeH="0" baseline="0" noProof="0">
                <a:ln>
                  <a:noFill/>
                </a:ln>
                <a:solidFill>
                  <a:srgbClr val="FFFFFF"/>
                </a:solidFill>
                <a:effectLst/>
                <a:uLnTx/>
                <a:uFillTx/>
              </a:rPr>
              <a:t>UI</a:t>
            </a:r>
            <a:r>
              <a:rPr kumimoji="0" lang="ja-JP" altLang="en-US" sz="1400" b="0" i="0" u="none" strike="noStrike" kern="0" cap="none" spc="0" normalizeH="0" baseline="0" noProof="0">
                <a:ln>
                  <a:noFill/>
                </a:ln>
                <a:solidFill>
                  <a:srgbClr val="FFFFFF"/>
                </a:solidFill>
                <a:effectLst/>
                <a:uLnTx/>
                <a:uFillTx/>
              </a:rPr>
              <a:t>コンポーネント、ユーザーフローを含めてください。</a:t>
            </a:r>
            <a:endParaRPr kumimoji="0" lang="en-US" altLang="ja-JP" sz="1400" b="0" i="0" u="none" strike="noStrike" kern="0" cap="none" spc="0" normalizeH="0" baseline="0" noProof="0">
              <a:ln>
                <a:noFill/>
              </a:ln>
              <a:solidFill>
                <a:srgbClr val="FFFFFF"/>
              </a:solidFill>
              <a:effectLst/>
              <a:uLnTx/>
              <a:uFillTx/>
            </a:endParaRPr>
          </a:p>
          <a:p>
            <a:pPr>
              <a:spcBef>
                <a:spcPts val="300"/>
              </a:spcBef>
              <a:defRPr/>
            </a:pPr>
            <a:r>
              <a:rPr kumimoji="1" lang="ja-JP" altLang="en-US" sz="1400" b="0" i="0" u="none" strike="noStrike" kern="1200" cap="none" spc="0" normalizeH="0" baseline="0" noProof="0">
                <a:ln>
                  <a:noFill/>
                </a:ln>
                <a:solidFill>
                  <a:schemeClr val="bg1"/>
                </a:solidFill>
                <a:effectLst/>
                <a:uLnTx/>
                <a:uFillTx/>
                <a:latin typeface="BIZ UDPゴシック"/>
                <a:ea typeface="BIZ UDPゴシック"/>
                <a:cs typeface="+mn-cs"/>
              </a:rPr>
              <a:t>画像はサンプルです。提出時に削除してください。</a:t>
            </a:r>
            <a:r>
              <a:rPr kumimoji="0" lang="ja-JP" altLang="en-US" sz="1400" b="0" i="0" u="none" strike="noStrike" kern="0" cap="none" spc="0" normalizeH="0" baseline="0" noProof="0">
                <a:ln>
                  <a:noFill/>
                </a:ln>
                <a:solidFill>
                  <a:srgbClr val="FFFFFF"/>
                </a:solidFill>
                <a:effectLst/>
                <a:uLnTx/>
                <a:uFillTx/>
              </a:rPr>
              <a:t>​</a:t>
            </a:r>
          </a:p>
        </p:txBody>
      </p:sp>
    </p:spTree>
    <p:extLst>
      <p:ext uri="{BB962C8B-B14F-4D97-AF65-F5344CB8AC3E}">
        <p14:creationId xmlns:p14="http://schemas.microsoft.com/office/powerpoint/2010/main" val="13597784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74E5002-D1F2-D774-C181-0B3C4AA38F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08" imgH="608" progId="TCLayout.ActiveDocument.1">
                  <p:embed/>
                </p:oleObj>
              </mc:Choice>
              <mc:Fallback>
                <p:oleObj name="think-cell スライド" r:id="rId3" imgW="608" imgH="608" progId="TCLayout.ActiveDocument.1">
                  <p:embed/>
                  <p:pic>
                    <p:nvPicPr>
                      <p:cNvPr id="6" name="think-cell data - do not delete" hidden="1">
                        <a:extLst>
                          <a:ext uri="{FF2B5EF4-FFF2-40B4-BE49-F238E27FC236}">
                            <a16:creationId xmlns:a16="http://schemas.microsoft.com/office/drawing/2014/main" id="{474E5002-D1F2-D774-C181-0B3C4AA38F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0E5D0AD9-2BA7-E85C-4211-2AC064C1CB7E}"/>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kumimoji="1" lang="ja-JP" altLang="en-US"/>
          </a:p>
        </p:txBody>
      </p:sp>
      <p:sp>
        <p:nvSpPr>
          <p:cNvPr id="3" name="テキスト プレースホルダー 2">
            <a:extLst>
              <a:ext uri="{FF2B5EF4-FFF2-40B4-BE49-F238E27FC236}">
                <a16:creationId xmlns:a16="http://schemas.microsoft.com/office/drawing/2014/main" id="{417A18CA-0059-03EF-FE57-D2DBA870D210}"/>
              </a:ext>
            </a:extLst>
          </p:cNvPr>
          <p:cNvSpPr>
            <a:spLocks noGrp="1"/>
          </p:cNvSpPr>
          <p:nvPr>
            <p:ph type="body" sz="quarter" idx="36"/>
          </p:nvPr>
        </p:nvSpPr>
        <p:spPr>
          <a:xfrm>
            <a:off x="300779" y="215626"/>
            <a:ext cx="11376000" cy="415498"/>
          </a:xfrm>
        </p:spPr>
        <p:txBody>
          <a:bodyPr/>
          <a:lstStyle/>
          <a:p>
            <a:r>
              <a:rPr lang="en-US" altLang="ja-JP"/>
              <a:t>Ⅱ.</a:t>
            </a:r>
            <a:r>
              <a:rPr lang="ja-JP" altLang="en-US"/>
              <a:t>交通サービスの高度化</a:t>
            </a:r>
          </a:p>
        </p:txBody>
      </p:sp>
      <p:sp>
        <p:nvSpPr>
          <p:cNvPr id="4" name="タイトル 3">
            <a:extLst>
              <a:ext uri="{FF2B5EF4-FFF2-40B4-BE49-F238E27FC236}">
                <a16:creationId xmlns:a16="http://schemas.microsoft.com/office/drawing/2014/main" id="{4F1B8C31-A2AA-E8B5-6842-B8CA68666E37}"/>
              </a:ext>
            </a:extLst>
          </p:cNvPr>
          <p:cNvSpPr>
            <a:spLocks noGrp="1"/>
          </p:cNvSpPr>
          <p:nvPr>
            <p:ph type="title"/>
          </p:nvPr>
        </p:nvSpPr>
        <p:spPr/>
        <p:txBody>
          <a:bodyPr vert="horz"/>
          <a:lstStyle/>
          <a:p>
            <a:r>
              <a:rPr lang="ja-JP" altLang="en-US"/>
              <a:t>８</a:t>
            </a:r>
            <a:r>
              <a:rPr kumimoji="1" lang="en-US" altLang="ja-JP"/>
              <a:t>.</a:t>
            </a:r>
            <a:r>
              <a:rPr kumimoji="1" lang="ja-JP" altLang="en-US"/>
              <a:t>ユーザインタフェース｜画面ごとの機能一覧</a:t>
            </a:r>
          </a:p>
        </p:txBody>
      </p:sp>
      <p:graphicFrame>
        <p:nvGraphicFramePr>
          <p:cNvPr id="5" name="表 4">
            <a:extLst>
              <a:ext uri="{FF2B5EF4-FFF2-40B4-BE49-F238E27FC236}">
                <a16:creationId xmlns:a16="http://schemas.microsoft.com/office/drawing/2014/main" id="{61B29258-DA16-BE71-3B81-5C7F078688CC}"/>
              </a:ext>
            </a:extLst>
          </p:cNvPr>
          <p:cNvGraphicFramePr>
            <a:graphicFrameLocks noGrp="1"/>
          </p:cNvGraphicFramePr>
          <p:nvPr>
            <p:extLst>
              <p:ext uri="{D42A27DB-BD31-4B8C-83A1-F6EECF244321}">
                <p14:modId xmlns:p14="http://schemas.microsoft.com/office/powerpoint/2010/main" val="438084773"/>
              </p:ext>
            </p:extLst>
          </p:nvPr>
        </p:nvGraphicFramePr>
        <p:xfrm>
          <a:off x="300779" y="2071102"/>
          <a:ext cx="11591184" cy="2796749"/>
        </p:xfrm>
        <a:graphic>
          <a:graphicData uri="http://schemas.openxmlformats.org/drawingml/2006/table">
            <a:tbl>
              <a:tblPr firstRow="1" firstCol="1" bandRow="1">
                <a:tableStyleId>{5C22544A-7EE6-4342-B048-85BDC9FD1C3A}</a:tableStyleId>
              </a:tblPr>
              <a:tblGrid>
                <a:gridCol w="1713172">
                  <a:extLst>
                    <a:ext uri="{9D8B030D-6E8A-4147-A177-3AD203B41FA5}">
                      <a16:colId xmlns:a16="http://schemas.microsoft.com/office/drawing/2014/main" val="816785244"/>
                    </a:ext>
                  </a:extLst>
                </a:gridCol>
                <a:gridCol w="2792382">
                  <a:extLst>
                    <a:ext uri="{9D8B030D-6E8A-4147-A177-3AD203B41FA5}">
                      <a16:colId xmlns:a16="http://schemas.microsoft.com/office/drawing/2014/main" val="3259469306"/>
                    </a:ext>
                  </a:extLst>
                </a:gridCol>
                <a:gridCol w="7085630">
                  <a:extLst>
                    <a:ext uri="{9D8B030D-6E8A-4147-A177-3AD203B41FA5}">
                      <a16:colId xmlns:a16="http://schemas.microsoft.com/office/drawing/2014/main" val="1071912486"/>
                    </a:ext>
                  </a:extLst>
                </a:gridCol>
              </a:tblGrid>
              <a:tr h="356134">
                <a:tc>
                  <a:txBody>
                    <a:bodyPr/>
                    <a:lstStyle/>
                    <a:p>
                      <a:pPr algn="just"/>
                      <a:r>
                        <a:rPr lang="en-US" sz="1400" b="0" kern="100">
                          <a:solidFill>
                            <a:schemeClr val="tx1"/>
                          </a:solidFill>
                          <a:effectLst/>
                        </a:rPr>
                        <a:t>ID</a:t>
                      </a:r>
                      <a:endParaRPr lang="ja-JP" sz="1400" b="0" kern="100">
                        <a:solidFill>
                          <a:schemeClr val="tx1"/>
                        </a:solidFill>
                        <a:effectLst/>
                        <a:latin typeface="游ゴシック Medium" panose="020B0500000000000000" pitchFamily="50" charset="-128"/>
                        <a:ea typeface="游ゴシック Medium" panose="020B0500000000000000" pitchFamily="50" charset="-128"/>
                        <a:cs typeface="Meiryo UI" panose="020B0604030504040204" pitchFamily="50" charset="-128"/>
                      </a:endParaRPr>
                    </a:p>
                  </a:txBody>
                  <a:tcPr marL="90000" marR="90000" marT="46800" marB="468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algn="just"/>
                      <a:r>
                        <a:rPr lang="ja-JP" sz="1400" b="0" kern="100">
                          <a:solidFill>
                            <a:schemeClr val="tx1"/>
                          </a:solidFill>
                          <a:effectLst/>
                        </a:rPr>
                        <a:t>画面名</a:t>
                      </a:r>
                      <a:endParaRPr lang="ja-JP" sz="1400" b="0" kern="100">
                        <a:solidFill>
                          <a:schemeClr val="tx1"/>
                        </a:solidFill>
                        <a:effectLst/>
                        <a:latin typeface="游ゴシック Medium" panose="020B0500000000000000" pitchFamily="50" charset="-128"/>
                        <a:ea typeface="游ゴシック Medium" panose="020B0500000000000000" pitchFamily="50" charset="-128"/>
                        <a:cs typeface="Meiryo UI" panose="020B0604030504040204" pitchFamily="50" charset="-128"/>
                      </a:endParaRPr>
                    </a:p>
                  </a:txBody>
                  <a:tcPr marL="90000" marR="90000" marT="46800" marB="468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algn="just"/>
                      <a:r>
                        <a:rPr lang="ja-JP" sz="1400" b="0" kern="100">
                          <a:solidFill>
                            <a:schemeClr val="tx1"/>
                          </a:solidFill>
                          <a:effectLst/>
                        </a:rPr>
                        <a:t>画面説明</a:t>
                      </a:r>
                      <a:endParaRPr lang="ja-JP" sz="1400" b="0" kern="100">
                        <a:solidFill>
                          <a:schemeClr val="tx1"/>
                        </a:solidFill>
                        <a:effectLst/>
                        <a:latin typeface="游ゴシック Medium" panose="020B0500000000000000" pitchFamily="50" charset="-128"/>
                        <a:ea typeface="游ゴシック Medium" panose="020B0500000000000000" pitchFamily="50" charset="-128"/>
                        <a:cs typeface="Meiryo UI" panose="020B0604030504040204" pitchFamily="50" charset="-128"/>
                      </a:endParaRPr>
                    </a:p>
                  </a:txBody>
                  <a:tcPr marL="90000" marR="90000" marT="46800" marB="468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972877939"/>
                  </a:ext>
                </a:extLst>
              </a:tr>
              <a:tr h="356134">
                <a:tc>
                  <a:txBody>
                    <a:bodyPr/>
                    <a:lstStyle/>
                    <a:p>
                      <a:pPr algn="l"/>
                      <a:r>
                        <a:rPr lang="en-US" sz="1400" b="0" kern="100">
                          <a:solidFill>
                            <a:srgbClr val="0070C0"/>
                          </a:solidFill>
                          <a:effectLst/>
                          <a:latin typeface="+mn-ea"/>
                          <a:ea typeface="+mn-ea"/>
                        </a:rPr>
                        <a:t>SC001</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ja-JP" sz="1400" b="0" kern="100">
                          <a:solidFill>
                            <a:srgbClr val="0070C0"/>
                          </a:solidFill>
                          <a:effectLst/>
                          <a:latin typeface="+mn-ea"/>
                          <a:ea typeface="+mn-ea"/>
                        </a:rPr>
                        <a:t>認証画面</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42900" lvl="0" indent="-342900" algn="just">
                        <a:buFont typeface="Wingdings" panose="05000000000000000000" pitchFamily="2" charset="2"/>
                        <a:buChar char=""/>
                      </a:pPr>
                      <a:r>
                        <a:rPr lang="ja-JP" altLang="en-US" sz="1400" b="0" kern="100">
                          <a:solidFill>
                            <a:srgbClr val="0070C0"/>
                          </a:solidFill>
                          <a:effectLst/>
                          <a:latin typeface="+mn-ea"/>
                          <a:ea typeface="+mn-ea"/>
                          <a:cs typeface="Meiryo UI" panose="020B0604030504040204" pitchFamily="50" charset="-128"/>
                        </a:rPr>
                        <a:t>メールアカウントとパスワードで認証する。</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03418220"/>
                  </a:ext>
                </a:extLst>
              </a:tr>
              <a:tr h="687707">
                <a:tc>
                  <a:txBody>
                    <a:bodyPr/>
                    <a:lstStyle/>
                    <a:p>
                      <a:pPr algn="l"/>
                      <a:r>
                        <a:rPr lang="en-US" sz="1400" b="0" kern="100">
                          <a:solidFill>
                            <a:srgbClr val="0070C0"/>
                          </a:solidFill>
                          <a:effectLst/>
                          <a:latin typeface="+mn-ea"/>
                          <a:ea typeface="+mn-ea"/>
                        </a:rPr>
                        <a:t>SC002</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ja-JP" sz="1400" b="0" kern="100">
                          <a:solidFill>
                            <a:srgbClr val="0070C0"/>
                          </a:solidFill>
                          <a:effectLst/>
                          <a:latin typeface="+mn-ea"/>
                          <a:ea typeface="+mn-ea"/>
                        </a:rPr>
                        <a:t>メインビュー</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42900" lvl="0" indent="-342900" algn="just">
                        <a:buFont typeface="Wingdings" panose="05000000000000000000" pitchFamily="2" charset="2"/>
                        <a:buChar char=""/>
                      </a:pPr>
                      <a:r>
                        <a:rPr lang="ja-JP" altLang="en-US" sz="1400" b="0" kern="100">
                          <a:solidFill>
                            <a:srgbClr val="0070C0"/>
                          </a:solidFill>
                          <a:effectLst/>
                          <a:latin typeface="+mn-ea"/>
                          <a:ea typeface="+mn-ea"/>
                          <a:cs typeface="Meiryo UI" panose="020B0604030504040204" pitchFamily="50" charset="-128"/>
                        </a:rPr>
                        <a:t>各種データを用いて、該当エリアの公共交通の状態を評価する指標を提示する。</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78847348"/>
                  </a:ext>
                </a:extLst>
              </a:tr>
              <a:tr h="487716">
                <a:tc>
                  <a:txBody>
                    <a:bodyPr/>
                    <a:lstStyle/>
                    <a:p>
                      <a:pPr algn="l"/>
                      <a:r>
                        <a:rPr lang="en-US" sz="1400" b="0" kern="100">
                          <a:solidFill>
                            <a:srgbClr val="0070C0"/>
                          </a:solidFill>
                          <a:effectLst/>
                          <a:latin typeface="+mn-ea"/>
                          <a:ea typeface="+mn-ea"/>
                        </a:rPr>
                        <a:t>SC003</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ja-JP" altLang="en-US" sz="1400" b="0" kern="100">
                          <a:solidFill>
                            <a:srgbClr val="0070C0"/>
                          </a:solidFill>
                          <a:effectLst/>
                          <a:latin typeface="+mn-ea"/>
                          <a:ea typeface="+mn-ea"/>
                          <a:cs typeface="Meiryo UI" panose="020B0604030504040204" pitchFamily="50" charset="-128"/>
                        </a:rPr>
                        <a:t>自治体職員向け設定画面</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42900" marR="0" lvl="0" indent="-342900" algn="just" defTabSz="74295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ja-JP" altLang="en-US" sz="1400" b="0" kern="100">
                          <a:solidFill>
                            <a:srgbClr val="0070C0"/>
                          </a:solidFill>
                          <a:effectLst/>
                          <a:latin typeface="+mn-ea"/>
                          <a:ea typeface="+mn-ea"/>
                          <a:cs typeface="Meiryo UI" panose="020B0604030504040204" pitchFamily="50" charset="-128"/>
                        </a:rPr>
                        <a:t>職員がデータ分析における各指標の目標値を設定する画面。</a:t>
                      </a:r>
                      <a:endParaRPr lang="ja-JP" altLang="ja-JP" sz="1400" b="0" kern="100">
                        <a:solidFill>
                          <a:srgbClr val="0070C0"/>
                        </a:solidFill>
                        <a:effectLst/>
                        <a:latin typeface="+mn-ea"/>
                        <a:ea typeface="+mn-ea"/>
                        <a:cs typeface="Meiryo UI" panose="020B0604030504040204" pitchFamily="50" charset="-128"/>
                      </a:endParaRPr>
                    </a:p>
                    <a:p>
                      <a:pPr marL="342900" lvl="0" indent="-342900" algn="just">
                        <a:buFont typeface="Wingdings" panose="05000000000000000000" pitchFamily="2" charset="2"/>
                        <a:buChar char=""/>
                      </a:pP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10099281"/>
                  </a:ext>
                </a:extLst>
              </a:tr>
              <a:tr h="356134">
                <a:tc>
                  <a:txBody>
                    <a:bodyPr/>
                    <a:lstStyle/>
                    <a:p>
                      <a:pPr algn="l"/>
                      <a:r>
                        <a:rPr lang="en-US" sz="1400" b="0" kern="100">
                          <a:solidFill>
                            <a:srgbClr val="0070C0"/>
                          </a:solidFill>
                          <a:effectLst/>
                          <a:latin typeface="+mn-ea"/>
                          <a:ea typeface="+mn-ea"/>
                        </a:rPr>
                        <a:t>SC004</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ja-JP" altLang="en-US" sz="1400" b="0" kern="100">
                          <a:solidFill>
                            <a:srgbClr val="0070C0"/>
                          </a:solidFill>
                          <a:effectLst/>
                          <a:latin typeface="+mn-ea"/>
                          <a:ea typeface="+mn-ea"/>
                          <a:cs typeface="Meiryo UI" panose="020B0604030504040204" pitchFamily="50" charset="-128"/>
                        </a:rPr>
                        <a:t>ユーザー管理画面</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42900" lvl="0" indent="-342900" algn="just">
                        <a:buFont typeface="Wingdings" panose="05000000000000000000" pitchFamily="2" charset="2"/>
                        <a:buChar char=""/>
                      </a:pPr>
                      <a:r>
                        <a:rPr lang="ja-JP" altLang="en-US" sz="1400" b="0" kern="100">
                          <a:solidFill>
                            <a:srgbClr val="0070C0"/>
                          </a:solidFill>
                          <a:effectLst/>
                          <a:latin typeface="+mn-ea"/>
                          <a:ea typeface="+mn-ea"/>
                          <a:cs typeface="Meiryo UI" panose="020B0604030504040204" pitchFamily="50" charset="-128"/>
                        </a:rPr>
                        <a:t>ユーザーに応じた権限付与を実施する画面</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480707"/>
                  </a:ext>
                </a:extLst>
              </a:tr>
              <a:tr h="356134">
                <a:tc>
                  <a:txBody>
                    <a:bodyPr/>
                    <a:lstStyle/>
                    <a:p>
                      <a:pPr algn="l"/>
                      <a:r>
                        <a:rPr lang="en-US" sz="1400" b="0" kern="100">
                          <a:solidFill>
                            <a:srgbClr val="0070C0"/>
                          </a:solidFill>
                          <a:effectLst/>
                          <a:latin typeface="+mn-ea"/>
                          <a:ea typeface="+mn-ea"/>
                        </a:rPr>
                        <a:t>SC005</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en-US" altLang="ja-JP" sz="1400" b="0" kern="100">
                          <a:solidFill>
                            <a:srgbClr val="0070C0"/>
                          </a:solidFill>
                          <a:effectLst/>
                          <a:latin typeface="+mn-ea"/>
                          <a:ea typeface="+mn-ea"/>
                          <a:cs typeface="Meiryo UI" panose="020B0604030504040204" pitchFamily="50" charset="-128"/>
                        </a:rPr>
                        <a:t>XXXXXXXXX</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42900" marR="0" lvl="0" indent="-342900" algn="just" defTabSz="74295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altLang="ja-JP" sz="1400" b="0" kern="100">
                          <a:solidFill>
                            <a:srgbClr val="0070C0"/>
                          </a:solidFill>
                          <a:effectLst/>
                          <a:latin typeface="+mn-ea"/>
                          <a:ea typeface="+mn-ea"/>
                          <a:cs typeface="Meiryo UI" panose="020B0604030504040204" pitchFamily="50" charset="-128"/>
                        </a:rPr>
                        <a:t>XXXXXXXXXX</a:t>
                      </a:r>
                      <a:endParaRPr lang="ja-JP" altLang="ja-JP" sz="1400" b="0" kern="100">
                        <a:solidFill>
                          <a:srgbClr val="0070C0"/>
                        </a:solidFill>
                        <a:effectLst/>
                        <a:latin typeface="+mn-ea"/>
                        <a:ea typeface="+mn-ea"/>
                        <a:cs typeface="Meiryo UI" panose="020B0604030504040204" pitchFamily="50" charset="-128"/>
                      </a:endParaRPr>
                    </a:p>
                    <a:p>
                      <a:pPr marL="342900" lvl="0" indent="-342900" algn="just">
                        <a:buFont typeface="Wingdings" panose="05000000000000000000" pitchFamily="2" charset="2"/>
                        <a:buChar char=""/>
                      </a:pP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8800064"/>
                  </a:ext>
                </a:extLst>
              </a:tr>
            </a:tbl>
          </a:graphicData>
        </a:graphic>
      </p:graphicFrame>
      <p:sp>
        <p:nvSpPr>
          <p:cNvPr id="7" name="テキスト ボックス 6">
            <a:extLst>
              <a:ext uri="{FF2B5EF4-FFF2-40B4-BE49-F238E27FC236}">
                <a16:creationId xmlns:a16="http://schemas.microsoft.com/office/drawing/2014/main" id="{8ACCDA4C-8810-C7E1-7188-E18006A44257}"/>
              </a:ext>
            </a:extLst>
          </p:cNvPr>
          <p:cNvSpPr txBox="1"/>
          <p:nvPr/>
        </p:nvSpPr>
        <p:spPr>
          <a:xfrm>
            <a:off x="2920785" y="3675017"/>
            <a:ext cx="6135987" cy="2385668"/>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前項で定義した画面設計に従い、各画面が提供する機能について記載してください。</a:t>
            </a:r>
          </a:p>
        </p:txBody>
      </p:sp>
    </p:spTree>
    <p:extLst>
      <p:ext uri="{BB962C8B-B14F-4D97-AF65-F5344CB8AC3E}">
        <p14:creationId xmlns:p14="http://schemas.microsoft.com/office/powerpoint/2010/main" val="14603075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7">
            <a:extLst>
              <a:ext uri="{FF2B5EF4-FFF2-40B4-BE49-F238E27FC236}">
                <a16:creationId xmlns:a16="http://schemas.microsoft.com/office/drawing/2014/main" id="{12ACD507-CDCD-7967-B093-33A8EA8B50AD}"/>
              </a:ext>
            </a:extLst>
          </p:cNvPr>
          <p:cNvGraphicFramePr>
            <a:graphicFrameLocks noGrp="1"/>
          </p:cNvGraphicFramePr>
          <p:nvPr>
            <p:extLst>
              <p:ext uri="{D42A27DB-BD31-4B8C-83A1-F6EECF244321}">
                <p14:modId xmlns:p14="http://schemas.microsoft.com/office/powerpoint/2010/main" val="591926420"/>
              </p:ext>
            </p:extLst>
          </p:nvPr>
        </p:nvGraphicFramePr>
        <p:xfrm>
          <a:off x="293687" y="1505156"/>
          <a:ext cx="11604626" cy="4960710"/>
        </p:xfrm>
        <a:graphic>
          <a:graphicData uri="http://schemas.openxmlformats.org/drawingml/2006/table">
            <a:tbl>
              <a:tblPr>
                <a:tableStyleId>{5C22544A-7EE6-4342-B048-85BDC9FD1C3A}</a:tableStyleId>
              </a:tblPr>
              <a:tblGrid>
                <a:gridCol w="5116513">
                  <a:extLst>
                    <a:ext uri="{9D8B030D-6E8A-4147-A177-3AD203B41FA5}">
                      <a16:colId xmlns:a16="http://schemas.microsoft.com/office/drawing/2014/main" val="564283603"/>
                    </a:ext>
                  </a:extLst>
                </a:gridCol>
                <a:gridCol w="6488113">
                  <a:extLst>
                    <a:ext uri="{9D8B030D-6E8A-4147-A177-3AD203B41FA5}">
                      <a16:colId xmlns:a16="http://schemas.microsoft.com/office/drawing/2014/main" val="1942113200"/>
                    </a:ext>
                  </a:extLst>
                </a:gridCol>
              </a:tblGrid>
              <a:tr h="406886">
                <a:tc>
                  <a:txBody>
                    <a:bodyPr/>
                    <a:lstStyle/>
                    <a:p>
                      <a:r>
                        <a:rPr kumimoji="1" lang="ja-JP" altLang="en-US" sz="1400" b="1">
                          <a:latin typeface="+mn-ea"/>
                          <a:ea typeface="+mn-ea"/>
                        </a:rPr>
                        <a:t>関係者（名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400" b="1">
                          <a:latin typeface="+mn-ea"/>
                          <a:ea typeface="+mn-ea"/>
                        </a:rPr>
                        <a:t>役割</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9378519"/>
                  </a:ext>
                </a:extLst>
              </a:tr>
              <a:tr h="437416">
                <a:tc>
                  <a:txBody>
                    <a:bodyPr/>
                    <a:lstStyle/>
                    <a:p>
                      <a:r>
                        <a:rPr kumimoji="1" lang="en-US" altLang="ja-JP" sz="1400">
                          <a:solidFill>
                            <a:srgbClr val="0070C0"/>
                          </a:solidFill>
                          <a:latin typeface="+mn-ea"/>
                          <a:ea typeface="+mn-ea"/>
                        </a:rPr>
                        <a:t>AA</a:t>
                      </a:r>
                      <a:r>
                        <a:rPr kumimoji="1" lang="ja-JP" altLang="en-US" sz="1400">
                          <a:solidFill>
                            <a:srgbClr val="0070C0"/>
                          </a:solidFill>
                          <a:latin typeface="+mn-ea"/>
                          <a:ea typeface="+mn-ea"/>
                        </a:rPr>
                        <a:t>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全体統括、企画運営</a:t>
                      </a:r>
                      <a:endParaRPr kumimoji="1" lang="en-US" altLang="ja-JP" sz="140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94776207"/>
                  </a:ext>
                </a:extLst>
              </a:tr>
              <a:tr h="4374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a:solidFill>
                            <a:srgbClr val="0070C0"/>
                          </a:solidFill>
                          <a:latin typeface="+mn-ea"/>
                          <a:ea typeface="+mn-ea"/>
                        </a:rPr>
                        <a:t>BB</a:t>
                      </a:r>
                      <a:r>
                        <a:rPr kumimoji="1" lang="ja-JP" altLang="en-US" sz="1400">
                          <a:solidFill>
                            <a:srgbClr val="0070C0"/>
                          </a:solidFill>
                          <a:latin typeface="+mn-ea"/>
                          <a:ea typeface="+mn-ea"/>
                        </a:rPr>
                        <a:t>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400">
                          <a:solidFill>
                            <a:srgbClr val="0070C0"/>
                          </a:solidFill>
                          <a:latin typeface="+mn-ea"/>
                          <a:ea typeface="+mn-ea"/>
                        </a:rPr>
                        <a:t>MaaS</a:t>
                      </a:r>
                      <a:r>
                        <a:rPr kumimoji="1" lang="ja-JP" altLang="en-US" sz="1400">
                          <a:solidFill>
                            <a:srgbClr val="0070C0"/>
                          </a:solidFill>
                          <a:latin typeface="+mn-ea"/>
                          <a:ea typeface="+mn-ea"/>
                        </a:rPr>
                        <a:t>アプリ改修</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44902017"/>
                  </a:ext>
                </a:extLst>
              </a:tr>
              <a:tr h="5026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a:solidFill>
                            <a:srgbClr val="0070C0"/>
                          </a:solidFill>
                          <a:latin typeface="+mn-ea"/>
                          <a:ea typeface="+mn-ea"/>
                        </a:rPr>
                        <a:t>CC</a:t>
                      </a:r>
                      <a:r>
                        <a:rPr kumimoji="1" lang="ja-JP" altLang="en-US" sz="1400">
                          <a:solidFill>
                            <a:srgbClr val="0070C0"/>
                          </a:solidFill>
                          <a:latin typeface="+mn-ea"/>
                          <a:ea typeface="+mn-ea"/>
                        </a:rPr>
                        <a:t>鉄道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鉄道運行自動車</a:t>
                      </a:r>
                      <a:endParaRPr kumimoji="1" lang="en-US" altLang="ja-JP" sz="1400">
                        <a:solidFill>
                          <a:srgbClr val="0070C0"/>
                        </a:solidFill>
                        <a:latin typeface="+mn-ea"/>
                        <a:ea typeface="+mn-ea"/>
                      </a:endParaRPr>
                    </a:p>
                    <a:p>
                      <a:r>
                        <a:rPr kumimoji="1" lang="ja-JP" altLang="en-US" sz="1400">
                          <a:solidFill>
                            <a:srgbClr val="0070C0"/>
                          </a:solidFill>
                          <a:latin typeface="+mn-ea"/>
                          <a:ea typeface="+mn-ea"/>
                        </a:rPr>
                        <a:t>●●線（全線），●●線（●●空港⇔●●）、･･･</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16460124"/>
                  </a:ext>
                </a:extLst>
              </a:tr>
              <a:tr h="502689">
                <a:tc>
                  <a:txBody>
                    <a:bodyPr/>
                    <a:lstStyle/>
                    <a:p>
                      <a:r>
                        <a:rPr kumimoji="1" lang="en-US" altLang="ja-JP" sz="1400">
                          <a:solidFill>
                            <a:srgbClr val="0070C0"/>
                          </a:solidFill>
                          <a:latin typeface="+mn-ea"/>
                          <a:ea typeface="+mn-ea"/>
                        </a:rPr>
                        <a:t>DD</a:t>
                      </a:r>
                      <a:r>
                        <a:rPr kumimoji="1" lang="ja-JP" altLang="en-US" sz="1400">
                          <a:solidFill>
                            <a:srgbClr val="0070C0"/>
                          </a:solidFill>
                          <a:latin typeface="+mn-ea"/>
                          <a:ea typeface="+mn-ea"/>
                        </a:rPr>
                        <a:t>バス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バス運行事業者</a:t>
                      </a:r>
                    </a:p>
                    <a:p>
                      <a:r>
                        <a:rPr kumimoji="1" lang="en-US" altLang="ja-JP" sz="1400">
                          <a:solidFill>
                            <a:srgbClr val="0070C0"/>
                          </a:solidFill>
                          <a:latin typeface="+mn-ea"/>
                          <a:ea typeface="+mn-ea"/>
                        </a:rPr>
                        <a:t>××</a:t>
                      </a:r>
                      <a:r>
                        <a:rPr kumimoji="1" lang="ja-JP" altLang="en-US" sz="1400">
                          <a:solidFill>
                            <a:srgbClr val="0070C0"/>
                          </a:solidFill>
                          <a:latin typeface="+mn-ea"/>
                          <a:ea typeface="+mn-ea"/>
                        </a:rPr>
                        <a:t>～</a:t>
                      </a:r>
                      <a:r>
                        <a:rPr kumimoji="1" lang="en-US" altLang="ja-JP" sz="1400">
                          <a:solidFill>
                            <a:srgbClr val="0070C0"/>
                          </a:solidFill>
                          <a:latin typeface="+mn-ea"/>
                          <a:ea typeface="+mn-ea"/>
                        </a:rPr>
                        <a:t>××</a:t>
                      </a:r>
                      <a:r>
                        <a:rPr kumimoji="1" lang="ja-JP" altLang="en-US" sz="1400">
                          <a:solidFill>
                            <a:srgbClr val="0070C0"/>
                          </a:solidFill>
                          <a:latin typeface="+mn-ea"/>
                          <a:ea typeface="+mn-ea"/>
                        </a:rPr>
                        <a:t>線、</a:t>
                      </a:r>
                      <a:r>
                        <a:rPr kumimoji="1" lang="en-US" altLang="ja-JP" sz="1400">
                          <a:solidFill>
                            <a:srgbClr val="0070C0"/>
                          </a:solidFill>
                          <a:latin typeface="+mn-ea"/>
                          <a:ea typeface="+mn-ea"/>
                        </a:rPr>
                        <a:t>××</a:t>
                      </a:r>
                      <a:r>
                        <a:rPr kumimoji="1" lang="ja-JP" altLang="en-US" sz="1400">
                          <a:solidFill>
                            <a:srgbClr val="0070C0"/>
                          </a:solidFill>
                          <a:latin typeface="+mn-ea"/>
                          <a:ea typeface="+mn-ea"/>
                        </a:rPr>
                        <a:t>～</a:t>
                      </a:r>
                      <a:r>
                        <a:rPr kumimoji="1" lang="en-US" altLang="ja-JP" sz="1400">
                          <a:solidFill>
                            <a:srgbClr val="0070C0"/>
                          </a:solidFill>
                          <a:latin typeface="+mn-ea"/>
                          <a:ea typeface="+mn-ea"/>
                        </a:rPr>
                        <a:t>××</a:t>
                      </a:r>
                      <a:r>
                        <a:rPr kumimoji="1" lang="ja-JP" altLang="en-US" sz="1400">
                          <a:solidFill>
                            <a:srgbClr val="0070C0"/>
                          </a:solidFill>
                          <a:latin typeface="+mn-ea"/>
                          <a:ea typeface="+mn-ea"/>
                        </a:rPr>
                        <a:t>線、･･･</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04760456"/>
                  </a:ext>
                </a:extLst>
              </a:tr>
              <a:tr h="709679">
                <a:tc>
                  <a:txBody>
                    <a:bodyPr/>
                    <a:lstStyle/>
                    <a:p>
                      <a:r>
                        <a:rPr kumimoji="1" lang="ja-JP" altLang="en-US" sz="1400">
                          <a:solidFill>
                            <a:srgbClr val="0070C0"/>
                          </a:solidFill>
                          <a:latin typeface="+mn-ea"/>
                          <a:ea typeface="+mn-ea"/>
                        </a:rPr>
                        <a:t>株式会社</a:t>
                      </a:r>
                      <a:r>
                        <a:rPr kumimoji="1" lang="en-US" altLang="ja-JP" sz="1400">
                          <a:solidFill>
                            <a:srgbClr val="0070C0"/>
                          </a:solidFill>
                          <a:latin typeface="+mn-ea"/>
                          <a:ea typeface="+mn-ea"/>
                        </a:rPr>
                        <a:t>EE</a:t>
                      </a:r>
                      <a:r>
                        <a:rPr kumimoji="1" lang="ja-JP" altLang="en-US" sz="1400">
                          <a:solidFill>
                            <a:srgbClr val="0070C0"/>
                          </a:solidFill>
                          <a:latin typeface="+mn-ea"/>
                          <a:ea typeface="+mn-ea"/>
                        </a:rPr>
                        <a:t>交通（◯◯）</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バス、デマンド運行事業者</a:t>
                      </a:r>
                    </a:p>
                    <a:p>
                      <a:r>
                        <a:rPr kumimoji="1" lang="ja-JP" altLang="en-US" sz="1400">
                          <a:solidFill>
                            <a:srgbClr val="0070C0"/>
                          </a:solidFill>
                          <a:latin typeface="+mn-ea"/>
                          <a:ea typeface="+mn-ea"/>
                        </a:rPr>
                        <a:t>・バス：□□～□□線、･･･</a:t>
                      </a:r>
                      <a:endParaRPr kumimoji="1" lang="en-US" altLang="ja-JP" sz="1400">
                        <a:solidFill>
                          <a:srgbClr val="0070C0"/>
                        </a:solidFill>
                        <a:latin typeface="+mn-ea"/>
                        <a:ea typeface="+mn-ea"/>
                      </a:endParaRPr>
                    </a:p>
                    <a:p>
                      <a:r>
                        <a:rPr kumimoji="1" lang="ja-JP" altLang="en-US" sz="1400">
                          <a:solidFill>
                            <a:srgbClr val="0070C0"/>
                          </a:solidFill>
                          <a:latin typeface="+mn-ea"/>
                          <a:ea typeface="+mn-ea"/>
                        </a:rPr>
                        <a:t>・デマンドバス：△△～△△、･･･</a:t>
                      </a:r>
                      <a:endParaRPr kumimoji="1" lang="en-US" altLang="ja-JP" sz="140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83108121"/>
                  </a:ext>
                </a:extLst>
              </a:tr>
              <a:tr h="502689">
                <a:tc>
                  <a:txBody>
                    <a:bodyPr/>
                    <a:lstStyle/>
                    <a:p>
                      <a:r>
                        <a:rPr kumimoji="1" lang="en-US" altLang="ja-JP" sz="1400">
                          <a:solidFill>
                            <a:srgbClr val="0070C0"/>
                          </a:solidFill>
                          <a:latin typeface="+mn-ea"/>
                          <a:ea typeface="+mn-ea"/>
                        </a:rPr>
                        <a:t>FF</a:t>
                      </a:r>
                      <a:r>
                        <a:rPr kumimoji="1" lang="ja-JP" altLang="en-US" sz="1400">
                          <a:solidFill>
                            <a:srgbClr val="0070C0"/>
                          </a:solidFill>
                          <a:latin typeface="+mn-ea"/>
                          <a:ea typeface="+mn-ea"/>
                        </a:rPr>
                        <a:t>交通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400">
                          <a:solidFill>
                            <a:srgbClr val="0070C0"/>
                          </a:solidFill>
                          <a:latin typeface="+mn-ea"/>
                          <a:ea typeface="+mn-ea"/>
                        </a:rPr>
                        <a:t>タクシー運行事業者</a:t>
                      </a:r>
                      <a:endParaRPr kumimoji="1" lang="en-US" altLang="ja-JP" sz="1400">
                        <a:solidFill>
                          <a:srgbClr val="0070C0"/>
                        </a:solidFill>
                        <a:latin typeface="+mn-ea"/>
                        <a:ea typeface="+mn-ea"/>
                      </a:endParaRPr>
                    </a:p>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400">
                          <a:solidFill>
                            <a:srgbClr val="0070C0"/>
                          </a:solidFill>
                          <a:latin typeface="+mn-ea"/>
                          <a:ea typeface="+mn-ea"/>
                        </a:rPr>
                        <a:t>★★エリア</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99637259"/>
                  </a:ext>
                </a:extLst>
              </a:tr>
              <a:tr h="502689">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400">
                          <a:solidFill>
                            <a:srgbClr val="0070C0"/>
                          </a:solidFill>
                          <a:latin typeface="+mn-ea"/>
                          <a:ea typeface="+mn-ea"/>
                        </a:rPr>
                        <a:t>株式会社</a:t>
                      </a:r>
                      <a:r>
                        <a:rPr kumimoji="1" lang="en-US" altLang="ja-JP" sz="1400">
                          <a:solidFill>
                            <a:srgbClr val="0070C0"/>
                          </a:solidFill>
                          <a:latin typeface="+mn-ea"/>
                          <a:ea typeface="+mn-ea"/>
                        </a:rPr>
                        <a:t>GG</a:t>
                      </a:r>
                      <a:r>
                        <a:rPr kumimoji="1" lang="ja-JP" altLang="en-US" sz="1400">
                          <a:solidFill>
                            <a:srgbClr val="0070C0"/>
                          </a:solidFill>
                          <a:latin typeface="+mn-ea"/>
                          <a:ea typeface="+mn-ea"/>
                        </a:rPr>
                        <a:t>タクシー（◯◯）</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タクシー運行事業者</a:t>
                      </a:r>
                      <a:endParaRPr kumimoji="1" lang="en-US" altLang="ja-JP" sz="1400">
                        <a:solidFill>
                          <a:srgbClr val="0070C0"/>
                        </a:solidFill>
                        <a:latin typeface="+mn-ea"/>
                        <a:ea typeface="+mn-ea"/>
                      </a:endParaRPr>
                    </a:p>
                    <a:p>
                      <a:r>
                        <a:rPr kumimoji="1" lang="ja-JP" altLang="en-US" sz="1400">
                          <a:solidFill>
                            <a:srgbClr val="0070C0"/>
                          </a:solidFill>
                          <a:latin typeface="+mn-ea"/>
                          <a:ea typeface="+mn-ea"/>
                        </a:rPr>
                        <a:t>☆☆エリア</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27684720"/>
                  </a:ext>
                </a:extLst>
              </a:tr>
              <a:tr h="437416">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en-US" altLang="ja-JP" sz="1400">
                          <a:solidFill>
                            <a:srgbClr val="0070C0"/>
                          </a:solidFill>
                          <a:latin typeface="+mn-ea"/>
                          <a:ea typeface="+mn-ea"/>
                        </a:rPr>
                        <a:t>HH</a:t>
                      </a:r>
                      <a:r>
                        <a:rPr kumimoji="1" lang="ja-JP" altLang="en-US" sz="1400">
                          <a:solidFill>
                            <a:srgbClr val="0070C0"/>
                          </a:solidFill>
                          <a:latin typeface="+mn-ea"/>
                          <a:ea typeface="+mn-ea"/>
                        </a:rPr>
                        <a:t>レンタサイクル協議会（◯◯）</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レンタサイクル事業者、マルチモーダル経路検索機能連携</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77168933"/>
                  </a:ext>
                </a:extLst>
              </a:tr>
              <a:tr h="437416">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en-US" altLang="ja-JP" sz="1400">
                          <a:solidFill>
                            <a:srgbClr val="0070C0"/>
                          </a:solidFill>
                          <a:latin typeface="+mn-ea"/>
                          <a:ea typeface="+mn-ea"/>
                        </a:rPr>
                        <a:t>II</a:t>
                      </a:r>
                      <a:r>
                        <a:rPr kumimoji="1" lang="ja-JP" altLang="en-US" sz="1400">
                          <a:solidFill>
                            <a:srgbClr val="0070C0"/>
                          </a:solidFill>
                          <a:latin typeface="+mn-ea"/>
                          <a:ea typeface="+mn-ea"/>
                        </a:rPr>
                        <a:t>福祉事務所（◯◯）</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介護タクシー運行事業者</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55677518"/>
                  </a:ext>
                </a:extLst>
              </a:tr>
            </a:tbl>
          </a:graphicData>
        </a:graphic>
      </p:graphicFrame>
      <p:graphicFrame>
        <p:nvGraphicFramePr>
          <p:cNvPr id="5" name="think-cell data - do not delete" hidden="1">
            <a:extLst>
              <a:ext uri="{FF2B5EF4-FFF2-40B4-BE49-F238E27FC236}">
                <a16:creationId xmlns:a16="http://schemas.microsoft.com/office/drawing/2014/main" id="{513D425D-4833-5C45-A720-ECEB95C590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12" imgH="511" progId="TCLayout.ActiveDocument.1">
                  <p:embed/>
                </p:oleObj>
              </mc:Choice>
              <mc:Fallback>
                <p:oleObj name="think-cell スライド" r:id="rId3" imgW="512" imgH="511" progId="TCLayout.ActiveDocument.1">
                  <p:embed/>
                  <p:pic>
                    <p:nvPicPr>
                      <p:cNvPr id="5" name="think-cell data - do not delete" hidden="1">
                        <a:extLst>
                          <a:ext uri="{FF2B5EF4-FFF2-40B4-BE49-F238E27FC236}">
                            <a16:creationId xmlns:a16="http://schemas.microsoft.com/office/drawing/2014/main" id="{513D425D-4833-5C45-A720-ECEB95C590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8">
            <a:extLst>
              <a:ext uri="{FF2B5EF4-FFF2-40B4-BE49-F238E27FC236}">
                <a16:creationId xmlns:a16="http://schemas.microsoft.com/office/drawing/2014/main" id="{43C330CB-8A4D-F4A2-AFFC-48CA4FB9C719}"/>
              </a:ext>
            </a:extLst>
          </p:cNvPr>
          <p:cNvSpPr>
            <a:spLocks noGrp="1"/>
          </p:cNvSpPr>
          <p:nvPr>
            <p:ph type="body" sz="quarter" idx="4294967295"/>
          </p:nvPr>
        </p:nvSpPr>
        <p:spPr>
          <a:xfrm>
            <a:off x="300779" y="1134673"/>
            <a:ext cx="11376000" cy="323165"/>
          </a:xfrm>
        </p:spPr>
        <p:txBody>
          <a:bodyPr>
            <a:normAutofit fontScale="92500" lnSpcReduction="2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マリーを記載</a:t>
            </a: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 name="テキスト プレースホルダー 2">
            <a:extLst>
              <a:ext uri="{FF2B5EF4-FFF2-40B4-BE49-F238E27FC236}">
                <a16:creationId xmlns:a16="http://schemas.microsoft.com/office/drawing/2014/main" id="{6247E137-868B-539C-2D6E-DC37708CAC30}"/>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4" name="タイトル 3">
            <a:extLst>
              <a:ext uri="{FF2B5EF4-FFF2-40B4-BE49-F238E27FC236}">
                <a16:creationId xmlns:a16="http://schemas.microsoft.com/office/drawing/2014/main" id="{2C3BBDD6-C18E-A8D5-D35C-ABB97297C5DD}"/>
              </a:ext>
            </a:extLst>
          </p:cNvPr>
          <p:cNvSpPr>
            <a:spLocks noGrp="1"/>
          </p:cNvSpPr>
          <p:nvPr>
            <p:ph type="title"/>
          </p:nvPr>
        </p:nvSpPr>
        <p:spPr/>
        <p:txBody>
          <a:bodyPr vert="horz"/>
          <a:lstStyle/>
          <a:p>
            <a:r>
              <a:rPr lang="ja-JP" altLang="en-US"/>
              <a:t>９</a:t>
            </a:r>
            <a:r>
              <a:rPr kumimoji="1" lang="en-US" altLang="ja-JP"/>
              <a:t>.</a:t>
            </a:r>
            <a:r>
              <a:rPr lang="ja-JP" altLang="en-US"/>
              <a:t>事業の推進体制</a:t>
            </a:r>
            <a:endParaRPr kumimoji="1" lang="ja-JP" altLang="en-US"/>
          </a:p>
        </p:txBody>
      </p:sp>
      <p:sp>
        <p:nvSpPr>
          <p:cNvPr id="6" name="テキスト ボックス 5">
            <a:extLst>
              <a:ext uri="{FF2B5EF4-FFF2-40B4-BE49-F238E27FC236}">
                <a16:creationId xmlns:a16="http://schemas.microsoft.com/office/drawing/2014/main" id="{DF1069CE-7F5A-0645-E891-CDDA1E49F184}"/>
              </a:ext>
            </a:extLst>
          </p:cNvPr>
          <p:cNvSpPr txBox="1"/>
          <p:nvPr/>
        </p:nvSpPr>
        <p:spPr>
          <a:xfrm>
            <a:off x="2405904" y="3312979"/>
            <a:ext cx="6135987" cy="1074059"/>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交通サービスの高度化領域に関与する関係者を網羅的に特定し、役割を明確にしてください。​</a:t>
            </a:r>
          </a:p>
        </p:txBody>
      </p:sp>
    </p:spTree>
    <p:extLst>
      <p:ext uri="{BB962C8B-B14F-4D97-AF65-F5344CB8AC3E}">
        <p14:creationId xmlns:p14="http://schemas.microsoft.com/office/powerpoint/2010/main" val="641767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7A908D4C-AB64-4D6C-A9D7-43C0FEFAFC61}"/>
              </a:ext>
            </a:extLst>
          </p:cNvPr>
          <p:cNvSpPr/>
          <p:nvPr/>
        </p:nvSpPr>
        <p:spPr>
          <a:xfrm>
            <a:off x="3928188" y="1095901"/>
            <a:ext cx="3639912" cy="283792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endParaRPr kumimoji="1" lang="ja-JP" altLang="en-US" sz="1600">
              <a:solidFill>
                <a:schemeClr val="tx1"/>
              </a:solidFill>
            </a:endParaRPr>
          </a:p>
        </p:txBody>
      </p:sp>
      <p:graphicFrame>
        <p:nvGraphicFramePr>
          <p:cNvPr id="8" name="オブジェクト 7" hidden="1">
            <a:extLst>
              <a:ext uri="{FF2B5EF4-FFF2-40B4-BE49-F238E27FC236}">
                <a16:creationId xmlns:a16="http://schemas.microsoft.com/office/drawing/2014/main" id="{1BBE9D25-4DE5-46EE-8FED-CB8ED36E5506}"/>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99" imgH="499" progId="TCLayout.ActiveDocument.1">
                  <p:embed/>
                </p:oleObj>
              </mc:Choice>
              <mc:Fallback>
                <p:oleObj name="think-cell スライド" r:id="rId4" imgW="499" imgH="499" progId="TCLayout.ActiveDocument.1">
                  <p:embed/>
                  <p:pic>
                    <p:nvPicPr>
                      <p:cNvPr id="8" name="オブジェクト 7" hidden="1">
                        <a:extLst>
                          <a:ext uri="{FF2B5EF4-FFF2-40B4-BE49-F238E27FC236}">
                            <a16:creationId xmlns:a16="http://schemas.microsoft.com/office/drawing/2014/main" id="{1BBE9D25-4DE5-46EE-8FED-CB8ED36E5506}"/>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11" name="テキスト プレースホルダー 10">
            <a:extLst>
              <a:ext uri="{FF2B5EF4-FFF2-40B4-BE49-F238E27FC236}">
                <a16:creationId xmlns:a16="http://schemas.microsoft.com/office/drawing/2014/main" id="{D6B57F77-6747-8345-B97F-B6205C839C6A}"/>
              </a:ext>
            </a:extLst>
          </p:cNvPr>
          <p:cNvSpPr>
            <a:spLocks noGrp="1"/>
          </p:cNvSpPr>
          <p:nvPr>
            <p:ph type="body" sz="quarter" idx="36"/>
          </p:nvPr>
        </p:nvSpPr>
        <p:spPr/>
        <p:txBody>
          <a:bodyPr/>
          <a:lstStyle/>
          <a:p>
            <a:endParaRPr lang="ja-JP" altLang="en-US"/>
          </a:p>
        </p:txBody>
      </p:sp>
      <p:sp>
        <p:nvSpPr>
          <p:cNvPr id="2" name="タイトル 1">
            <a:extLst>
              <a:ext uri="{FF2B5EF4-FFF2-40B4-BE49-F238E27FC236}">
                <a16:creationId xmlns:a16="http://schemas.microsoft.com/office/drawing/2014/main" id="{05AAEBB6-71D6-4253-80ED-017092C77AD9}"/>
              </a:ext>
            </a:extLst>
          </p:cNvPr>
          <p:cNvSpPr>
            <a:spLocks noGrp="1"/>
          </p:cNvSpPr>
          <p:nvPr>
            <p:ph type="title"/>
          </p:nvPr>
        </p:nvSpPr>
        <p:spPr/>
        <p:txBody>
          <a:bodyPr vert="horz"/>
          <a:lstStyle/>
          <a:p>
            <a:r>
              <a:rPr kumimoji="1" lang="ja-JP" altLang="en-US"/>
              <a:t>目次</a:t>
            </a:r>
          </a:p>
        </p:txBody>
      </p:sp>
      <p:sp>
        <p:nvSpPr>
          <p:cNvPr id="4" name="正方形/長方形 3">
            <a:extLst>
              <a:ext uri="{FF2B5EF4-FFF2-40B4-BE49-F238E27FC236}">
                <a16:creationId xmlns:a16="http://schemas.microsoft.com/office/drawing/2014/main" id="{C6338179-D8D3-61A3-0429-0A3FBF947021}"/>
              </a:ext>
            </a:extLst>
          </p:cNvPr>
          <p:cNvSpPr/>
          <p:nvPr/>
        </p:nvSpPr>
        <p:spPr>
          <a:xfrm>
            <a:off x="157615" y="1101036"/>
            <a:ext cx="11876770" cy="5541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numCol="3" rtlCol="0" anchor="t"/>
          <a:lstStyle/>
          <a:p>
            <a:pPr marL="342900" indent="-342900">
              <a:buFont typeface="+mj-lt"/>
              <a:buAutoNum type="romanU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プロジェクトのビジョン</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解決すべき社会課題</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創出価値</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課題解決のアプローチ</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en-US" altLang="ja-JP" sz="1600" dirty="0">
                <a:solidFill>
                  <a:srgbClr val="000000"/>
                </a:solidFill>
                <a:latin typeface="BIZ UDPゴシック"/>
                <a:ea typeface="BIZ UDPゴシック"/>
              </a:rPr>
              <a:t>KPI</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想定事業機会</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中長期的な展開</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交通サービスの高度化</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サービス全体像</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lang="ja-JP" altLang="en-US" sz="1600" dirty="0">
                <a:solidFill>
                  <a:srgbClr val="000000"/>
                </a:solidFill>
                <a:latin typeface="BIZ UDPゴシック"/>
                <a:ea typeface="BIZ UDPゴシック"/>
              </a:rPr>
              <a:t>実証仮説</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lang="ja-JP" altLang="en-US" sz="1600" dirty="0">
                <a:solidFill>
                  <a:srgbClr val="000000"/>
                </a:solidFill>
                <a:latin typeface="BIZ UDPゴシック"/>
                <a:ea typeface="BIZ UDPゴシック"/>
              </a:rPr>
              <a:t>スコープ詳細　</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プロジェクト実施エリア</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利用する技術要素</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ユーザインタフェース</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事業の推進体制</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lvl="1">
              <a:defRPr/>
            </a:pPr>
            <a:endParaRPr lang="en-US" altLang="ja-JP" sz="1600" dirty="0">
              <a:solidFill>
                <a:srgbClr val="000000"/>
              </a:solidFill>
              <a:latin typeface="BIZ UDPゴシック"/>
              <a:ea typeface="BIZ UDPゴシック"/>
            </a:endParaRPr>
          </a:p>
          <a:p>
            <a:pPr lvl="1">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lvl="1">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lvl="1">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モビリティデータの取得と活用</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lang="ja-JP" altLang="en-US" sz="1600" dirty="0">
                <a:solidFill>
                  <a:srgbClr val="000000"/>
                </a:solidFill>
                <a:latin typeface="BIZ UDPゴシック"/>
                <a:ea typeface="BIZ UDPゴシック"/>
              </a:rPr>
              <a:t>データ活用の</a:t>
            </a: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全体像</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実証仮説</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スコープ詳細</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データ活用実施エリア</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利用する技術要素</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利用するデータ一覧</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ユーザインターフェース</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事業の推進体制</a:t>
            </a:r>
            <a:endParaRPr lang="en-US" altLang="ja-JP" sz="1600" dirty="0">
              <a:solidFill>
                <a:srgbClr val="000000"/>
              </a:solidFill>
              <a:latin typeface="BIZ UDPゴシック"/>
              <a:ea typeface="BIZ UDPゴシック"/>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US" altLang="ja-JP" sz="1600" dirty="0">
              <a:solidFill>
                <a:srgbClr val="000000"/>
              </a:solidFill>
              <a:latin typeface="BIZ UDPゴシック"/>
              <a:ea typeface="BIZ UDPゴシック"/>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エンドコンテンツとの連携</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サービス全体像</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lang="ja-JP" altLang="en-US" sz="1600" dirty="0">
                <a:solidFill>
                  <a:srgbClr val="000000"/>
                </a:solidFill>
                <a:latin typeface="BIZ UDPゴシック"/>
                <a:ea typeface="BIZ UDPゴシック"/>
              </a:rPr>
              <a:t>実証仮説</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lang="ja-JP" altLang="en-US" sz="1600" dirty="0">
                <a:solidFill>
                  <a:srgbClr val="000000"/>
                </a:solidFill>
                <a:latin typeface="BIZ UDPゴシック"/>
                <a:ea typeface="BIZ UDPゴシック"/>
              </a:rPr>
              <a:t>スコープ詳細　</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プロジェクト実施エリア</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利用する技術要素</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ユーザインタフェース</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事業の推進体制</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スケジュール</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スケジュール（</a:t>
            </a:r>
            <a:r>
              <a:rPr lang="en-US" altLang="ja-JP" sz="1600" dirty="0">
                <a:solidFill>
                  <a:srgbClr val="000000"/>
                </a:solidFill>
                <a:latin typeface="BIZ UDPゴシック"/>
                <a:ea typeface="BIZ UDPゴシック"/>
              </a:rPr>
              <a:t>WBS</a:t>
            </a:r>
            <a:r>
              <a:rPr lang="ja-JP" altLang="en-US" sz="1600" dirty="0">
                <a:solidFill>
                  <a:srgbClr val="000000"/>
                </a:solidFill>
                <a:latin typeface="BIZ UDPゴシック"/>
                <a:ea typeface="BIZ UDPゴシック"/>
              </a:rPr>
              <a:t>ガントチャート）</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プロジェクトのフロー</a:t>
            </a:r>
            <a:endParaRPr lang="en-US" altLang="ja-JP" sz="1600" dirty="0">
              <a:solidFill>
                <a:srgbClr val="000000"/>
              </a:solidFill>
              <a:latin typeface="BIZ UDPゴシック"/>
              <a:ea typeface="BIZ UDPゴシック"/>
            </a:endParaRPr>
          </a:p>
          <a:p>
            <a:pPr marL="800100" lvl="1" indent="-342900">
              <a:buFont typeface="+mj-lt"/>
              <a:buAutoNum type="arabicPeriod"/>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マネジメント計画</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リスク・課題</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コスト</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リソース（プロジェクト実施体制）</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コミュニケーション</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品質</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成果物</a:t>
            </a:r>
            <a:endParaRPr lang="en-US" altLang="ja-JP" sz="1600" dirty="0">
              <a:solidFill>
                <a:srgbClr val="000000"/>
              </a:solidFill>
              <a:latin typeface="BIZ UDPゴシック"/>
              <a:ea typeface="BIZ UDPゴシック"/>
            </a:endParaRPr>
          </a:p>
          <a:p>
            <a:pPr lvl="1">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R="0" lvl="2" algn="l" defTabSz="914400" rtl="0" eaLnBrk="1" fontAlgn="auto" latinLnBrk="0" hangingPunct="1">
              <a:lnSpc>
                <a:spcPct val="100000"/>
              </a:lnSpc>
              <a:spcBef>
                <a:spcPts val="0"/>
              </a:spcBef>
              <a:spcAft>
                <a:spcPts val="0"/>
              </a:spcAft>
              <a:buClrTx/>
              <a:buSzTx/>
              <a:tabLst/>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p:txBody>
      </p:sp>
    </p:spTree>
    <p:extLst>
      <p:ext uri="{BB962C8B-B14F-4D97-AF65-F5344CB8AC3E}">
        <p14:creationId xmlns:p14="http://schemas.microsoft.com/office/powerpoint/2010/main" val="7045455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Ⅲ.</a:t>
            </a:r>
            <a:r>
              <a:rPr lang="ja-JP" altLang="en-US"/>
              <a:t>モビリティデータの取得と活用</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en-US" altLang="ja-JP"/>
              <a:t>1.</a:t>
            </a:r>
            <a:r>
              <a:rPr lang="ja-JP" altLang="en-US"/>
              <a:t>データ活用の全体像</a:t>
            </a:r>
          </a:p>
        </p:txBody>
      </p:sp>
      <p:grpSp>
        <p:nvGrpSpPr>
          <p:cNvPr id="3" name="グループ化 2">
            <a:extLst>
              <a:ext uri="{FF2B5EF4-FFF2-40B4-BE49-F238E27FC236}">
                <a16:creationId xmlns:a16="http://schemas.microsoft.com/office/drawing/2014/main" id="{EBC23DA4-F36B-555D-CA5C-39F94E08823F}"/>
              </a:ext>
            </a:extLst>
          </p:cNvPr>
          <p:cNvGrpSpPr/>
          <p:nvPr/>
        </p:nvGrpSpPr>
        <p:grpSpPr>
          <a:xfrm>
            <a:off x="311925" y="1652213"/>
            <a:ext cx="11587200" cy="309600"/>
            <a:chOff x="302400" y="1990800"/>
            <a:chExt cx="11587200" cy="309600"/>
          </a:xfrm>
        </p:grpSpPr>
        <p:grpSp>
          <p:nvGrpSpPr>
            <p:cNvPr id="4" name="PanelGroup1">
              <a:extLst>
                <a:ext uri="{FF2B5EF4-FFF2-40B4-BE49-F238E27FC236}">
                  <a16:creationId xmlns:a16="http://schemas.microsoft.com/office/drawing/2014/main" id="{182836E8-0A6C-6508-BE54-D9FA5966D104}"/>
                </a:ext>
              </a:extLst>
            </p:cNvPr>
            <p:cNvGrpSpPr/>
            <p:nvPr/>
          </p:nvGrpSpPr>
          <p:grpSpPr>
            <a:xfrm>
              <a:off x="302400" y="1990800"/>
              <a:ext cx="5761200" cy="309600"/>
              <a:chOff x="302400" y="1990800"/>
              <a:chExt cx="5761200" cy="309600"/>
            </a:xfrm>
          </p:grpSpPr>
          <p:sp>
            <p:nvSpPr>
              <p:cNvPr id="12" name="正方形/長方形 11">
                <a:extLst>
                  <a:ext uri="{FF2B5EF4-FFF2-40B4-BE49-F238E27FC236}">
                    <a16:creationId xmlns:a16="http://schemas.microsoft.com/office/drawing/2014/main" id="{0885EF34-1A86-AA39-1A1A-5F99ABF6B7EF}"/>
                  </a:ext>
                </a:extLst>
              </p:cNvPr>
              <p:cNvSpPr/>
              <p:nvPr/>
            </p:nvSpPr>
            <p:spPr>
              <a:xfrm>
                <a:off x="302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全体像</a:t>
                </a:r>
              </a:p>
            </p:txBody>
          </p:sp>
          <p:cxnSp>
            <p:nvCxnSpPr>
              <p:cNvPr id="13" name="直線矢印コネクタ 12">
                <a:extLst>
                  <a:ext uri="{FF2B5EF4-FFF2-40B4-BE49-F238E27FC236}">
                    <a16:creationId xmlns:a16="http://schemas.microsoft.com/office/drawing/2014/main" id="{819B2E49-17B8-3727-8812-69FD5702E69C}"/>
                  </a:ext>
                </a:extLst>
              </p:cNvPr>
              <p:cNvCxnSpPr/>
              <p:nvPr/>
            </p:nvCxnSpPr>
            <p:spPr>
              <a:xfrm>
                <a:off x="302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7" name="PanelGroup2">
              <a:extLst>
                <a:ext uri="{FF2B5EF4-FFF2-40B4-BE49-F238E27FC236}">
                  <a16:creationId xmlns:a16="http://schemas.microsoft.com/office/drawing/2014/main" id="{2FB98B28-3911-4D54-DF63-480395E4E9E6}"/>
                </a:ext>
              </a:extLst>
            </p:cNvPr>
            <p:cNvGrpSpPr/>
            <p:nvPr/>
          </p:nvGrpSpPr>
          <p:grpSpPr>
            <a:xfrm>
              <a:off x="6128400" y="1990800"/>
              <a:ext cx="5761200" cy="309600"/>
              <a:chOff x="6128400" y="1990800"/>
              <a:chExt cx="5761200" cy="309600"/>
            </a:xfrm>
          </p:grpSpPr>
          <p:sp>
            <p:nvSpPr>
              <p:cNvPr id="8" name="正方形/長方形 7">
                <a:extLst>
                  <a:ext uri="{FF2B5EF4-FFF2-40B4-BE49-F238E27FC236}">
                    <a16:creationId xmlns:a16="http://schemas.microsoft.com/office/drawing/2014/main" id="{95ACE118-4131-DE79-F02F-66722864A02D}"/>
                  </a:ext>
                </a:extLst>
              </p:cNvPr>
              <p:cNvSpPr/>
              <p:nvPr/>
            </p:nvSpPr>
            <p:spPr>
              <a:xfrm>
                <a:off x="6128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イメージ</a:t>
                </a:r>
              </a:p>
            </p:txBody>
          </p:sp>
          <p:cxnSp>
            <p:nvCxnSpPr>
              <p:cNvPr id="10" name="直線矢印コネクタ 9">
                <a:extLst>
                  <a:ext uri="{FF2B5EF4-FFF2-40B4-BE49-F238E27FC236}">
                    <a16:creationId xmlns:a16="http://schemas.microsoft.com/office/drawing/2014/main" id="{EEF86A98-39B5-3E9C-8313-F6410191C7AD}"/>
                  </a:ext>
                </a:extLst>
              </p:cNvPr>
              <p:cNvCxnSpPr/>
              <p:nvPr/>
            </p:nvCxnSpPr>
            <p:spPr>
              <a:xfrm>
                <a:off x="6128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sp>
        <p:nvSpPr>
          <p:cNvPr id="17" name="テキスト プレースホルダー 16">
            <a:extLst>
              <a:ext uri="{FF2B5EF4-FFF2-40B4-BE49-F238E27FC236}">
                <a16:creationId xmlns:a16="http://schemas.microsoft.com/office/drawing/2014/main" id="{ED5B4037-6A33-091F-CAB0-26A3BC43E5EE}"/>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6" name="テキスト ボックス 5">
            <a:extLst>
              <a:ext uri="{FF2B5EF4-FFF2-40B4-BE49-F238E27FC236}">
                <a16:creationId xmlns:a16="http://schemas.microsoft.com/office/drawing/2014/main" id="{95B7D5A6-3733-419F-5F47-1323A3D8D852}"/>
              </a:ext>
            </a:extLst>
          </p:cNvPr>
          <p:cNvSpPr txBox="1"/>
          <p:nvPr/>
        </p:nvSpPr>
        <p:spPr>
          <a:xfrm>
            <a:off x="300779" y="2079520"/>
            <a:ext cx="5761200" cy="4463159"/>
          </a:xfrm>
          <a:prstGeom prst="rect">
            <a:avLst/>
          </a:prstGeom>
          <a:noFill/>
        </p:spPr>
        <p:txBody>
          <a:bodyPr wrap="square" anchor="t">
            <a:noAutofit/>
          </a:bodyPr>
          <a:lstStyle/>
          <a:p>
            <a:pPr marR="0" lvl="0" algn="l" defTabSz="914400" rtl="0" eaLnBrk="1" fontAlgn="auto" latinLnBrk="0" hangingPunct="1">
              <a:lnSpc>
                <a:spcPct val="100000"/>
              </a:lnSpc>
              <a:spcBef>
                <a:spcPts val="300"/>
              </a:spcBef>
              <a:spcAft>
                <a:spcPts val="0"/>
              </a:spcAft>
              <a:buClrTx/>
              <a:buSzTx/>
              <a:tabLst/>
              <a:defRPr/>
            </a:pPr>
            <a:r>
              <a:rPr lang="ja-JP" altLang="en-US" sz="1200" dirty="0">
                <a:solidFill>
                  <a:srgbClr val="0070C0"/>
                </a:solidFill>
                <a:latin typeface="BIZ UDPゴシック"/>
                <a:ea typeface="BIZ UDPゴシック"/>
              </a:rPr>
              <a:t>交通事業者が保有する</a:t>
            </a:r>
            <a:r>
              <a:rPr lang="en-US" altLang="ja-JP" sz="1200" dirty="0">
                <a:solidFill>
                  <a:srgbClr val="0070C0"/>
                </a:solidFill>
                <a:latin typeface="BIZ UDPゴシック"/>
                <a:ea typeface="BIZ UDPゴシック"/>
              </a:rPr>
              <a:t>IC</a:t>
            </a:r>
            <a:r>
              <a:rPr lang="ja-JP" altLang="en-US" sz="1200" dirty="0">
                <a:solidFill>
                  <a:srgbClr val="0070C0"/>
                </a:solidFill>
                <a:latin typeface="BIZ UDPゴシック"/>
                <a:ea typeface="BIZ UDPゴシック"/>
              </a:rPr>
              <a:t>カードデータや運行データのほか、人流データ、既存の調査結果のデータ等を組み合わせることで、自治体と交通事業者が地域の移動需要と実態を正確に把握し、地域の公共交通のあり方、交通網の再編につながる施策検討を実施できるような環境を構築する</a:t>
            </a:r>
          </a:p>
          <a:p>
            <a:pPr marR="0" lvl="0" algn="l" defTabSz="914400" rtl="0" eaLnBrk="1" fontAlgn="auto" latinLnBrk="0" hangingPunct="1">
              <a:lnSpc>
                <a:spcPct val="100000"/>
              </a:lnSpc>
              <a:spcBef>
                <a:spcPts val="300"/>
              </a:spcBef>
              <a:spcAft>
                <a:spcPts val="0"/>
              </a:spcAft>
              <a:buClrTx/>
              <a:buSzTx/>
              <a:tabLst/>
              <a:defRPr/>
            </a:pPr>
            <a:endParaRPr lang="en-US" altLang="ja-JP" sz="1200" dirty="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dirty="0">
                <a:solidFill>
                  <a:srgbClr val="0070C0"/>
                </a:solidFill>
                <a:latin typeface="BIZ UDPゴシック"/>
                <a:ea typeface="BIZ UDPゴシック"/>
              </a:rPr>
              <a:t>①データ分析の実施</a:t>
            </a:r>
            <a:endParaRPr lang="en-US" altLang="ja-JP" sz="1200" dirty="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dirty="0">
                <a:solidFill>
                  <a:srgbClr val="0070C0"/>
                </a:solidFill>
                <a:latin typeface="BIZ UDPゴシック"/>
                <a:ea typeface="BIZ UDPゴシック"/>
              </a:rPr>
              <a:t>　交通事業者から</a:t>
            </a:r>
            <a:r>
              <a:rPr lang="en-US" altLang="ja-JP" sz="1200" dirty="0">
                <a:solidFill>
                  <a:srgbClr val="0070C0"/>
                </a:solidFill>
                <a:latin typeface="BIZ UDPゴシック"/>
                <a:ea typeface="BIZ UDPゴシック"/>
              </a:rPr>
              <a:t>IC</a:t>
            </a:r>
            <a:r>
              <a:rPr lang="ja-JP" altLang="en-US" sz="1200" dirty="0">
                <a:solidFill>
                  <a:srgbClr val="0070C0"/>
                </a:solidFill>
                <a:latin typeface="BIZ UDPゴシック"/>
                <a:ea typeface="BIZ UDPゴシック"/>
              </a:rPr>
              <a:t>カード等の生データ提供を受け、自治体が分析したい目的に応じたデータに加工し分析を行う</a:t>
            </a:r>
            <a:endParaRPr lang="en-US" altLang="ja-JP" sz="1200" dirty="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endParaRPr lang="en-US" altLang="ja-JP" sz="1200" dirty="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dirty="0">
                <a:solidFill>
                  <a:srgbClr val="0070C0"/>
                </a:solidFill>
                <a:latin typeface="BIZ UDPゴシック"/>
                <a:ea typeface="BIZ UDPゴシック"/>
              </a:rPr>
              <a:t>②データの可視化</a:t>
            </a:r>
            <a:endParaRPr lang="en-US" altLang="ja-JP" sz="1200" dirty="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dirty="0">
                <a:solidFill>
                  <a:srgbClr val="0070C0"/>
                </a:solidFill>
                <a:latin typeface="BIZ UDPゴシック"/>
                <a:ea typeface="BIZ UDPゴシック"/>
              </a:rPr>
              <a:t>　表やグラフだけでなく、 地図上に取得したデータを重畳し、より直感的に分かりやすく可視化</a:t>
            </a:r>
            <a:endParaRPr lang="en-US" altLang="ja-JP" sz="1200" dirty="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endParaRPr lang="en-US" altLang="ja-JP" sz="1200" dirty="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endParaRPr lang="en-US" altLang="ja-JP" sz="1200" dirty="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dirty="0">
                <a:solidFill>
                  <a:srgbClr val="0070C0"/>
                </a:solidFill>
                <a:latin typeface="BIZ UDPゴシック"/>
                <a:ea typeface="BIZ UDPゴシック"/>
              </a:rPr>
              <a:t>③・・・・・</a:t>
            </a:r>
            <a:endParaRPr lang="en-US" altLang="ja-JP" sz="1200" dirty="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dirty="0">
                <a:solidFill>
                  <a:srgbClr val="0070C0"/>
                </a:solidFill>
                <a:latin typeface="BIZ UDPゴシック"/>
                <a:ea typeface="BIZ UDPゴシック"/>
              </a:rPr>
              <a:t>　</a:t>
            </a:r>
            <a:endParaRPr lang="en-US" altLang="ja-JP" sz="1200" dirty="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endParaRPr kumimoji="1" lang="en-US" altLang="ja-JP" sz="1200" b="0" i="0" u="none" strike="noStrike" kern="1200" cap="none" spc="0" normalizeH="0" baseline="0" noProof="0" dirty="0">
              <a:ln>
                <a:noFill/>
              </a:ln>
              <a:solidFill>
                <a:srgbClr val="0070C0"/>
              </a:solidFill>
              <a:effectLst/>
              <a:uLnTx/>
              <a:uFillTx/>
              <a:latin typeface="BIZ UDPゴシック"/>
              <a:ea typeface="BIZ UDPゴシック"/>
              <a:cs typeface="+mn-cs"/>
            </a:endParaRPr>
          </a:p>
        </p:txBody>
      </p:sp>
      <p:sp>
        <p:nvSpPr>
          <p:cNvPr id="50" name="テキスト ボックス 49">
            <a:extLst>
              <a:ext uri="{FF2B5EF4-FFF2-40B4-BE49-F238E27FC236}">
                <a16:creationId xmlns:a16="http://schemas.microsoft.com/office/drawing/2014/main" id="{5B635FEA-2811-3A33-A6E6-95440B42D811}"/>
              </a:ext>
            </a:extLst>
          </p:cNvPr>
          <p:cNvSpPr txBox="1"/>
          <p:nvPr/>
        </p:nvSpPr>
        <p:spPr>
          <a:xfrm>
            <a:off x="6280186" y="4311100"/>
            <a:ext cx="5670325" cy="1578177"/>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プロジェクトのイメージビジュアルを掲載してください。</a:t>
            </a:r>
            <a:endParaRPr kumimoji="0" lang="en-US" altLang="ja-JP" sz="1400" b="0" i="0" u="none" strike="noStrike" kern="0" cap="none" spc="0" normalizeH="0" baseline="0" noProof="0">
              <a:ln>
                <a:noFill/>
              </a:ln>
              <a:solidFill>
                <a:srgbClr val="FFFFFF"/>
              </a:solidFill>
              <a:effectLst/>
              <a:uLnTx/>
              <a:uFillTx/>
            </a:endParaRPr>
          </a:p>
        </p:txBody>
      </p:sp>
      <p:sp>
        <p:nvSpPr>
          <p:cNvPr id="53" name="テキスト ボックス 52">
            <a:extLst>
              <a:ext uri="{FF2B5EF4-FFF2-40B4-BE49-F238E27FC236}">
                <a16:creationId xmlns:a16="http://schemas.microsoft.com/office/drawing/2014/main" id="{600AE28E-2F7C-E1F6-5796-97DD1A8A0830}"/>
              </a:ext>
            </a:extLst>
          </p:cNvPr>
          <p:cNvSpPr txBox="1"/>
          <p:nvPr/>
        </p:nvSpPr>
        <p:spPr>
          <a:xfrm>
            <a:off x="300779" y="4311100"/>
            <a:ext cx="5670325" cy="1578177"/>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プロジェクトの全体像と個別のスコープについて明確に記載してください。</a:t>
            </a:r>
            <a:endParaRPr kumimoji="0" lang="en-US" altLang="ja-JP"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42371386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Ⅲ.</a:t>
            </a:r>
            <a:r>
              <a:rPr lang="ja-JP" altLang="en-US"/>
              <a:t>モビリティデータの取得と活用</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a:xfrm>
            <a:off x="300778" y="655357"/>
            <a:ext cx="11891221" cy="432000"/>
          </a:xfrm>
        </p:spPr>
        <p:txBody>
          <a:bodyPr vert="horz"/>
          <a:lstStyle/>
          <a:p>
            <a:r>
              <a:rPr lang="ja-JP" altLang="en-US"/>
              <a:t>１</a:t>
            </a:r>
            <a:r>
              <a:rPr lang="en-US" altLang="ja-JP"/>
              <a:t>.</a:t>
            </a:r>
            <a:r>
              <a:rPr lang="ja-JP" altLang="en-US"/>
              <a:t>データ活用の全体像│実現する</a:t>
            </a:r>
            <a:r>
              <a:rPr lang="en-US" altLang="ja-JP"/>
              <a:t>UX</a:t>
            </a:r>
            <a:endParaRPr lang="ja-JP" altLang="en-US"/>
          </a:p>
        </p:txBody>
      </p:sp>
      <p:sp>
        <p:nvSpPr>
          <p:cNvPr id="11" name="テキスト プレースホルダー 10">
            <a:extLst>
              <a:ext uri="{FF2B5EF4-FFF2-40B4-BE49-F238E27FC236}">
                <a16:creationId xmlns:a16="http://schemas.microsoft.com/office/drawing/2014/main" id="{5B8ABDA1-3D2A-BE6F-2D47-4B44E4CE9142}"/>
              </a:ext>
            </a:extLst>
          </p:cNvPr>
          <p:cNvSpPr>
            <a:spLocks noGrp="1"/>
          </p:cNvSpPr>
          <p:nvPr>
            <p:ph type="body" sz="quarter" idx="4294967295"/>
          </p:nvPr>
        </p:nvSpPr>
        <p:spPr>
          <a:xfrm>
            <a:off x="300778" y="1743000"/>
            <a:ext cx="11376000" cy="323165"/>
          </a:xfrm>
        </p:spPr>
        <p:txBody>
          <a:bodyPr>
            <a:normAutofit fontScale="92500" lnSpcReduction="2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マリーを記載</a:t>
            </a: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7" name="フローチャート: 他ページ結合子 16">
            <a:extLst>
              <a:ext uri="{FF2B5EF4-FFF2-40B4-BE49-F238E27FC236}">
                <a16:creationId xmlns:a16="http://schemas.microsoft.com/office/drawing/2014/main" id="{53F10FF5-7C3A-04E7-4D0E-3EC2A9EB89FC}"/>
              </a:ext>
            </a:extLst>
          </p:cNvPr>
          <p:cNvSpPr/>
          <p:nvPr/>
        </p:nvSpPr>
        <p:spPr bwMode="gray">
          <a:xfrm>
            <a:off x="209722" y="3438793"/>
            <a:ext cx="2164078" cy="872923"/>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課題抽出</a:t>
            </a:r>
          </a:p>
        </p:txBody>
      </p:sp>
      <p:sp>
        <p:nvSpPr>
          <p:cNvPr id="18" name="正方形/長方形 17">
            <a:extLst>
              <a:ext uri="{FF2B5EF4-FFF2-40B4-BE49-F238E27FC236}">
                <a16:creationId xmlns:a16="http://schemas.microsoft.com/office/drawing/2014/main" id="{E9664A3C-1A6D-1DEA-5030-08206BBAF59D}"/>
              </a:ext>
            </a:extLst>
          </p:cNvPr>
          <p:cNvSpPr/>
          <p:nvPr/>
        </p:nvSpPr>
        <p:spPr bwMode="gray">
          <a:xfrm>
            <a:off x="2374364" y="1904109"/>
            <a:ext cx="4783566" cy="338527"/>
          </a:xfrm>
          <a:prstGeom prst="rect">
            <a:avLst/>
          </a:prstGeom>
          <a:noFill/>
          <a:ln w="6350">
            <a:noFill/>
            <a:miter lim="800000"/>
            <a:headEnd/>
            <a:tailEnd/>
          </a:ln>
          <a:effectLst/>
          <a:extLst>
            <a:ext uri="{91240B29-F687-4F45-9708-019B960494DF}">
              <a14:hiddenLine xmlns:a14="http://schemas.microsoft.com/office/drawing/2010/main" w="6350">
                <a:solidFill>
                  <a:schemeClr val="tx1"/>
                </a:solidFill>
                <a:miter lim="800000"/>
                <a:headEnd/>
                <a:tailEnd/>
              </a14:hiddenLine>
            </a:ext>
          </a:extLst>
        </p:spPr>
        <p:txBody>
          <a:bodyPr vert="horz" wrap="none" lIns="72000" tIns="72000" rIns="72000" bIns="72000" numCol="1" rtlCol="0" anchor="ctr" anchorCtr="0" compatLnSpc="1">
            <a:prstTxWarp prst="textNoShape">
              <a:avLst/>
            </a:prstTxWarp>
            <a:noAutofit/>
          </a:bodyPr>
          <a:lstStyle/>
          <a:p>
            <a:pPr algn="ctr"/>
            <a:r>
              <a:rPr kumimoji="1" lang="ja-JP" altLang="en-US" sz="1400">
                <a:latin typeface="+mn-ea"/>
              </a:rPr>
              <a:t>従来の</a:t>
            </a:r>
            <a:r>
              <a:rPr kumimoji="1" lang="en-US" altLang="ja-JP" sz="1400">
                <a:latin typeface="+mn-ea"/>
              </a:rPr>
              <a:t>UX</a:t>
            </a:r>
            <a:endParaRPr kumimoji="1" lang="ja-JP" altLang="en-US" sz="1400">
              <a:latin typeface="+mn-ea"/>
            </a:endParaRPr>
          </a:p>
        </p:txBody>
      </p:sp>
      <p:cxnSp>
        <p:nvCxnSpPr>
          <p:cNvPr id="19" name="直線矢印コネクタ 18">
            <a:extLst>
              <a:ext uri="{FF2B5EF4-FFF2-40B4-BE49-F238E27FC236}">
                <a16:creationId xmlns:a16="http://schemas.microsoft.com/office/drawing/2014/main" id="{988F5D47-E5D3-5BF3-75A0-F784D65E7675}"/>
              </a:ext>
            </a:extLst>
          </p:cNvPr>
          <p:cNvCxnSpPr>
            <a:cxnSpLocks/>
          </p:cNvCxnSpPr>
          <p:nvPr/>
        </p:nvCxnSpPr>
        <p:spPr>
          <a:xfrm>
            <a:off x="2521691" y="2242636"/>
            <a:ext cx="4488909" cy="0"/>
          </a:xfrm>
          <a:prstGeom prst="straightConnector1">
            <a:avLst/>
          </a:prstGeom>
          <a:noFill/>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正方形/長方形 19">
            <a:extLst>
              <a:ext uri="{FF2B5EF4-FFF2-40B4-BE49-F238E27FC236}">
                <a16:creationId xmlns:a16="http://schemas.microsoft.com/office/drawing/2014/main" id="{A1D40746-BF49-AC90-B951-2E85999D00C9}"/>
              </a:ext>
            </a:extLst>
          </p:cNvPr>
          <p:cNvSpPr/>
          <p:nvPr/>
        </p:nvSpPr>
        <p:spPr bwMode="gray">
          <a:xfrm>
            <a:off x="7021258" y="1904109"/>
            <a:ext cx="4783566" cy="338527"/>
          </a:xfrm>
          <a:prstGeom prst="rect">
            <a:avLst/>
          </a:prstGeom>
          <a:noFill/>
          <a:ln w="6350">
            <a:noFill/>
            <a:miter lim="800000"/>
            <a:headEnd/>
            <a:tailEnd/>
          </a:ln>
          <a:effectLst/>
          <a:extLst>
            <a:ext uri="{91240B29-F687-4F45-9708-019B960494DF}">
              <a14:hiddenLine xmlns:a14="http://schemas.microsoft.com/office/drawing/2010/main" w="6350">
                <a:solidFill>
                  <a:schemeClr val="tx1"/>
                </a:solidFill>
                <a:miter lim="800000"/>
                <a:headEnd/>
                <a:tailEnd/>
              </a14:hiddenLine>
            </a:ext>
          </a:extLst>
        </p:spPr>
        <p:txBody>
          <a:bodyPr vert="horz" wrap="none" lIns="72000" tIns="72000" rIns="72000" bIns="72000" numCol="1" rtlCol="0" anchor="ctr" anchorCtr="0" compatLnSpc="1">
            <a:prstTxWarp prst="textNoShape">
              <a:avLst/>
            </a:prstTxWarp>
            <a:noAutofit/>
          </a:bodyPr>
          <a:lstStyle/>
          <a:p>
            <a:pPr algn="ctr"/>
            <a:r>
              <a:rPr kumimoji="1" lang="ja-JP" altLang="en-US" sz="1400">
                <a:latin typeface="+mn-ea"/>
              </a:rPr>
              <a:t>本プロジェクトが目指す</a:t>
            </a:r>
            <a:r>
              <a:rPr kumimoji="1" lang="en-US" altLang="ja-JP" sz="1400">
                <a:latin typeface="+mn-ea"/>
              </a:rPr>
              <a:t>UX</a:t>
            </a:r>
            <a:endParaRPr kumimoji="1" lang="ja-JP" altLang="en-US" sz="1400">
              <a:latin typeface="+mn-ea"/>
            </a:endParaRPr>
          </a:p>
        </p:txBody>
      </p:sp>
      <p:cxnSp>
        <p:nvCxnSpPr>
          <p:cNvPr id="21" name="直線矢印コネクタ 20">
            <a:extLst>
              <a:ext uri="{FF2B5EF4-FFF2-40B4-BE49-F238E27FC236}">
                <a16:creationId xmlns:a16="http://schemas.microsoft.com/office/drawing/2014/main" id="{2C5A1D27-39E7-7A74-E0C6-11903FAA5D16}"/>
              </a:ext>
            </a:extLst>
          </p:cNvPr>
          <p:cNvCxnSpPr>
            <a:cxnSpLocks/>
          </p:cNvCxnSpPr>
          <p:nvPr/>
        </p:nvCxnSpPr>
        <p:spPr>
          <a:xfrm>
            <a:off x="7168585" y="2242636"/>
            <a:ext cx="4488909" cy="0"/>
          </a:xfrm>
          <a:prstGeom prst="straightConnector1">
            <a:avLst/>
          </a:prstGeom>
          <a:noFill/>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フローチャート: 他ページ結合子 21">
            <a:extLst>
              <a:ext uri="{FF2B5EF4-FFF2-40B4-BE49-F238E27FC236}">
                <a16:creationId xmlns:a16="http://schemas.microsoft.com/office/drawing/2014/main" id="{E3A53034-9097-A2B0-BA00-9805C113B3C4}"/>
              </a:ext>
            </a:extLst>
          </p:cNvPr>
          <p:cNvSpPr/>
          <p:nvPr/>
        </p:nvSpPr>
        <p:spPr bwMode="gray">
          <a:xfrm>
            <a:off x="209722" y="4488187"/>
            <a:ext cx="2164078" cy="876812"/>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課題に基づく</a:t>
            </a:r>
            <a:endParaRPr kumimoji="1" lang="en-US" altLang="ja-JP" sz="1600">
              <a:solidFill>
                <a:srgbClr val="0070C0"/>
              </a:solidFill>
              <a:latin typeface="+mn-ea"/>
            </a:endParaRPr>
          </a:p>
          <a:p>
            <a:pPr algn="ctr">
              <a:spcBef>
                <a:spcPts val="0"/>
              </a:spcBef>
              <a:spcAft>
                <a:spcPts val="300"/>
              </a:spcAft>
            </a:pPr>
            <a:r>
              <a:rPr kumimoji="1" lang="ja-JP" altLang="en-US" sz="1600">
                <a:solidFill>
                  <a:srgbClr val="0070C0"/>
                </a:solidFill>
                <a:latin typeface="+mn-ea"/>
              </a:rPr>
              <a:t>施策の検討</a:t>
            </a:r>
            <a:endParaRPr kumimoji="1" lang="en-US" altLang="ja-JP" sz="1600">
              <a:solidFill>
                <a:srgbClr val="0070C0"/>
              </a:solidFill>
              <a:latin typeface="+mn-ea"/>
            </a:endParaRPr>
          </a:p>
        </p:txBody>
      </p:sp>
      <p:cxnSp>
        <p:nvCxnSpPr>
          <p:cNvPr id="24" name="直線コネクタ 23">
            <a:extLst>
              <a:ext uri="{FF2B5EF4-FFF2-40B4-BE49-F238E27FC236}">
                <a16:creationId xmlns:a16="http://schemas.microsoft.com/office/drawing/2014/main" id="{67CF960F-BF89-4129-340B-68AB5FDE8755}"/>
              </a:ext>
            </a:extLst>
          </p:cNvPr>
          <p:cNvCxnSpPr>
            <a:cxnSpLocks/>
          </p:cNvCxnSpPr>
          <p:nvPr/>
        </p:nvCxnSpPr>
        <p:spPr>
          <a:xfrm>
            <a:off x="2469871" y="3225464"/>
            <a:ext cx="9187622" cy="0"/>
          </a:xfrm>
          <a:prstGeom prst="line">
            <a:avLst/>
          </a:prstGeom>
          <a:noFill/>
          <a:ln w="9525" cmpd="sng">
            <a:solidFill>
              <a:srgbClr val="919191"/>
            </a:solidFill>
            <a:prstDash val="dash"/>
          </a:ln>
        </p:spPr>
        <p:style>
          <a:lnRef idx="1">
            <a:schemeClr val="accent1"/>
          </a:lnRef>
          <a:fillRef idx="0">
            <a:schemeClr val="accent1"/>
          </a:fillRef>
          <a:effectRef idx="0">
            <a:schemeClr val="accent1"/>
          </a:effectRef>
          <a:fontRef idx="minor">
            <a:schemeClr val="tx1"/>
          </a:fontRef>
        </p:style>
      </p:cxnSp>
      <p:sp>
        <p:nvSpPr>
          <p:cNvPr id="25" name="フローチャート: 他ページ結合子 24">
            <a:extLst>
              <a:ext uri="{FF2B5EF4-FFF2-40B4-BE49-F238E27FC236}">
                <a16:creationId xmlns:a16="http://schemas.microsoft.com/office/drawing/2014/main" id="{B623064F-1224-9D0A-91B9-574A09BD6B31}"/>
              </a:ext>
            </a:extLst>
          </p:cNvPr>
          <p:cNvSpPr/>
          <p:nvPr/>
        </p:nvSpPr>
        <p:spPr bwMode="gray">
          <a:xfrm>
            <a:off x="209722" y="2304824"/>
            <a:ext cx="2164078" cy="920640"/>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現状の可視化</a:t>
            </a:r>
          </a:p>
        </p:txBody>
      </p:sp>
      <p:cxnSp>
        <p:nvCxnSpPr>
          <p:cNvPr id="26" name="直線コネクタ 25">
            <a:extLst>
              <a:ext uri="{FF2B5EF4-FFF2-40B4-BE49-F238E27FC236}">
                <a16:creationId xmlns:a16="http://schemas.microsoft.com/office/drawing/2014/main" id="{D275D890-34D1-720A-5568-058C5CE60E89}"/>
              </a:ext>
            </a:extLst>
          </p:cNvPr>
          <p:cNvCxnSpPr>
            <a:cxnSpLocks/>
          </p:cNvCxnSpPr>
          <p:nvPr/>
        </p:nvCxnSpPr>
        <p:spPr>
          <a:xfrm>
            <a:off x="2469871" y="4423646"/>
            <a:ext cx="9187622" cy="0"/>
          </a:xfrm>
          <a:prstGeom prst="line">
            <a:avLst/>
          </a:prstGeom>
          <a:noFill/>
          <a:ln w="9525" cmpd="sng">
            <a:solidFill>
              <a:srgbClr val="919191"/>
            </a:solidFill>
            <a:prstDash val="dash"/>
          </a:ln>
        </p:spPr>
        <p:style>
          <a:lnRef idx="1">
            <a:schemeClr val="accent1"/>
          </a:lnRef>
          <a:fillRef idx="0">
            <a:schemeClr val="accent1"/>
          </a:fillRef>
          <a:effectRef idx="0">
            <a:schemeClr val="accent1"/>
          </a:effectRef>
          <a:fontRef idx="minor">
            <a:schemeClr val="tx1"/>
          </a:fontRef>
        </p:style>
      </p:cxnSp>
      <p:sp>
        <p:nvSpPr>
          <p:cNvPr id="28" name="テキスト ボックス 27">
            <a:extLst>
              <a:ext uri="{FF2B5EF4-FFF2-40B4-BE49-F238E27FC236}">
                <a16:creationId xmlns:a16="http://schemas.microsoft.com/office/drawing/2014/main" id="{90FD0E77-3888-581E-76F2-D03B3D6A162F}"/>
              </a:ext>
            </a:extLst>
          </p:cNvPr>
          <p:cNvSpPr txBox="1"/>
          <p:nvPr/>
        </p:nvSpPr>
        <p:spPr>
          <a:xfrm>
            <a:off x="2693619" y="2338595"/>
            <a:ext cx="4341889" cy="503590"/>
          </a:xfrm>
          <a:prstGeom prst="rect">
            <a:avLst/>
          </a:prstGeom>
          <a:noFill/>
        </p:spPr>
        <p:txBody>
          <a:bodyPr wrap="square" lIns="36000" tIns="36000" rIns="36000" bIns="36000" rtlCol="0">
            <a:spAutoFit/>
          </a:body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交通事業者ごとに提供されるデータのとりまとめに工数がかかる</a:t>
            </a:r>
            <a:endParaRPr kumimoji="1" lang="en-US" altLang="ja-JP" sz="1400">
              <a:solidFill>
                <a:srgbClr val="0070C0"/>
              </a:solidFill>
              <a:latin typeface="+mn-ea"/>
            </a:endParaRPr>
          </a:p>
        </p:txBody>
      </p:sp>
      <p:sp>
        <p:nvSpPr>
          <p:cNvPr id="29" name="テキスト ボックス 28">
            <a:extLst>
              <a:ext uri="{FF2B5EF4-FFF2-40B4-BE49-F238E27FC236}">
                <a16:creationId xmlns:a16="http://schemas.microsoft.com/office/drawing/2014/main" id="{51548927-EDC2-8320-9763-1100DEEB5C3D}"/>
              </a:ext>
            </a:extLst>
          </p:cNvPr>
          <p:cNvSpPr txBox="1"/>
          <p:nvPr/>
        </p:nvSpPr>
        <p:spPr>
          <a:xfrm>
            <a:off x="2693619" y="3341080"/>
            <a:ext cx="4316980" cy="503590"/>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複数のデータから手作業で適切な課題を抽出するのに工数がかかる</a:t>
            </a:r>
            <a:endParaRPr kumimoji="1" lang="en-US" altLang="ja-JP" sz="1400">
              <a:solidFill>
                <a:srgbClr val="0070C0"/>
              </a:solidFill>
              <a:latin typeface="+mn-ea"/>
            </a:endParaRPr>
          </a:p>
        </p:txBody>
      </p:sp>
      <p:sp>
        <p:nvSpPr>
          <p:cNvPr id="30" name="テキスト ボックス 29">
            <a:extLst>
              <a:ext uri="{FF2B5EF4-FFF2-40B4-BE49-F238E27FC236}">
                <a16:creationId xmlns:a16="http://schemas.microsoft.com/office/drawing/2014/main" id="{ABA7E6E7-22B8-6897-CAD1-5BB1F7243A11}"/>
              </a:ext>
            </a:extLst>
          </p:cNvPr>
          <p:cNvSpPr txBox="1"/>
          <p:nvPr/>
        </p:nvSpPr>
        <p:spPr>
          <a:xfrm>
            <a:off x="7157930" y="2335267"/>
            <a:ext cx="4885789" cy="503590"/>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提出フォーマットを統一化し、分析システムに取り込みやすい形とする。</a:t>
            </a:r>
            <a:endParaRPr kumimoji="1" lang="en-US" altLang="ja-JP" sz="1400">
              <a:solidFill>
                <a:srgbClr val="0070C0"/>
              </a:solidFill>
              <a:latin typeface="+mn-ea"/>
            </a:endParaRPr>
          </a:p>
        </p:txBody>
      </p:sp>
      <p:sp>
        <p:nvSpPr>
          <p:cNvPr id="31" name="テキスト ボックス 30">
            <a:extLst>
              <a:ext uri="{FF2B5EF4-FFF2-40B4-BE49-F238E27FC236}">
                <a16:creationId xmlns:a16="http://schemas.microsoft.com/office/drawing/2014/main" id="{97AC2652-6A11-4525-3831-C5116BDDAFD4}"/>
              </a:ext>
            </a:extLst>
          </p:cNvPr>
          <p:cNvSpPr txBox="1"/>
          <p:nvPr/>
        </p:nvSpPr>
        <p:spPr>
          <a:xfrm>
            <a:off x="7157930" y="3315783"/>
            <a:ext cx="4857760" cy="288147"/>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グラフ、地図上での視覚的な課題の可視化。</a:t>
            </a:r>
            <a:endParaRPr kumimoji="1" lang="en-US" altLang="ja-JP" sz="1400">
              <a:solidFill>
                <a:srgbClr val="0070C0"/>
              </a:solidFill>
              <a:latin typeface="+mn-ea"/>
            </a:endParaRPr>
          </a:p>
        </p:txBody>
      </p:sp>
      <p:sp>
        <p:nvSpPr>
          <p:cNvPr id="32" name="テキスト ボックス 31">
            <a:extLst>
              <a:ext uri="{FF2B5EF4-FFF2-40B4-BE49-F238E27FC236}">
                <a16:creationId xmlns:a16="http://schemas.microsoft.com/office/drawing/2014/main" id="{226A0974-299A-DA5C-F13B-FA16A7D473D9}"/>
              </a:ext>
            </a:extLst>
          </p:cNvPr>
          <p:cNvSpPr txBox="1"/>
          <p:nvPr/>
        </p:nvSpPr>
        <p:spPr>
          <a:xfrm>
            <a:off x="2693619" y="4482772"/>
            <a:ext cx="4316980" cy="288147"/>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endParaRPr kumimoji="1" lang="en-US" altLang="ja-JP" sz="1400">
              <a:solidFill>
                <a:srgbClr val="0070C0"/>
              </a:solidFill>
              <a:latin typeface="+mn-ea"/>
            </a:endParaRPr>
          </a:p>
        </p:txBody>
      </p:sp>
      <p:sp>
        <p:nvSpPr>
          <p:cNvPr id="33" name="テキスト ボックス 32">
            <a:extLst>
              <a:ext uri="{FF2B5EF4-FFF2-40B4-BE49-F238E27FC236}">
                <a16:creationId xmlns:a16="http://schemas.microsoft.com/office/drawing/2014/main" id="{C9FC6D16-CAD4-5B3E-F8B5-81D2A2D8CDCA}"/>
              </a:ext>
            </a:extLst>
          </p:cNvPr>
          <p:cNvSpPr txBox="1"/>
          <p:nvPr/>
        </p:nvSpPr>
        <p:spPr>
          <a:xfrm>
            <a:off x="7168585" y="4523652"/>
            <a:ext cx="4857760" cy="288147"/>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endParaRPr kumimoji="1" lang="en-US" altLang="ja-JP" sz="1400">
              <a:solidFill>
                <a:srgbClr val="0070C0"/>
              </a:solidFill>
              <a:latin typeface="+mn-ea"/>
            </a:endParaRPr>
          </a:p>
        </p:txBody>
      </p:sp>
      <p:sp>
        <p:nvSpPr>
          <p:cNvPr id="6" name="テキスト プレースホルダー 10">
            <a:extLst>
              <a:ext uri="{FF2B5EF4-FFF2-40B4-BE49-F238E27FC236}">
                <a16:creationId xmlns:a16="http://schemas.microsoft.com/office/drawing/2014/main" id="{06F06DD2-9B90-695B-AD25-50F75DE8988B}"/>
              </a:ext>
            </a:extLst>
          </p:cNvPr>
          <p:cNvSpPr txBox="1">
            <a:spLocks/>
          </p:cNvSpPr>
          <p:nvPr/>
        </p:nvSpPr>
        <p:spPr>
          <a:xfrm>
            <a:off x="300778" y="1197432"/>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kumimoji="1" lang="ja-JP" altLang="en-US" sz="1800" b="0" i="0" u="none" strike="noStrike" kern="1200" cap="none" spc="0" normalizeH="0" baseline="0" noProof="0">
                <a:ln>
                  <a:noFill/>
                </a:ln>
                <a:solidFill>
                  <a:srgbClr val="0070C0"/>
                </a:solidFill>
                <a:effectLst/>
                <a:uLnTx/>
                <a:uFillTx/>
                <a:latin typeface="BIZ UDPゴシック"/>
                <a:ea typeface="BIZ UDPゴシック"/>
                <a:cs typeface="+mn-cs"/>
              </a:rPr>
              <a:t>①</a:t>
            </a:r>
            <a:r>
              <a:rPr lang="ja-JP" altLang="en-US" sz="1800">
                <a:solidFill>
                  <a:srgbClr val="0070C0"/>
                </a:solidFill>
                <a:latin typeface="BIZ UDPゴシック"/>
                <a:ea typeface="BIZ UDPゴシック"/>
              </a:rPr>
              <a:t>データ分析の実施</a:t>
            </a:r>
            <a:endParaRPr kumimoji="1" lang="en-US" altLang="ja-JP" sz="1800" b="0" i="0" u="none" strike="noStrike" kern="1200" cap="none" spc="0" normalizeH="0" baseline="0" noProof="0">
              <a:ln>
                <a:noFill/>
              </a:ln>
              <a:solidFill>
                <a:srgbClr val="0070C0"/>
              </a:solidFill>
              <a:effectLst/>
              <a:uLnTx/>
              <a:uFillTx/>
              <a:latin typeface="BIZ UDPゴシック"/>
              <a:ea typeface="BIZ UDPゴシック"/>
              <a:cs typeface="+mn-cs"/>
            </a:endParaRPr>
          </a:p>
        </p:txBody>
      </p:sp>
      <p:sp>
        <p:nvSpPr>
          <p:cNvPr id="3" name="テキスト ボックス 2">
            <a:extLst>
              <a:ext uri="{FF2B5EF4-FFF2-40B4-BE49-F238E27FC236}">
                <a16:creationId xmlns:a16="http://schemas.microsoft.com/office/drawing/2014/main" id="{8E5E4177-0D4C-66AC-D184-5C97EB519BCC}"/>
              </a:ext>
            </a:extLst>
          </p:cNvPr>
          <p:cNvSpPr txBox="1"/>
          <p:nvPr/>
        </p:nvSpPr>
        <p:spPr>
          <a:xfrm>
            <a:off x="2693619" y="4488405"/>
            <a:ext cx="4316980" cy="288147"/>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各担当者の経験に基づき検討。</a:t>
            </a:r>
            <a:endParaRPr kumimoji="1" lang="en-US" altLang="ja-JP" sz="1400">
              <a:solidFill>
                <a:srgbClr val="0070C0"/>
              </a:solidFill>
              <a:latin typeface="+mn-ea"/>
            </a:endParaRPr>
          </a:p>
        </p:txBody>
      </p:sp>
      <p:sp>
        <p:nvSpPr>
          <p:cNvPr id="4" name="テキスト ボックス 3">
            <a:extLst>
              <a:ext uri="{FF2B5EF4-FFF2-40B4-BE49-F238E27FC236}">
                <a16:creationId xmlns:a16="http://schemas.microsoft.com/office/drawing/2014/main" id="{4FFEC03F-A8BC-90E2-69BF-5162E610D075}"/>
              </a:ext>
            </a:extLst>
          </p:cNvPr>
          <p:cNvSpPr txBox="1"/>
          <p:nvPr/>
        </p:nvSpPr>
        <p:spPr>
          <a:xfrm>
            <a:off x="7157930" y="4474221"/>
            <a:ext cx="4316980" cy="503590"/>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課題点に対して、適切な施策を提案する支援システムを用い、担当者によるばらつきのない施策を検討。</a:t>
            </a:r>
            <a:endParaRPr kumimoji="1" lang="en-US" altLang="ja-JP" sz="1400">
              <a:solidFill>
                <a:srgbClr val="0070C0"/>
              </a:solidFill>
              <a:latin typeface="+mn-ea"/>
            </a:endParaRPr>
          </a:p>
        </p:txBody>
      </p:sp>
      <p:sp>
        <p:nvSpPr>
          <p:cNvPr id="7" name="テキスト ボックス 6">
            <a:extLst>
              <a:ext uri="{FF2B5EF4-FFF2-40B4-BE49-F238E27FC236}">
                <a16:creationId xmlns:a16="http://schemas.microsoft.com/office/drawing/2014/main" id="{EECA8A31-435A-50C0-5983-C69458EFAFD7}"/>
              </a:ext>
            </a:extLst>
          </p:cNvPr>
          <p:cNvSpPr txBox="1"/>
          <p:nvPr/>
        </p:nvSpPr>
        <p:spPr>
          <a:xfrm>
            <a:off x="2521130" y="2986007"/>
            <a:ext cx="7455989" cy="2360039"/>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本プロジェクトが提供するＭａａＳ（アプリ、システム、商品、その他）によって、利用者体験が現在と比べてどのように変わるのか（どのような体験の変化を目指すのか）を具体的に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事業で提供するサービス単位で分けて記載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例　① 新規</a:t>
            </a:r>
            <a:r>
              <a:rPr kumimoji="0" lang="en-US" altLang="ja-JP" sz="1400" b="0" i="0" u="none" strike="noStrike" kern="0" cap="none" spc="0" normalizeH="0" baseline="0" noProof="0" err="1">
                <a:ln>
                  <a:noFill/>
                </a:ln>
                <a:solidFill>
                  <a:srgbClr val="FFFFFF"/>
                </a:solidFill>
                <a:effectLst/>
                <a:uLnTx/>
                <a:uFillTx/>
              </a:rPr>
              <a:t>MaaS</a:t>
            </a:r>
            <a:r>
              <a:rPr kumimoji="0" lang="ja-JP" altLang="en-US" sz="1400" b="0" i="0" u="none" strike="noStrike" kern="0" cap="none" spc="0" normalizeH="0" baseline="0" noProof="0">
                <a:ln>
                  <a:noFill/>
                </a:ln>
                <a:solidFill>
                  <a:srgbClr val="FFFFFF"/>
                </a:solidFill>
                <a:effectLst/>
                <a:uLnTx/>
                <a:uFillTx/>
              </a:rPr>
              <a:t>アプリの開発・サービス提供</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     </a:t>
            </a:r>
            <a:r>
              <a:rPr kumimoji="0" lang="ja-JP" altLang="en-US" sz="1400" b="0" i="0" u="none" strike="noStrike" kern="0" cap="none" spc="0" normalizeH="0" baseline="0" noProof="0">
                <a:ln>
                  <a:noFill/>
                </a:ln>
                <a:solidFill>
                  <a:srgbClr val="FFFFFF"/>
                </a:solidFill>
                <a:effectLst/>
                <a:uLnTx/>
                <a:uFillTx/>
              </a:rPr>
              <a:t>② サブスクサービスの提供</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　　 ③ プロモーションの実施​</a:t>
            </a:r>
            <a:endParaRPr kumimoji="0" lang="en-US" altLang="ja-JP"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393145588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Ⅲ.</a:t>
            </a:r>
            <a:r>
              <a:rPr lang="ja-JP" altLang="en-US"/>
              <a:t>モビリティデータの取得と活用</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a:xfrm>
            <a:off x="300778" y="655357"/>
            <a:ext cx="11891221" cy="432000"/>
          </a:xfrm>
        </p:spPr>
        <p:txBody>
          <a:bodyPr vert="horz"/>
          <a:lstStyle/>
          <a:p>
            <a:r>
              <a:rPr lang="ja-JP" altLang="en-US"/>
              <a:t>１</a:t>
            </a:r>
            <a:r>
              <a:rPr lang="en-US" altLang="ja-JP"/>
              <a:t>.</a:t>
            </a:r>
            <a:r>
              <a:rPr lang="ja-JP" altLang="en-US"/>
              <a:t>データ活用の全体像│過年度の課題と解決</a:t>
            </a:r>
          </a:p>
        </p:txBody>
      </p:sp>
      <p:sp>
        <p:nvSpPr>
          <p:cNvPr id="11" name="テキスト プレースホルダー 10">
            <a:extLst>
              <a:ext uri="{FF2B5EF4-FFF2-40B4-BE49-F238E27FC236}">
                <a16:creationId xmlns:a16="http://schemas.microsoft.com/office/drawing/2014/main" id="{5B8ABDA1-3D2A-BE6F-2D47-4B44E4CE9142}"/>
              </a:ext>
            </a:extLst>
          </p:cNvPr>
          <p:cNvSpPr>
            <a:spLocks noGrp="1"/>
          </p:cNvSpPr>
          <p:nvPr>
            <p:ph type="body" sz="quarter" idx="4294967295"/>
          </p:nvPr>
        </p:nvSpPr>
        <p:spPr>
          <a:xfrm>
            <a:off x="300779" y="1736090"/>
            <a:ext cx="11376000" cy="323165"/>
          </a:xfrm>
        </p:spPr>
        <p:txBody>
          <a:bodyPr>
            <a:normAutofit fontScale="92500" lnSpcReduction="2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マリーを記載</a:t>
            </a: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pSp>
        <p:nvGrpSpPr>
          <p:cNvPr id="3" name="グループ化 2">
            <a:extLst>
              <a:ext uri="{FF2B5EF4-FFF2-40B4-BE49-F238E27FC236}">
                <a16:creationId xmlns:a16="http://schemas.microsoft.com/office/drawing/2014/main" id="{F85333DF-4E5C-DAEA-926C-1A154E2103A9}"/>
              </a:ext>
            </a:extLst>
          </p:cNvPr>
          <p:cNvGrpSpPr/>
          <p:nvPr/>
        </p:nvGrpSpPr>
        <p:grpSpPr>
          <a:xfrm>
            <a:off x="302400" y="2133600"/>
            <a:ext cx="11587200" cy="309600"/>
            <a:chOff x="302400" y="1990800"/>
            <a:chExt cx="11587200" cy="309600"/>
          </a:xfrm>
        </p:grpSpPr>
        <p:grpSp>
          <p:nvGrpSpPr>
            <p:cNvPr id="4" name="PanelGroup1">
              <a:extLst>
                <a:ext uri="{FF2B5EF4-FFF2-40B4-BE49-F238E27FC236}">
                  <a16:creationId xmlns:a16="http://schemas.microsoft.com/office/drawing/2014/main" id="{EAB62C42-9CF0-6E2B-28F8-CFEDB26FC1DD}"/>
                </a:ext>
              </a:extLst>
            </p:cNvPr>
            <p:cNvGrpSpPr/>
            <p:nvPr/>
          </p:nvGrpSpPr>
          <p:grpSpPr>
            <a:xfrm>
              <a:off x="302400" y="1990800"/>
              <a:ext cx="5761200" cy="309600"/>
              <a:chOff x="302400" y="1990800"/>
              <a:chExt cx="5761200" cy="309600"/>
            </a:xfrm>
          </p:grpSpPr>
          <p:sp>
            <p:nvSpPr>
              <p:cNvPr id="10" name="正方形/長方形 9">
                <a:extLst>
                  <a:ext uri="{FF2B5EF4-FFF2-40B4-BE49-F238E27FC236}">
                    <a16:creationId xmlns:a16="http://schemas.microsoft.com/office/drawing/2014/main" id="{1A383005-B1A5-AD52-BAD8-1851206F59CA}"/>
                  </a:ext>
                </a:extLst>
              </p:cNvPr>
              <p:cNvSpPr/>
              <p:nvPr/>
            </p:nvSpPr>
            <p:spPr>
              <a:xfrm>
                <a:off x="302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昨年度の課題</a:t>
                </a:r>
              </a:p>
            </p:txBody>
          </p:sp>
          <p:cxnSp>
            <p:nvCxnSpPr>
              <p:cNvPr id="12" name="直線矢印コネクタ 11">
                <a:extLst>
                  <a:ext uri="{FF2B5EF4-FFF2-40B4-BE49-F238E27FC236}">
                    <a16:creationId xmlns:a16="http://schemas.microsoft.com/office/drawing/2014/main" id="{3653E4DF-7A5D-EE67-D31F-6D64D03C04E6}"/>
                  </a:ext>
                </a:extLst>
              </p:cNvPr>
              <p:cNvCxnSpPr/>
              <p:nvPr/>
            </p:nvCxnSpPr>
            <p:spPr>
              <a:xfrm>
                <a:off x="302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6" name="PanelGroup2">
              <a:extLst>
                <a:ext uri="{FF2B5EF4-FFF2-40B4-BE49-F238E27FC236}">
                  <a16:creationId xmlns:a16="http://schemas.microsoft.com/office/drawing/2014/main" id="{A2007A34-9A61-3C01-D672-C413701B3445}"/>
                </a:ext>
              </a:extLst>
            </p:cNvPr>
            <p:cNvGrpSpPr/>
            <p:nvPr/>
          </p:nvGrpSpPr>
          <p:grpSpPr>
            <a:xfrm>
              <a:off x="6128400" y="1990800"/>
              <a:ext cx="5761200" cy="309600"/>
              <a:chOff x="6128400" y="1990800"/>
              <a:chExt cx="5761200" cy="309600"/>
            </a:xfrm>
          </p:grpSpPr>
          <p:sp>
            <p:nvSpPr>
              <p:cNvPr id="7" name="正方形/長方形 6">
                <a:extLst>
                  <a:ext uri="{FF2B5EF4-FFF2-40B4-BE49-F238E27FC236}">
                    <a16:creationId xmlns:a16="http://schemas.microsoft.com/office/drawing/2014/main" id="{081FA0EF-B0D7-A6B9-D177-CBA186431769}"/>
                  </a:ext>
                </a:extLst>
              </p:cNvPr>
              <p:cNvSpPr/>
              <p:nvPr/>
            </p:nvSpPr>
            <p:spPr>
              <a:xfrm>
                <a:off x="6128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解決策</a:t>
                </a:r>
              </a:p>
            </p:txBody>
          </p:sp>
          <p:cxnSp>
            <p:nvCxnSpPr>
              <p:cNvPr id="8" name="直線矢印コネクタ 7">
                <a:extLst>
                  <a:ext uri="{FF2B5EF4-FFF2-40B4-BE49-F238E27FC236}">
                    <a16:creationId xmlns:a16="http://schemas.microsoft.com/office/drawing/2014/main" id="{99FBEF6F-94C3-52B0-FA40-DD378C8E4F64}"/>
                  </a:ext>
                </a:extLst>
              </p:cNvPr>
              <p:cNvCxnSpPr/>
              <p:nvPr/>
            </p:nvCxnSpPr>
            <p:spPr>
              <a:xfrm>
                <a:off x="6128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sp>
        <p:nvSpPr>
          <p:cNvPr id="13" name="正方形/長方形 12">
            <a:extLst>
              <a:ext uri="{FF2B5EF4-FFF2-40B4-BE49-F238E27FC236}">
                <a16:creationId xmlns:a16="http://schemas.microsoft.com/office/drawing/2014/main" id="{EDAD2185-EC0D-868E-795C-E7F2FB4ACC64}"/>
              </a:ext>
            </a:extLst>
          </p:cNvPr>
          <p:cNvSpPr/>
          <p:nvPr/>
        </p:nvSpPr>
        <p:spPr>
          <a:xfrm>
            <a:off x="300778" y="2591890"/>
            <a:ext cx="5761199" cy="3131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a:solidFill>
                  <a:srgbClr val="000000"/>
                </a:solidFill>
                <a:latin typeface="BIZ UDPゴシック"/>
                <a:ea typeface="BIZ UDPゴシック"/>
              </a:rPr>
              <a:t>システム（機能）</a:t>
            </a:r>
            <a:endParaRPr lang="en-US" altLang="ja-JP" sz="1600">
              <a:solidFill>
                <a:srgbClr val="000000"/>
              </a:solidFill>
              <a:latin typeface="BIZ UDPゴシック"/>
              <a:ea typeface="BIZ UDPゴシック"/>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データを可視化するダッシュボードが存在せず、自治体職員が手作業で集計・分析作業を行っていた。</a:t>
            </a:r>
            <a:endParaRPr kumimoji="1" lang="en-US" altLang="ja-JP" sz="1600" b="0" i="0" u="none" strike="noStrike" kern="1200" cap="none" spc="0" normalizeH="0" baseline="0" noProof="0">
              <a:ln>
                <a:noFill/>
              </a:ln>
              <a:solidFill>
                <a:srgbClr val="0070C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システム（</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I</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X</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煩雑な</a:t>
            </a:r>
            <a:r>
              <a:rPr lang="en-US" altLang="ja-JP" sz="1600">
                <a:solidFill>
                  <a:srgbClr val="0070C0"/>
                </a:solidFill>
                <a:latin typeface="BIZ UDPゴシック"/>
                <a:ea typeface="BIZ UDPゴシック"/>
              </a:rPr>
              <a:t>UI</a:t>
            </a:r>
            <a:r>
              <a:rPr lang="ja-JP" altLang="en-US" sz="1600">
                <a:solidFill>
                  <a:srgbClr val="0070C0"/>
                </a:solidFill>
                <a:latin typeface="BIZ UDPゴシック"/>
                <a:ea typeface="BIZ UDPゴシック"/>
              </a:rPr>
              <a:t>のため、不慣れな自治体職員がシステム操作になれるのに時間がかかる。</a:t>
            </a:r>
            <a:endParaRPr lang="en-US" altLang="ja-JP" sz="1600">
              <a:solidFill>
                <a:srgbClr val="0070C0"/>
              </a:solidFill>
              <a:latin typeface="BIZ UDPゴシック"/>
              <a:ea typeface="BIZ UDPゴシック"/>
            </a:endParaRP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サービス運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kumimoji="1" lang="ja-JP" altLang="en-US" sz="1600" b="0" i="0" u="none" strike="noStrike" kern="1200" cap="none" spc="0" normalizeH="0" baseline="0" noProof="0">
                <a:ln>
                  <a:noFill/>
                </a:ln>
                <a:solidFill>
                  <a:srgbClr val="0070C0"/>
                </a:solidFill>
                <a:effectLst/>
                <a:uLnTx/>
                <a:uFillTx/>
                <a:latin typeface="BIZ UDPゴシック"/>
                <a:ea typeface="BIZ UDPゴシック"/>
                <a:cs typeface="+mn-cs"/>
              </a:rPr>
              <a:t>各交通事業者から提出されるデータフォーマットが統一されていない。</a:t>
            </a:r>
            <a:endParaRPr kumimoji="1" lang="en-US" altLang="ja-JP" sz="1600" b="0" i="0" u="none" strike="noStrike" kern="1200" cap="none" spc="0" normalizeH="0" baseline="0" noProof="0">
              <a:ln>
                <a:noFill/>
              </a:ln>
              <a:solidFill>
                <a:srgbClr val="0070C0"/>
              </a:solidFill>
              <a:effectLst/>
              <a:uLnTx/>
              <a:uFillTx/>
              <a:latin typeface="BIZ UDPゴシック"/>
              <a:ea typeface="BIZ UDPゴシック"/>
              <a:cs typeface="+mn-cs"/>
            </a:endParaRPr>
          </a:p>
          <a:p>
            <a:pPr marL="285750" indent="-285750">
              <a:buFont typeface="Arial" panose="020B0604020202020204" pitchFamily="34" charset="0"/>
              <a:buChar char="•"/>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R="0" lvl="0" algn="l" defTabSz="914400" rtl="0" eaLnBrk="1" fontAlgn="auto" latinLnBrk="0" hangingPunct="1">
              <a:lnSpc>
                <a:spcPct val="100000"/>
              </a:lnSpc>
              <a:spcBef>
                <a:spcPts val="0"/>
              </a:spcBef>
              <a:spcAft>
                <a:spcPts val="0"/>
              </a:spcAft>
              <a:buClrTx/>
              <a:buSzTx/>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
        <p:nvSpPr>
          <p:cNvPr id="14" name="正方形/長方形 13">
            <a:extLst>
              <a:ext uri="{FF2B5EF4-FFF2-40B4-BE49-F238E27FC236}">
                <a16:creationId xmlns:a16="http://schemas.microsoft.com/office/drawing/2014/main" id="{EB154E72-D468-E337-5176-249A512E7AD4}"/>
              </a:ext>
            </a:extLst>
          </p:cNvPr>
          <p:cNvSpPr/>
          <p:nvPr/>
        </p:nvSpPr>
        <p:spPr>
          <a:xfrm>
            <a:off x="6128401" y="2591890"/>
            <a:ext cx="5761199" cy="3131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a:solidFill>
                  <a:srgbClr val="000000"/>
                </a:solidFill>
                <a:latin typeface="BIZ UDPゴシック"/>
                <a:ea typeface="BIZ UDPゴシック"/>
              </a:rPr>
              <a:t>システム（機能）</a:t>
            </a:r>
            <a:endParaRPr lang="en-US" altLang="ja-JP" sz="1600">
              <a:solidFill>
                <a:srgbClr val="000000"/>
              </a:solidFill>
              <a:latin typeface="BIZ UDPゴシック"/>
              <a:ea typeface="BIZ UDPゴシック"/>
            </a:endParaRPr>
          </a:p>
          <a:p>
            <a:pPr marL="742950" lvl="1" indent="-285750">
              <a:buFont typeface="Wingdings" panose="05000000000000000000" pitchFamily="2" charset="2"/>
              <a:buChar char="Ø"/>
              <a:defRPr/>
            </a:pPr>
            <a:r>
              <a:rPr kumimoji="1" lang="ja-JP" altLang="en-US" sz="1600" b="0" i="0" u="none" strike="noStrike" kern="1200" cap="none" spc="0" normalizeH="0" baseline="0" noProof="0">
                <a:ln>
                  <a:noFill/>
                </a:ln>
                <a:solidFill>
                  <a:srgbClr val="0070C0"/>
                </a:solidFill>
                <a:effectLst/>
                <a:uLnTx/>
                <a:uFillTx/>
                <a:latin typeface="BIZ UDPゴシック"/>
                <a:ea typeface="BIZ UDPゴシック"/>
                <a:cs typeface="+mn-cs"/>
              </a:rPr>
              <a:t>データ可視化ダッシュボードを開発。</a:t>
            </a:r>
            <a:endParaRPr kumimoji="1" lang="en-US" altLang="ja-JP" sz="1600" b="0" i="0" u="none" strike="noStrike" kern="1200" cap="none" spc="0" normalizeH="0" baseline="0" noProof="0">
              <a:ln>
                <a:noFill/>
              </a:ln>
              <a:solidFill>
                <a:srgbClr val="0070C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システム（</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I</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X</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担当が変更になってもスムーズに業務を引き継げるようにシンプルな</a:t>
            </a:r>
            <a:r>
              <a:rPr lang="en-US" altLang="ja-JP" sz="1600">
                <a:solidFill>
                  <a:srgbClr val="0070C0"/>
                </a:solidFill>
                <a:latin typeface="BIZ UDPゴシック"/>
                <a:ea typeface="BIZ UDPゴシック"/>
              </a:rPr>
              <a:t>UI</a:t>
            </a:r>
            <a:r>
              <a:rPr lang="ja-JP" altLang="en-US" sz="1600">
                <a:solidFill>
                  <a:srgbClr val="0070C0"/>
                </a:solidFill>
                <a:latin typeface="BIZ UDPゴシック"/>
                <a:ea typeface="BIZ UDPゴシック"/>
              </a:rPr>
              <a:t>に改修。</a:t>
            </a:r>
            <a:endParaRPr lang="en-US" altLang="ja-JP" sz="1600">
              <a:solidFill>
                <a:srgbClr val="0070C0"/>
              </a:solidFill>
              <a:latin typeface="BIZ UDPゴシック"/>
              <a:ea typeface="BIZ UDPゴシック"/>
            </a:endParaRP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サービス運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kumimoji="1" lang="ja-JP" altLang="en-US" sz="1600" b="0" i="0" u="none" strike="noStrike" kern="1200" cap="none" spc="0" normalizeH="0" baseline="0" noProof="0">
                <a:ln>
                  <a:noFill/>
                </a:ln>
                <a:solidFill>
                  <a:srgbClr val="0070C0"/>
                </a:solidFill>
                <a:effectLst/>
                <a:uLnTx/>
                <a:uFillTx/>
                <a:latin typeface="BIZ UDPゴシック"/>
                <a:ea typeface="BIZ UDPゴシック"/>
                <a:cs typeface="+mn-cs"/>
              </a:rPr>
              <a:t>統一のデータフォーマットを作成。</a:t>
            </a:r>
            <a:endParaRPr kumimoji="1" lang="en-US" altLang="ja-JP" sz="1600" b="0" i="0" u="none" strike="noStrike" kern="1200" cap="none" spc="0" normalizeH="0" baseline="0" noProof="0">
              <a:ln>
                <a:noFill/>
              </a:ln>
              <a:solidFill>
                <a:srgbClr val="0070C0"/>
              </a:solidFill>
              <a:effectLst/>
              <a:uLnTx/>
              <a:uFillTx/>
              <a:latin typeface="BIZ UDPゴシック"/>
              <a:ea typeface="BIZ UDPゴシック"/>
              <a:cs typeface="+mn-cs"/>
            </a:endParaRPr>
          </a:p>
          <a:p>
            <a:pPr marL="285750" indent="-285750">
              <a:buFont typeface="Arial" panose="020B0604020202020204" pitchFamily="34" charset="0"/>
              <a:buChar char="•"/>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R="0" lvl="0" algn="l" defTabSz="914400" rtl="0" eaLnBrk="1" fontAlgn="auto" latinLnBrk="0" hangingPunct="1">
              <a:lnSpc>
                <a:spcPct val="100000"/>
              </a:lnSpc>
              <a:spcBef>
                <a:spcPts val="0"/>
              </a:spcBef>
              <a:spcAft>
                <a:spcPts val="0"/>
              </a:spcAft>
              <a:buClrTx/>
              <a:buSzTx/>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
        <p:nvSpPr>
          <p:cNvPr id="17" name="テキスト プレースホルダー 10">
            <a:extLst>
              <a:ext uri="{FF2B5EF4-FFF2-40B4-BE49-F238E27FC236}">
                <a16:creationId xmlns:a16="http://schemas.microsoft.com/office/drawing/2014/main" id="{CF45C799-184A-B9A1-3984-069F4A38D270}"/>
              </a:ext>
            </a:extLst>
          </p:cNvPr>
          <p:cNvSpPr txBox="1">
            <a:spLocks/>
          </p:cNvSpPr>
          <p:nvPr/>
        </p:nvSpPr>
        <p:spPr>
          <a:xfrm>
            <a:off x="300779" y="1196746"/>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kumimoji="1" lang="ja-JP" altLang="en-US" sz="1800" b="0" i="0" u="none" strike="noStrike" kern="1200" cap="none" spc="0" normalizeH="0" baseline="0" noProof="0">
                <a:ln>
                  <a:noFill/>
                </a:ln>
                <a:solidFill>
                  <a:srgbClr val="0070C0"/>
                </a:solidFill>
                <a:effectLst/>
                <a:uLnTx/>
                <a:uFillTx/>
                <a:latin typeface="BIZ UDPゴシック"/>
                <a:ea typeface="BIZ UDPゴシック"/>
                <a:cs typeface="+mn-cs"/>
              </a:rPr>
              <a:t>①</a:t>
            </a:r>
            <a:r>
              <a:rPr lang="ja-JP" altLang="en-US" sz="1800">
                <a:solidFill>
                  <a:srgbClr val="0070C0"/>
                </a:solidFill>
                <a:latin typeface="BIZ UDPゴシック"/>
                <a:ea typeface="BIZ UDPゴシック"/>
              </a:rPr>
              <a:t>データ分析の実施</a:t>
            </a:r>
            <a:endParaRPr kumimoji="1" lang="en-US" altLang="ja-JP" sz="1800" b="0" i="0" u="none" strike="noStrike" kern="1200" cap="none" spc="0" normalizeH="0" baseline="0" noProof="0">
              <a:ln>
                <a:noFill/>
              </a:ln>
              <a:solidFill>
                <a:srgbClr val="0070C0"/>
              </a:solidFill>
              <a:effectLst/>
              <a:uLnTx/>
              <a:uFillTx/>
              <a:latin typeface="BIZ UDPゴシック"/>
              <a:ea typeface="BIZ UDPゴシック"/>
              <a:cs typeface="+mn-cs"/>
            </a:endParaRPr>
          </a:p>
        </p:txBody>
      </p:sp>
      <p:sp>
        <p:nvSpPr>
          <p:cNvPr id="15" name="テキスト ボックス 14">
            <a:extLst>
              <a:ext uri="{FF2B5EF4-FFF2-40B4-BE49-F238E27FC236}">
                <a16:creationId xmlns:a16="http://schemas.microsoft.com/office/drawing/2014/main" id="{3C5209FD-4C36-2B74-83F8-CBA1D960F307}"/>
              </a:ext>
            </a:extLst>
          </p:cNvPr>
          <p:cNvSpPr txBox="1"/>
          <p:nvPr/>
        </p:nvSpPr>
        <p:spPr>
          <a:xfrm>
            <a:off x="2928358" y="4798746"/>
            <a:ext cx="6335283" cy="153764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a:t>
            </a:r>
            <a:r>
              <a:rPr kumimoji="0" lang="ja-JP" altLang="en-US" sz="1400" b="0" i="0" u="none" strike="noStrike" kern="0" cap="none" spc="0" normalizeH="0" baseline="0" noProof="0">
                <a:ln>
                  <a:noFill/>
                </a:ln>
                <a:solidFill>
                  <a:srgbClr val="FFFFFF"/>
                </a:solidFill>
                <a:effectLst/>
                <a:uLnTx/>
                <a:uFillTx/>
              </a:rPr>
              <a:t>継続開発を行っている場合のみ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これまでの取組と比べ、本プロジェクトでどのような開発や拡充を行い、課題解決に貢献しようとしているのか、具体的に記載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項目はテンプレートを基本とし、任意に増やしていただいて構いません。</a:t>
            </a:r>
          </a:p>
        </p:txBody>
      </p:sp>
    </p:spTree>
    <p:extLst>
      <p:ext uri="{BB962C8B-B14F-4D97-AF65-F5344CB8AC3E}">
        <p14:creationId xmlns:p14="http://schemas.microsoft.com/office/powerpoint/2010/main" val="23404295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Ⅲ.</a:t>
            </a:r>
            <a:r>
              <a:rPr lang="ja-JP" altLang="en-US"/>
              <a:t>モビリティデータの取得と活用</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a:xfrm>
            <a:off x="300778" y="655357"/>
            <a:ext cx="11891221" cy="432000"/>
          </a:xfrm>
        </p:spPr>
        <p:txBody>
          <a:bodyPr vert="horz"/>
          <a:lstStyle/>
          <a:p>
            <a:r>
              <a:rPr lang="ja-JP" altLang="en-US"/>
              <a:t>１</a:t>
            </a:r>
            <a:r>
              <a:rPr lang="en-US" altLang="ja-JP"/>
              <a:t>.</a:t>
            </a:r>
            <a:r>
              <a:rPr lang="ja-JP" altLang="en-US"/>
              <a:t>データ活用の全体像│実装済みの機能</a:t>
            </a:r>
          </a:p>
        </p:txBody>
      </p:sp>
      <p:grpSp>
        <p:nvGrpSpPr>
          <p:cNvPr id="3" name="グループ化 2">
            <a:extLst>
              <a:ext uri="{FF2B5EF4-FFF2-40B4-BE49-F238E27FC236}">
                <a16:creationId xmlns:a16="http://schemas.microsoft.com/office/drawing/2014/main" id="{F85333DF-4E5C-DAEA-926C-1A154E2103A9}"/>
              </a:ext>
            </a:extLst>
          </p:cNvPr>
          <p:cNvGrpSpPr/>
          <p:nvPr/>
        </p:nvGrpSpPr>
        <p:grpSpPr>
          <a:xfrm>
            <a:off x="302400" y="2108076"/>
            <a:ext cx="11587200" cy="309600"/>
            <a:chOff x="302400" y="1990800"/>
            <a:chExt cx="11587200" cy="309600"/>
          </a:xfrm>
        </p:grpSpPr>
        <p:grpSp>
          <p:nvGrpSpPr>
            <p:cNvPr id="4" name="PanelGroup1">
              <a:extLst>
                <a:ext uri="{FF2B5EF4-FFF2-40B4-BE49-F238E27FC236}">
                  <a16:creationId xmlns:a16="http://schemas.microsoft.com/office/drawing/2014/main" id="{EAB62C42-9CF0-6E2B-28F8-CFEDB26FC1DD}"/>
                </a:ext>
              </a:extLst>
            </p:cNvPr>
            <p:cNvGrpSpPr/>
            <p:nvPr/>
          </p:nvGrpSpPr>
          <p:grpSpPr>
            <a:xfrm>
              <a:off x="302400" y="1990800"/>
              <a:ext cx="5761200" cy="309600"/>
              <a:chOff x="302400" y="1990800"/>
              <a:chExt cx="5761200" cy="309600"/>
            </a:xfrm>
          </p:grpSpPr>
          <p:sp>
            <p:nvSpPr>
              <p:cNvPr id="10" name="正方形/長方形 9">
                <a:extLst>
                  <a:ext uri="{FF2B5EF4-FFF2-40B4-BE49-F238E27FC236}">
                    <a16:creationId xmlns:a16="http://schemas.microsoft.com/office/drawing/2014/main" id="{1A383005-B1A5-AD52-BAD8-1851206F59CA}"/>
                  </a:ext>
                </a:extLst>
              </p:cNvPr>
              <p:cNvSpPr/>
              <p:nvPr/>
            </p:nvSpPr>
            <p:spPr>
              <a:xfrm>
                <a:off x="302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実施済みの機能</a:t>
                </a:r>
              </a:p>
            </p:txBody>
          </p:sp>
          <p:cxnSp>
            <p:nvCxnSpPr>
              <p:cNvPr id="12" name="直線矢印コネクタ 11">
                <a:extLst>
                  <a:ext uri="{FF2B5EF4-FFF2-40B4-BE49-F238E27FC236}">
                    <a16:creationId xmlns:a16="http://schemas.microsoft.com/office/drawing/2014/main" id="{3653E4DF-7A5D-EE67-D31F-6D64D03C04E6}"/>
                  </a:ext>
                </a:extLst>
              </p:cNvPr>
              <p:cNvCxnSpPr/>
              <p:nvPr/>
            </p:nvCxnSpPr>
            <p:spPr>
              <a:xfrm>
                <a:off x="302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6" name="PanelGroup2">
              <a:extLst>
                <a:ext uri="{FF2B5EF4-FFF2-40B4-BE49-F238E27FC236}">
                  <a16:creationId xmlns:a16="http://schemas.microsoft.com/office/drawing/2014/main" id="{A2007A34-9A61-3C01-D672-C413701B3445}"/>
                </a:ext>
              </a:extLst>
            </p:cNvPr>
            <p:cNvGrpSpPr/>
            <p:nvPr/>
          </p:nvGrpSpPr>
          <p:grpSpPr>
            <a:xfrm>
              <a:off x="6128400" y="1990800"/>
              <a:ext cx="5761200" cy="309600"/>
              <a:chOff x="6128400" y="1990800"/>
              <a:chExt cx="5761200" cy="309600"/>
            </a:xfrm>
          </p:grpSpPr>
          <p:sp>
            <p:nvSpPr>
              <p:cNvPr id="7" name="正方形/長方形 6">
                <a:extLst>
                  <a:ext uri="{FF2B5EF4-FFF2-40B4-BE49-F238E27FC236}">
                    <a16:creationId xmlns:a16="http://schemas.microsoft.com/office/drawing/2014/main" id="{081FA0EF-B0D7-A6B9-D177-CBA186431769}"/>
                  </a:ext>
                </a:extLst>
              </p:cNvPr>
              <p:cNvSpPr/>
              <p:nvPr/>
            </p:nvSpPr>
            <p:spPr>
              <a:xfrm>
                <a:off x="6128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イメージ</a:t>
                </a:r>
              </a:p>
            </p:txBody>
          </p:sp>
          <p:cxnSp>
            <p:nvCxnSpPr>
              <p:cNvPr id="8" name="直線矢印コネクタ 7">
                <a:extLst>
                  <a:ext uri="{FF2B5EF4-FFF2-40B4-BE49-F238E27FC236}">
                    <a16:creationId xmlns:a16="http://schemas.microsoft.com/office/drawing/2014/main" id="{99FBEF6F-94C3-52B0-FA40-DD378C8E4F64}"/>
                  </a:ext>
                </a:extLst>
              </p:cNvPr>
              <p:cNvCxnSpPr/>
              <p:nvPr/>
            </p:nvCxnSpPr>
            <p:spPr>
              <a:xfrm>
                <a:off x="6128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sp>
        <p:nvSpPr>
          <p:cNvPr id="13" name="正方形/長方形 12">
            <a:extLst>
              <a:ext uri="{FF2B5EF4-FFF2-40B4-BE49-F238E27FC236}">
                <a16:creationId xmlns:a16="http://schemas.microsoft.com/office/drawing/2014/main" id="{EDAD2185-EC0D-868E-795C-E7F2FB4ACC64}"/>
              </a:ext>
            </a:extLst>
          </p:cNvPr>
          <p:cNvSpPr/>
          <p:nvPr/>
        </p:nvSpPr>
        <p:spPr>
          <a:xfrm>
            <a:off x="300778" y="2566366"/>
            <a:ext cx="5761199" cy="3131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03200" marR="0" lvl="0" indent="-203200" algn="l" defTabSz="914400" rtl="0" eaLnBrk="1" fontAlgn="auto" latinLnBrk="0" hangingPunct="1">
              <a:lnSpc>
                <a:spcPct val="100000"/>
              </a:lnSpc>
              <a:spcBef>
                <a:spcPts val="0"/>
              </a:spcBef>
              <a:spcAft>
                <a:spcPts val="0"/>
              </a:spcAft>
              <a:buClrTx/>
              <a:buSzTx/>
              <a:buFontTx/>
              <a:buChar char="•"/>
              <a:tabLst/>
              <a:defRPr/>
            </a:pPr>
            <a:r>
              <a:rPr lang="ja-JP" altLang="en-US" sz="1600">
                <a:solidFill>
                  <a:srgbClr val="000000"/>
                </a:solidFill>
                <a:latin typeface="BIZ UDPゴシック"/>
                <a:ea typeface="BIZ UDPゴシック"/>
              </a:rPr>
              <a:t> </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システム（機能）</a:t>
            </a: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地域情報可視化マップ機能</a:t>
            </a:r>
            <a:endParaRPr lang="en-US" altLang="ja-JP" sz="1600">
              <a:solidFill>
                <a:srgbClr val="0070C0"/>
              </a:solidFill>
              <a:latin typeface="BIZ UDPゴシック"/>
              <a:ea typeface="BIZ UDPゴシック"/>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lang="ja-JP" altLang="en-US" sz="1600">
                <a:solidFill>
                  <a:srgbClr val="000000"/>
                </a:solidFill>
                <a:latin typeface="BIZ UDPゴシック"/>
                <a:ea typeface="BIZ UDPゴシック"/>
              </a:rPr>
              <a:t> </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システム（</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I</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X</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地域交通計画支援システム</a:t>
            </a:r>
            <a:endParaRPr lang="en-US" altLang="ja-JP" sz="1600">
              <a:solidFill>
                <a:srgbClr val="0070C0"/>
              </a:solidFill>
              <a:latin typeface="BIZ UDPゴシック"/>
              <a:ea typeface="BIZ UDPゴシック"/>
            </a:endParaRP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座組</a:t>
            </a:r>
          </a:p>
          <a:p>
            <a:pPr marL="742950" lvl="1" indent="-285750">
              <a:buFont typeface="Wingdings" panose="05000000000000000000" pitchFamily="2" charset="2"/>
              <a:buChar char="Ø"/>
              <a:defRPr/>
            </a:pPr>
            <a:r>
              <a:rPr kumimoji="1" lang="ja-JP" altLang="en-US" sz="1600" b="0" i="0" u="none" strike="noStrike" kern="1200" cap="none" spc="0" normalizeH="0" baseline="0" noProof="0">
                <a:ln>
                  <a:noFill/>
                </a:ln>
                <a:solidFill>
                  <a:srgbClr val="0070C0"/>
                </a:solidFill>
                <a:effectLst/>
                <a:uLnTx/>
                <a:uFillTx/>
                <a:latin typeface="BIZ UDPゴシック"/>
                <a:ea typeface="BIZ UDPゴシック"/>
                <a:cs typeface="+mn-cs"/>
              </a:rPr>
              <a:t>●●市データ分析検討会立ち上げ済み</a:t>
            </a:r>
            <a:endParaRPr kumimoji="1" lang="en-US" altLang="ja-JP" sz="1600" b="0" i="0" u="none" strike="noStrike" kern="1200" cap="none" spc="0" normalizeH="0" baseline="0" noProof="0">
              <a:ln>
                <a:noFill/>
              </a:ln>
              <a:solidFill>
                <a:srgbClr val="0070C0"/>
              </a:solidFill>
              <a:effectLst/>
              <a:uLnTx/>
              <a:uFillTx/>
              <a:latin typeface="BIZ UDPゴシック"/>
              <a:ea typeface="BIZ UDPゴシック"/>
              <a:cs typeface="+mn-cs"/>
            </a:endParaRP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サービス運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a:t>
            </a: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R="0" lvl="0" algn="l" defTabSz="914400" rtl="0" eaLnBrk="1" fontAlgn="auto" latinLnBrk="0" hangingPunct="1">
              <a:lnSpc>
                <a:spcPct val="100000"/>
              </a:lnSpc>
              <a:spcBef>
                <a:spcPts val="0"/>
              </a:spcBef>
              <a:spcAft>
                <a:spcPts val="0"/>
              </a:spcAft>
              <a:buClrTx/>
              <a:buSzTx/>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
        <p:nvSpPr>
          <p:cNvPr id="15" name="テキスト プレースホルダー 10">
            <a:extLst>
              <a:ext uri="{FF2B5EF4-FFF2-40B4-BE49-F238E27FC236}">
                <a16:creationId xmlns:a16="http://schemas.microsoft.com/office/drawing/2014/main" id="{A297BE6E-52F9-8183-AA90-19F0C17C5E07}"/>
              </a:ext>
            </a:extLst>
          </p:cNvPr>
          <p:cNvSpPr txBox="1">
            <a:spLocks/>
          </p:cNvSpPr>
          <p:nvPr/>
        </p:nvSpPr>
        <p:spPr>
          <a:xfrm>
            <a:off x="300779" y="1736090"/>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lang="en-US" altLang="ja-JP" sz="1800" kern="0">
                <a:solidFill>
                  <a:srgbClr val="000000"/>
                </a:solidFill>
              </a:rPr>
              <a:t>[</a:t>
            </a:r>
            <a:r>
              <a:rPr lang="ja-JP" altLang="en-US" sz="1800" kern="0">
                <a:solidFill>
                  <a:srgbClr val="000000"/>
                </a:solidFill>
              </a:rPr>
              <a:t>サマリーを記載</a:t>
            </a:r>
            <a:r>
              <a:rPr lang="en-US" altLang="ja-JP" sz="1800" kern="0">
                <a:solidFill>
                  <a:srgbClr val="000000"/>
                </a:solidFill>
              </a:rPr>
              <a:t>]</a:t>
            </a:r>
            <a:endParaRPr lang="ja-JP" altLang="en-US" sz="1800" kern="0">
              <a:solidFill>
                <a:srgbClr val="000000"/>
              </a:solidFill>
            </a:endParaRPr>
          </a:p>
        </p:txBody>
      </p:sp>
      <p:sp>
        <p:nvSpPr>
          <p:cNvPr id="20" name="テキスト プレースホルダー 10">
            <a:extLst>
              <a:ext uri="{FF2B5EF4-FFF2-40B4-BE49-F238E27FC236}">
                <a16:creationId xmlns:a16="http://schemas.microsoft.com/office/drawing/2014/main" id="{94800FDA-81F1-3586-866D-A519778D8DB8}"/>
              </a:ext>
            </a:extLst>
          </p:cNvPr>
          <p:cNvSpPr txBox="1">
            <a:spLocks/>
          </p:cNvSpPr>
          <p:nvPr/>
        </p:nvSpPr>
        <p:spPr>
          <a:xfrm>
            <a:off x="300778" y="1197432"/>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kumimoji="1" lang="ja-JP" altLang="en-US" sz="1800" b="0" i="0" u="none" strike="noStrike" kern="1200" cap="none" spc="0" normalizeH="0" baseline="0" noProof="0">
                <a:ln>
                  <a:noFill/>
                </a:ln>
                <a:solidFill>
                  <a:srgbClr val="0070C0"/>
                </a:solidFill>
                <a:effectLst/>
                <a:uLnTx/>
                <a:uFillTx/>
                <a:latin typeface="BIZ UDPゴシック"/>
                <a:ea typeface="BIZ UDPゴシック"/>
                <a:cs typeface="+mn-cs"/>
              </a:rPr>
              <a:t>①</a:t>
            </a:r>
            <a:r>
              <a:rPr lang="ja-JP" altLang="en-US" sz="1800">
                <a:solidFill>
                  <a:srgbClr val="0070C0"/>
                </a:solidFill>
                <a:latin typeface="BIZ UDPゴシック"/>
                <a:ea typeface="BIZ UDPゴシック"/>
              </a:rPr>
              <a:t>データ分析の実施</a:t>
            </a:r>
            <a:endParaRPr kumimoji="1" lang="en-US" altLang="ja-JP" sz="1800" b="0" i="0" u="none" strike="noStrike" kern="1200" cap="none" spc="0" normalizeH="0" baseline="0" noProof="0">
              <a:ln>
                <a:noFill/>
              </a:ln>
              <a:solidFill>
                <a:srgbClr val="0070C0"/>
              </a:solidFill>
              <a:effectLst/>
              <a:uLnTx/>
              <a:uFillTx/>
              <a:latin typeface="BIZ UDPゴシック"/>
              <a:ea typeface="BIZ UDPゴシック"/>
              <a:cs typeface="+mn-cs"/>
            </a:endParaRPr>
          </a:p>
        </p:txBody>
      </p:sp>
      <p:sp>
        <p:nvSpPr>
          <p:cNvPr id="11" name="テキスト ボックス 10">
            <a:extLst>
              <a:ext uri="{FF2B5EF4-FFF2-40B4-BE49-F238E27FC236}">
                <a16:creationId xmlns:a16="http://schemas.microsoft.com/office/drawing/2014/main" id="{88803321-5BCD-ED24-0112-088C72CF46F4}"/>
              </a:ext>
            </a:extLst>
          </p:cNvPr>
          <p:cNvSpPr txBox="1"/>
          <p:nvPr/>
        </p:nvSpPr>
        <p:spPr>
          <a:xfrm>
            <a:off x="300778" y="4891745"/>
            <a:ext cx="6335283" cy="153764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a:t>
            </a:r>
            <a:r>
              <a:rPr kumimoji="0" lang="ja-JP" altLang="en-US" sz="1400" b="0" i="0" u="none" strike="noStrike" kern="0" cap="none" spc="0" normalizeH="0" baseline="0" noProof="0">
                <a:ln>
                  <a:noFill/>
                </a:ln>
                <a:solidFill>
                  <a:srgbClr val="FFFFFF"/>
                </a:solidFill>
                <a:effectLst/>
                <a:uLnTx/>
                <a:uFillTx/>
              </a:rPr>
              <a:t>継続開発を行っている場合のみ​記載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実装済みの</a:t>
            </a:r>
            <a:r>
              <a:rPr kumimoji="0" lang="en-US" altLang="ja-JP" sz="1400" b="0" i="0" u="none" strike="noStrike" kern="0" cap="none" spc="0" normalizeH="0" baseline="0" noProof="0" err="1">
                <a:ln>
                  <a:noFill/>
                </a:ln>
                <a:solidFill>
                  <a:srgbClr val="FFFFFF"/>
                </a:solidFill>
                <a:effectLst/>
                <a:uLnTx/>
                <a:uFillTx/>
              </a:rPr>
              <a:t>MaaS</a:t>
            </a:r>
            <a:r>
              <a:rPr kumimoji="0" lang="ja-JP" altLang="en-US" sz="1400" b="0" i="0" u="none" strike="noStrike" kern="0" cap="none" spc="0" normalizeH="0" baseline="0" noProof="0">
                <a:ln>
                  <a:noFill/>
                </a:ln>
                <a:solidFill>
                  <a:srgbClr val="FFFFFF"/>
                </a:solidFill>
                <a:effectLst/>
                <a:uLnTx/>
                <a:uFillTx/>
              </a:rPr>
              <a:t>のアプリやデジタルチケット等のサービスについて、システム、座組、運用体制、造成商品等について記載してください。​</a:t>
            </a:r>
          </a:p>
        </p:txBody>
      </p:sp>
      <p:sp>
        <p:nvSpPr>
          <p:cNvPr id="16" name="テキスト ボックス 15">
            <a:extLst>
              <a:ext uri="{FF2B5EF4-FFF2-40B4-BE49-F238E27FC236}">
                <a16:creationId xmlns:a16="http://schemas.microsoft.com/office/drawing/2014/main" id="{97C76F22-2E31-EE16-171A-90EDA8848E04}"/>
              </a:ext>
            </a:extLst>
          </p:cNvPr>
          <p:cNvSpPr txBox="1"/>
          <p:nvPr/>
        </p:nvSpPr>
        <p:spPr>
          <a:xfrm>
            <a:off x="6965596" y="3005155"/>
            <a:ext cx="4086808" cy="3457633"/>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イメージビジュアルなどを掲載してください。</a:t>
            </a:r>
          </a:p>
        </p:txBody>
      </p:sp>
    </p:spTree>
    <p:extLst>
      <p:ext uri="{BB962C8B-B14F-4D97-AF65-F5344CB8AC3E}">
        <p14:creationId xmlns:p14="http://schemas.microsoft.com/office/powerpoint/2010/main" val="22718140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6AE4F6-F01F-62C2-59D7-A3B8E9AE82D8}"/>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E8C9B9F-8072-E0E4-77B7-420C6D2F96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6" name="think-cell data - do not delete" hidden="1">
                        <a:extLst>
                          <a:ext uri="{FF2B5EF4-FFF2-40B4-BE49-F238E27FC236}">
                            <a16:creationId xmlns:a16="http://schemas.microsoft.com/office/drawing/2014/main" id="{1E8C9B9F-8072-E0E4-77B7-420C6D2F96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A89627E6-1381-E3A4-FE8B-A4EB0C783D38}"/>
              </a:ext>
            </a:extLst>
          </p:cNvPr>
          <p:cNvSpPr>
            <a:spLocks noGrp="1"/>
          </p:cNvSpPr>
          <p:nvPr>
            <p:ph type="body" sz="quarter" idx="4294967295"/>
          </p:nvPr>
        </p:nvSpPr>
        <p:spPr>
          <a:xfrm>
            <a:off x="300779" y="947034"/>
            <a:ext cx="11376000" cy="661720"/>
          </a:xfrm>
        </p:spPr>
        <p:txBody>
          <a:bodyPr/>
          <a:lstStyle/>
          <a:p>
            <a:r>
              <a:rPr kumimoji="1" lang="ja-JP" altLang="en-US"/>
              <a:t>本業務の作業スケジュールや履行体制を含めた業務実施計画書を策定</a:t>
            </a:r>
            <a:r>
              <a:rPr lang="ja-JP" altLang="en-US"/>
              <a:t>する</a:t>
            </a:r>
            <a:endParaRPr kumimoji="1" lang="ja-JP" altLang="en-US"/>
          </a:p>
          <a:p>
            <a:endParaRPr kumimoji="1" lang="ja-JP" altLang="en-US"/>
          </a:p>
        </p:txBody>
      </p:sp>
      <p:sp>
        <p:nvSpPr>
          <p:cNvPr id="3" name="テキスト プレースホルダー 2">
            <a:extLst>
              <a:ext uri="{FF2B5EF4-FFF2-40B4-BE49-F238E27FC236}">
                <a16:creationId xmlns:a16="http://schemas.microsoft.com/office/drawing/2014/main" id="{8ED92B7C-1EEB-5342-CD72-059EC9543A4F}"/>
              </a:ext>
            </a:extLst>
          </p:cNvPr>
          <p:cNvSpPr>
            <a:spLocks noGrp="1"/>
          </p:cNvSpPr>
          <p:nvPr>
            <p:ph type="body" sz="quarter" idx="36"/>
          </p:nvPr>
        </p:nvSpPr>
        <p:spPr/>
        <p:txBody>
          <a:bodyPr/>
          <a:lstStyle/>
          <a:p>
            <a:endParaRPr kumimoji="1" lang="ja-JP" altLang="en-US"/>
          </a:p>
        </p:txBody>
      </p:sp>
      <p:sp>
        <p:nvSpPr>
          <p:cNvPr id="4" name="タイトル 3">
            <a:extLst>
              <a:ext uri="{FF2B5EF4-FFF2-40B4-BE49-F238E27FC236}">
                <a16:creationId xmlns:a16="http://schemas.microsoft.com/office/drawing/2014/main" id="{DD1CA6AB-0B11-22AF-99A0-D4CD074A0CDA}"/>
              </a:ext>
            </a:extLst>
          </p:cNvPr>
          <p:cNvSpPr>
            <a:spLocks noGrp="1"/>
          </p:cNvSpPr>
          <p:nvPr>
            <p:ph type="title"/>
          </p:nvPr>
        </p:nvSpPr>
        <p:spPr>
          <a:xfrm>
            <a:off x="300779" y="601848"/>
            <a:ext cx="11376000" cy="432000"/>
          </a:xfrm>
        </p:spPr>
        <p:txBody>
          <a:bodyPr vert="horz"/>
          <a:lstStyle/>
          <a:p>
            <a:r>
              <a:rPr kumimoji="1" lang="ja-JP" altLang="en-US"/>
              <a:t>本資料の位置付け③</a:t>
            </a:r>
          </a:p>
        </p:txBody>
      </p:sp>
      <p:graphicFrame>
        <p:nvGraphicFramePr>
          <p:cNvPr id="13" name="表 12">
            <a:extLst>
              <a:ext uri="{FF2B5EF4-FFF2-40B4-BE49-F238E27FC236}">
                <a16:creationId xmlns:a16="http://schemas.microsoft.com/office/drawing/2014/main" id="{6B84DF48-8B2E-7483-E19E-A4C36C91AA03}"/>
              </a:ext>
            </a:extLst>
          </p:cNvPr>
          <p:cNvGraphicFramePr>
            <a:graphicFrameLocks noGrp="1"/>
          </p:cNvGraphicFramePr>
          <p:nvPr/>
        </p:nvGraphicFramePr>
        <p:xfrm>
          <a:off x="403225" y="1277894"/>
          <a:ext cx="11273553" cy="2194560"/>
        </p:xfrm>
        <a:graphic>
          <a:graphicData uri="http://schemas.openxmlformats.org/drawingml/2006/table">
            <a:tbl>
              <a:tblPr bandRow="1">
                <a:tableStyleId>{69012ECD-51FC-41F1-AA8D-1B2483CD663E}</a:tableStyleId>
              </a:tblPr>
              <a:tblGrid>
                <a:gridCol w="390612">
                  <a:extLst>
                    <a:ext uri="{9D8B030D-6E8A-4147-A177-3AD203B41FA5}">
                      <a16:colId xmlns:a16="http://schemas.microsoft.com/office/drawing/2014/main" val="2108554568"/>
                    </a:ext>
                  </a:extLst>
                </a:gridCol>
                <a:gridCol w="1404733">
                  <a:extLst>
                    <a:ext uri="{9D8B030D-6E8A-4147-A177-3AD203B41FA5}">
                      <a16:colId xmlns:a16="http://schemas.microsoft.com/office/drawing/2014/main" val="3815544931"/>
                    </a:ext>
                  </a:extLst>
                </a:gridCol>
                <a:gridCol w="2897081">
                  <a:extLst>
                    <a:ext uri="{9D8B030D-6E8A-4147-A177-3AD203B41FA5}">
                      <a16:colId xmlns:a16="http://schemas.microsoft.com/office/drawing/2014/main" val="603325944"/>
                    </a:ext>
                  </a:extLst>
                </a:gridCol>
                <a:gridCol w="6581127">
                  <a:extLst>
                    <a:ext uri="{9D8B030D-6E8A-4147-A177-3AD203B41FA5}">
                      <a16:colId xmlns:a16="http://schemas.microsoft.com/office/drawing/2014/main" val="410620975"/>
                    </a:ext>
                  </a:extLst>
                </a:gridCol>
              </a:tblGrid>
              <a:tr h="236246">
                <a:tc gridSpan="2">
                  <a:txBody>
                    <a:bodyPr/>
                    <a:lstStyle/>
                    <a:p>
                      <a:r>
                        <a:rPr kumimoji="1" lang="ja-JP" altLang="en-US" sz="1000" b="1"/>
                        <a:t>章</a:t>
                      </a:r>
                    </a:p>
                  </a:txBody>
                  <a:tcPr>
                    <a:lnL w="19050" cap="flat" cmpd="sng" algn="ctr">
                      <a:solidFill>
                        <a:schemeClr val="tx1"/>
                      </a:solid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kumimoji="1" lang="ja-JP" altLang="en-US" sz="1000"/>
                    </a:p>
                  </a:txBody>
                  <a:tcPr>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00" b="1"/>
                        <a:t>アジェンダ</a:t>
                      </a:r>
                    </a:p>
                  </a:txBody>
                  <a:tcP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00" b="1"/>
                        <a:t>記載内容</a:t>
                      </a:r>
                    </a:p>
                  </a:txBody>
                  <a:tcPr>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20628022"/>
                  </a:ext>
                </a:extLst>
              </a:tr>
              <a:tr h="236246">
                <a:tc>
                  <a:txBody>
                    <a:bodyPr/>
                    <a:lstStyle/>
                    <a:p>
                      <a:r>
                        <a:rPr kumimoji="1" lang="en-US" altLang="ja-JP" sz="1000"/>
                        <a:t>Ⅴ</a:t>
                      </a:r>
                      <a:endParaRPr kumimoji="1" lang="ja-JP" altLang="en-US" sz="1000"/>
                    </a:p>
                  </a:txBody>
                  <a:tcPr>
                    <a:lnL w="19050" cap="flat" cmpd="sng" algn="ctr">
                      <a:solidFill>
                        <a:schemeClr val="tx1"/>
                      </a:solidFill>
                      <a:prstDash val="solid"/>
                      <a:round/>
                      <a:headEnd type="none" w="med" len="med"/>
                      <a:tailEnd type="none" w="med" len="med"/>
                    </a:lnL>
                    <a:lnT w="19050"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r>
                        <a:rPr kumimoji="1" lang="ja-JP" altLang="en-US" sz="1000"/>
                        <a:t>スケジュール</a:t>
                      </a:r>
                    </a:p>
                  </a:txBody>
                  <a:tcPr>
                    <a:lnR w="6350" cap="flat" cmpd="sng" algn="ctr">
                      <a:solidFill>
                        <a:srgbClr val="E4E4E4"/>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r>
                        <a:rPr kumimoji="1" lang="ja-JP" altLang="en-US" sz="1000">
                          <a:solidFill>
                            <a:schemeClr val="tx1"/>
                          </a:solidFill>
                        </a:rPr>
                        <a:t>１．スケジュール（</a:t>
                      </a:r>
                      <a:r>
                        <a:rPr kumimoji="1" lang="en-US" altLang="ja-JP" sz="1000">
                          <a:solidFill>
                            <a:schemeClr val="tx1"/>
                          </a:solidFill>
                        </a:rPr>
                        <a:t>WBS</a:t>
                      </a:r>
                      <a:r>
                        <a:rPr kumimoji="1" lang="ja-JP" altLang="en-US" sz="1000">
                          <a:solidFill>
                            <a:schemeClr val="tx1"/>
                          </a:solidFill>
                        </a:rPr>
                        <a:t>ガントチャート）</a:t>
                      </a:r>
                    </a:p>
                  </a:txBody>
                  <a:tcPr>
                    <a:lnL w="6350" cap="flat" cmpd="sng" algn="ctr">
                      <a:solidFill>
                        <a:srgbClr val="E4E4E4"/>
                      </a:solidFill>
                      <a:prstDash val="solid"/>
                      <a:round/>
                      <a:headEnd type="none" w="med" len="med"/>
                      <a:tailEnd type="none" w="med" len="med"/>
                    </a:lnL>
                    <a:lnT w="19050" cap="flat" cmpd="sng" algn="ctr">
                      <a:solidFill>
                        <a:schemeClr val="tx1"/>
                      </a:solidFill>
                      <a:prstDash val="solid"/>
                      <a:round/>
                      <a:headEnd type="none" w="med" len="med"/>
                      <a:tailEnd type="none" w="med" len="med"/>
                    </a:lnT>
                    <a:lnB w="9525" cap="flat" cmpd="sng" algn="ctr">
                      <a:solidFill>
                        <a:srgbClr val="E4E4E4"/>
                      </a:solidFill>
                      <a:prstDash val="solid"/>
                      <a:round/>
                      <a:headEnd type="none" w="med" len="med"/>
                      <a:tailEnd type="none" w="med" len="med"/>
                    </a:lnB>
                    <a:noFill/>
                  </a:tcPr>
                </a:tc>
                <a:tc>
                  <a:txBody>
                    <a:bodyPr/>
                    <a:lstStyle/>
                    <a:p>
                      <a:r>
                        <a:rPr kumimoji="1" lang="ja-JP" altLang="en-US" sz="1000">
                          <a:solidFill>
                            <a:schemeClr val="tx1"/>
                          </a:solidFill>
                        </a:rPr>
                        <a:t>プロジェクトのタイムラインを設定し、各フェーズの期間を明確にする</a:t>
                      </a:r>
                    </a:p>
                  </a:txBody>
                  <a:tcPr>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rgbClr val="E4E4E4"/>
                      </a:solidFill>
                      <a:prstDash val="solid"/>
                      <a:round/>
                      <a:headEnd type="none" w="med" len="med"/>
                      <a:tailEnd type="none" w="med" len="med"/>
                    </a:lnB>
                    <a:noFill/>
                  </a:tcPr>
                </a:tc>
                <a:extLst>
                  <a:ext uri="{0D108BD9-81ED-4DB2-BD59-A6C34878D82A}">
                    <a16:rowId xmlns:a16="http://schemas.microsoft.com/office/drawing/2014/main" val="2006140479"/>
                  </a:ext>
                </a:extLst>
              </a:tr>
              <a:tr h="236246">
                <a:tc>
                  <a:txBody>
                    <a:bodyPr/>
                    <a:lstStyle/>
                    <a:p>
                      <a:endParaRPr kumimoji="1" lang="ja-JP" altLang="en-US" sz="1000"/>
                    </a:p>
                  </a:txBody>
                  <a:tcPr>
                    <a:lnL w="19050" cap="flat" cmpd="sng" algn="ctr">
                      <a:solidFill>
                        <a:schemeClr val="tx1"/>
                      </a:solidFill>
                      <a:prstDash val="solid"/>
                      <a:round/>
                      <a:headEnd type="none" w="med" len="med"/>
                      <a:tailEnd type="none" w="med" len="med"/>
                    </a:lnL>
                    <a:lnT w="9525"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kumimoji="1" lang="ja-JP" altLang="en-US" sz="1000"/>
                    </a:p>
                  </a:txBody>
                  <a:tcPr>
                    <a:lnR w="6350" cap="flat" cmpd="sng" algn="ctr">
                      <a:solidFill>
                        <a:srgbClr val="E4E4E4"/>
                      </a:solidFill>
                      <a:prstDash val="solid"/>
                      <a:round/>
                      <a:headEnd type="none" w="med" len="med"/>
                      <a:tailEnd type="none" w="med" len="med"/>
                    </a:lnR>
                    <a:lnT w="9525"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r>
                        <a:rPr kumimoji="1" lang="en-US" altLang="ja-JP" sz="1000">
                          <a:solidFill>
                            <a:schemeClr val="tx1"/>
                          </a:solidFill>
                        </a:rPr>
                        <a:t>2.</a:t>
                      </a:r>
                      <a:r>
                        <a:rPr kumimoji="1" lang="ja-JP" altLang="en-US" sz="1000">
                          <a:solidFill>
                            <a:schemeClr val="tx1"/>
                          </a:solidFill>
                        </a:rPr>
                        <a:t>プロジェクトのフロー</a:t>
                      </a:r>
                    </a:p>
                  </a:txBody>
                  <a:tcPr>
                    <a:lnL w="6350" cap="flat" cmpd="sng" algn="ctr">
                      <a:solidFill>
                        <a:srgbClr val="E4E4E4"/>
                      </a:solidFill>
                      <a:prstDash val="solid"/>
                      <a:round/>
                      <a:headEnd type="none" w="med" len="med"/>
                      <a:tailEnd type="none" w="med" len="med"/>
                    </a:lnL>
                    <a:lnT w="9525" cap="flat" cmpd="sng" algn="ctr">
                      <a:solidFill>
                        <a:srgbClr val="E4E4E4"/>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r>
                        <a:rPr kumimoji="1" lang="en-US" altLang="ja-JP" sz="1000">
                          <a:solidFill>
                            <a:schemeClr val="tx1"/>
                          </a:solidFill>
                        </a:rPr>
                        <a:t>WBS/</a:t>
                      </a:r>
                      <a:r>
                        <a:rPr kumimoji="1" lang="ja-JP" altLang="en-US" sz="1000">
                          <a:solidFill>
                            <a:schemeClr val="tx1"/>
                          </a:solidFill>
                        </a:rPr>
                        <a:t>ガントをベースとして、大きなマイルストン単位でプロジェクトの進め方をフロー化する</a:t>
                      </a:r>
                    </a:p>
                  </a:txBody>
                  <a:tcPr>
                    <a:lnR w="19050" cap="flat" cmpd="sng" algn="ctr">
                      <a:solidFill>
                        <a:schemeClr val="tx1"/>
                      </a:solidFill>
                      <a:prstDash val="solid"/>
                      <a:round/>
                      <a:headEnd type="none" w="med" len="med"/>
                      <a:tailEnd type="none" w="med" len="med"/>
                    </a:lnR>
                    <a:lnT w="9525" cap="flat" cmpd="sng" algn="ctr">
                      <a:solidFill>
                        <a:srgbClr val="E4E4E4"/>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08472981"/>
                  </a:ext>
                </a:extLst>
              </a:tr>
              <a:tr h="174817">
                <a:tc>
                  <a:txBody>
                    <a:bodyPr/>
                    <a:lstStyle/>
                    <a:p>
                      <a:r>
                        <a:rPr kumimoji="1" lang="en-US" altLang="ja-JP" sz="1000"/>
                        <a:t>Ⅵ</a:t>
                      </a:r>
                      <a:endParaRPr kumimoji="1" lang="ja-JP" altLang="en-US" sz="1000"/>
                    </a:p>
                  </a:txBody>
                  <a:tcPr>
                    <a:lnL w="19050" cap="flat" cmpd="sng" algn="ctr">
                      <a:solidFill>
                        <a:schemeClr val="tx1"/>
                      </a:solidFill>
                      <a:prstDash val="solid"/>
                      <a:round/>
                      <a:headEnd type="none" w="med" len="med"/>
                      <a:tailEnd type="none" w="med" len="med"/>
                    </a:lnL>
                    <a:lnT w="19050"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r>
                        <a:rPr kumimoji="1" lang="ja-JP" altLang="en-US" sz="1000"/>
                        <a:t>マネジメント計画</a:t>
                      </a:r>
                    </a:p>
                  </a:txBody>
                  <a:tcPr>
                    <a:lnR w="6350" cap="flat" cmpd="sng" algn="ctr">
                      <a:solidFill>
                        <a:srgbClr val="E4E4E4"/>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r>
                        <a:rPr kumimoji="1" lang="en-US" altLang="ja-JP" sz="1000">
                          <a:solidFill>
                            <a:schemeClr val="tx1"/>
                          </a:solidFill>
                        </a:rPr>
                        <a:t>1.</a:t>
                      </a:r>
                      <a:r>
                        <a:rPr kumimoji="1" lang="ja-JP" altLang="en-US" sz="1000">
                          <a:solidFill>
                            <a:schemeClr val="tx1"/>
                          </a:solidFill>
                        </a:rPr>
                        <a:t>リスク・課題</a:t>
                      </a:r>
                    </a:p>
                  </a:txBody>
                  <a:tcPr>
                    <a:lnL w="6350" cap="flat" cmpd="sng" algn="ctr">
                      <a:solidFill>
                        <a:srgbClr val="E4E4E4"/>
                      </a:solidFill>
                      <a:prstDash val="solid"/>
                      <a:round/>
                      <a:headEnd type="none" w="med" len="med"/>
                      <a:tailEnd type="none" w="med" len="med"/>
                    </a:lnL>
                    <a:lnT w="19050" cap="flat" cmpd="sng" algn="ctr">
                      <a:solidFill>
                        <a:schemeClr val="tx1"/>
                      </a:solidFill>
                      <a:prstDash val="solid"/>
                      <a:round/>
                      <a:headEnd type="none" w="med" len="med"/>
                      <a:tailEnd type="none" w="med" len="med"/>
                    </a:lnT>
                    <a:lnB w="6350" cap="flat" cmpd="sng" algn="ctr">
                      <a:solidFill>
                        <a:srgbClr val="E4E4E4"/>
                      </a:solidFill>
                      <a:prstDash val="solid"/>
                      <a:round/>
                      <a:headEnd type="none" w="med" len="med"/>
                      <a:tailEnd type="none" w="med" len="med"/>
                    </a:lnB>
                    <a:noFill/>
                  </a:tcPr>
                </a:tc>
                <a:tc>
                  <a:txBody>
                    <a:bodyPr/>
                    <a:lstStyle/>
                    <a:p>
                      <a:r>
                        <a:rPr kumimoji="1" lang="ja-JP" altLang="en-US" sz="1000">
                          <a:solidFill>
                            <a:schemeClr val="tx1"/>
                          </a:solidFill>
                        </a:rPr>
                        <a:t>プロジェクトにおける潜在的なリスクと現在の課題を特定し、それに対する対策を明確にする</a:t>
                      </a:r>
                    </a:p>
                  </a:txBody>
                  <a:tcPr>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rgbClr val="E4E4E4"/>
                      </a:solidFill>
                      <a:prstDash val="solid"/>
                      <a:round/>
                      <a:headEnd type="none" w="med" len="med"/>
                      <a:tailEnd type="none" w="med" len="med"/>
                    </a:lnB>
                    <a:noFill/>
                  </a:tcPr>
                </a:tc>
                <a:extLst>
                  <a:ext uri="{0D108BD9-81ED-4DB2-BD59-A6C34878D82A}">
                    <a16:rowId xmlns:a16="http://schemas.microsoft.com/office/drawing/2014/main" val="1192471222"/>
                  </a:ext>
                </a:extLst>
              </a:tr>
              <a:tr h="174817">
                <a:tc>
                  <a:txBody>
                    <a:bodyPr/>
                    <a:lstStyle/>
                    <a:p>
                      <a:endParaRPr kumimoji="1" lang="ja-JP" altLang="en-US" sz="1000"/>
                    </a:p>
                  </a:txBody>
                  <a:tcPr>
                    <a:lnL w="19050" cap="flat" cmpd="sng" algn="ctr">
                      <a:solidFill>
                        <a:schemeClr val="tx1"/>
                      </a:solidFill>
                      <a:prstDash val="solid"/>
                      <a:round/>
                      <a:headEnd type="none" w="med" len="med"/>
                      <a:tailEnd type="none" w="med" len="med"/>
                    </a:lnL>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endParaRPr kumimoji="1" lang="ja-JP" altLang="en-US" sz="1000"/>
                    </a:p>
                  </a:txBody>
                  <a:tcPr>
                    <a:lnR w="6350" cap="flat" cmpd="sng" algn="ctr">
                      <a:solidFill>
                        <a:srgbClr val="E4E4E4"/>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r>
                        <a:rPr kumimoji="1" lang="en-US" altLang="ja-JP" sz="1000">
                          <a:solidFill>
                            <a:schemeClr val="tx1"/>
                          </a:solidFill>
                        </a:rPr>
                        <a:t>2.</a:t>
                      </a:r>
                      <a:r>
                        <a:rPr kumimoji="1" lang="ja-JP" altLang="en-US" sz="1000">
                          <a:solidFill>
                            <a:schemeClr val="tx1"/>
                          </a:solidFill>
                        </a:rPr>
                        <a:t>コスト</a:t>
                      </a:r>
                    </a:p>
                  </a:txBody>
                  <a:tcPr>
                    <a:lnL w="6350" cap="flat" cmpd="sng" algn="ctr">
                      <a:solidFill>
                        <a:srgbClr val="E4E4E4"/>
                      </a:solidFill>
                      <a:prstDash val="solid"/>
                      <a:round/>
                      <a:headEnd type="none" w="med" len="med"/>
                      <a:tailEnd type="none" w="med" len="med"/>
                    </a:lnL>
                    <a:lnT w="6350" cap="flat" cmpd="sng" algn="ctr">
                      <a:solidFill>
                        <a:srgbClr val="E4E4E4"/>
                      </a:solidFill>
                      <a:prstDash val="solid"/>
                      <a:round/>
                      <a:headEnd type="none" w="med" len="med"/>
                      <a:tailEnd type="none" w="med" len="med"/>
                    </a:lnT>
                    <a:lnB w="6350" cap="flat" cmpd="sng" algn="ctr">
                      <a:solidFill>
                        <a:srgbClr val="E4E4E4"/>
                      </a:solidFill>
                      <a:prstDash val="solid"/>
                      <a:round/>
                      <a:headEnd type="none" w="med" len="med"/>
                      <a:tailEnd type="none" w="med" len="med"/>
                    </a:lnB>
                    <a:noFill/>
                  </a:tcPr>
                </a:tc>
                <a:tc>
                  <a:txBody>
                    <a:bodyPr/>
                    <a:lstStyle/>
                    <a:p>
                      <a:r>
                        <a:rPr kumimoji="1" lang="ja-JP" altLang="en-US" sz="1000">
                          <a:solidFill>
                            <a:schemeClr val="tx1"/>
                          </a:solidFill>
                        </a:rPr>
                        <a:t>プロジェクトのコストについて、項目ごとに明確にする</a:t>
                      </a:r>
                    </a:p>
                  </a:txBody>
                  <a:tcPr>
                    <a:lnR w="19050" cap="flat" cmpd="sng" algn="ctr">
                      <a:solidFill>
                        <a:schemeClr val="tx1"/>
                      </a:solidFill>
                      <a:prstDash val="solid"/>
                      <a:round/>
                      <a:headEnd type="none" w="med" len="med"/>
                      <a:tailEnd type="none" w="med" len="med"/>
                    </a:lnR>
                    <a:lnT w="6350" cap="flat" cmpd="sng" algn="ctr">
                      <a:solidFill>
                        <a:srgbClr val="E4E4E4"/>
                      </a:solidFill>
                      <a:prstDash val="solid"/>
                      <a:round/>
                      <a:headEnd type="none" w="med" len="med"/>
                      <a:tailEnd type="none" w="med" len="med"/>
                    </a:lnT>
                    <a:lnB w="6350" cap="flat" cmpd="sng" algn="ctr">
                      <a:solidFill>
                        <a:srgbClr val="E4E4E4"/>
                      </a:solidFill>
                      <a:prstDash val="solid"/>
                      <a:round/>
                      <a:headEnd type="none" w="med" len="med"/>
                      <a:tailEnd type="none" w="med" len="med"/>
                    </a:lnB>
                    <a:noFill/>
                  </a:tcPr>
                </a:tc>
                <a:extLst>
                  <a:ext uri="{0D108BD9-81ED-4DB2-BD59-A6C34878D82A}">
                    <a16:rowId xmlns:a16="http://schemas.microsoft.com/office/drawing/2014/main" val="3140313467"/>
                  </a:ext>
                </a:extLst>
              </a:tr>
              <a:tr h="174817">
                <a:tc>
                  <a:txBody>
                    <a:bodyPr/>
                    <a:lstStyle/>
                    <a:p>
                      <a:endParaRPr kumimoji="1" lang="ja-JP" altLang="en-US" sz="1000"/>
                    </a:p>
                  </a:txBody>
                  <a:tcPr>
                    <a:lnL w="19050" cap="flat" cmpd="sng" algn="ctr">
                      <a:solidFill>
                        <a:schemeClr val="tx1"/>
                      </a:solidFill>
                      <a:prstDash val="solid"/>
                      <a:round/>
                      <a:headEnd type="none" w="med" len="med"/>
                      <a:tailEnd type="none" w="med" len="med"/>
                    </a:lnL>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endParaRPr kumimoji="1" lang="ja-JP" altLang="en-US" sz="1000"/>
                    </a:p>
                  </a:txBody>
                  <a:tcPr>
                    <a:lnR w="6350" cap="flat" cmpd="sng" algn="ctr">
                      <a:solidFill>
                        <a:srgbClr val="E4E4E4"/>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r>
                        <a:rPr kumimoji="1" lang="en-US" altLang="ja-JP" sz="1000">
                          <a:solidFill>
                            <a:schemeClr val="tx1"/>
                          </a:solidFill>
                        </a:rPr>
                        <a:t>3.</a:t>
                      </a:r>
                      <a:r>
                        <a:rPr kumimoji="1" lang="ja-JP" altLang="en-US" sz="1000">
                          <a:solidFill>
                            <a:schemeClr val="tx1"/>
                          </a:solidFill>
                        </a:rPr>
                        <a:t>リソース（プロジェクト実施体制）</a:t>
                      </a:r>
                    </a:p>
                  </a:txBody>
                  <a:tcPr>
                    <a:lnL w="6350" cap="flat" cmpd="sng" algn="ctr">
                      <a:solidFill>
                        <a:srgbClr val="E4E4E4"/>
                      </a:solidFill>
                      <a:prstDash val="solid"/>
                      <a:round/>
                      <a:headEnd type="none" w="med" len="med"/>
                      <a:tailEnd type="none" w="med" len="med"/>
                    </a:lnL>
                    <a:lnT w="6350" cap="flat" cmpd="sng" algn="ctr">
                      <a:solidFill>
                        <a:srgbClr val="E4E4E4"/>
                      </a:solidFill>
                      <a:prstDash val="solid"/>
                      <a:round/>
                      <a:headEnd type="none" w="med" len="med"/>
                      <a:tailEnd type="none" w="med" len="med"/>
                    </a:lnT>
                    <a:lnB w="6350" cap="flat" cmpd="sng" algn="ctr">
                      <a:solidFill>
                        <a:srgbClr val="E4E4E4"/>
                      </a:solidFill>
                      <a:prstDash val="solid"/>
                      <a:round/>
                      <a:headEnd type="none" w="med" len="med"/>
                      <a:tailEnd type="none" w="med" len="med"/>
                    </a:lnB>
                    <a:noFill/>
                  </a:tcPr>
                </a:tc>
                <a:tc>
                  <a:txBody>
                    <a:bodyPr/>
                    <a:lstStyle/>
                    <a:p>
                      <a:r>
                        <a:rPr kumimoji="1" lang="ja-JP" altLang="en-US" sz="1000">
                          <a:solidFill>
                            <a:schemeClr val="tx1"/>
                          </a:solidFill>
                        </a:rPr>
                        <a:t>プロジェクトの実施体制について、表及び図を用いて個人単位で明確にする</a:t>
                      </a:r>
                    </a:p>
                  </a:txBody>
                  <a:tcPr>
                    <a:lnR w="19050" cap="flat" cmpd="sng" algn="ctr">
                      <a:solidFill>
                        <a:schemeClr val="tx1"/>
                      </a:solidFill>
                      <a:prstDash val="solid"/>
                      <a:round/>
                      <a:headEnd type="none" w="med" len="med"/>
                      <a:tailEnd type="none" w="med" len="med"/>
                    </a:lnR>
                    <a:lnT w="6350" cap="flat" cmpd="sng" algn="ctr">
                      <a:solidFill>
                        <a:srgbClr val="E4E4E4"/>
                      </a:solidFill>
                      <a:prstDash val="solid"/>
                      <a:round/>
                      <a:headEnd type="none" w="med" len="med"/>
                      <a:tailEnd type="none" w="med" len="med"/>
                    </a:lnT>
                    <a:lnB w="6350" cap="flat" cmpd="sng" algn="ctr">
                      <a:solidFill>
                        <a:srgbClr val="E4E4E4"/>
                      </a:solidFill>
                      <a:prstDash val="solid"/>
                      <a:round/>
                      <a:headEnd type="none" w="med" len="med"/>
                      <a:tailEnd type="none" w="med" len="med"/>
                    </a:lnB>
                    <a:noFill/>
                  </a:tcPr>
                </a:tc>
                <a:extLst>
                  <a:ext uri="{0D108BD9-81ED-4DB2-BD59-A6C34878D82A}">
                    <a16:rowId xmlns:a16="http://schemas.microsoft.com/office/drawing/2014/main" val="1862614807"/>
                  </a:ext>
                </a:extLst>
              </a:tr>
              <a:tr h="174817">
                <a:tc>
                  <a:txBody>
                    <a:bodyPr/>
                    <a:lstStyle/>
                    <a:p>
                      <a:endParaRPr kumimoji="1" lang="ja-JP" altLang="en-US" sz="1000"/>
                    </a:p>
                  </a:txBody>
                  <a:tcPr>
                    <a:lnL w="19050" cap="flat" cmpd="sng" algn="ctr">
                      <a:solidFill>
                        <a:schemeClr val="tx1"/>
                      </a:solidFill>
                      <a:prstDash val="solid"/>
                      <a:round/>
                      <a:headEnd type="none" w="med" len="med"/>
                      <a:tailEnd type="none" w="med" len="med"/>
                    </a:lnL>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endParaRPr kumimoji="1" lang="ja-JP" altLang="en-US" sz="1000"/>
                    </a:p>
                  </a:txBody>
                  <a:tcPr>
                    <a:lnR w="6350" cap="flat" cmpd="sng" algn="ctr">
                      <a:solidFill>
                        <a:srgbClr val="E4E4E4"/>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r>
                        <a:rPr kumimoji="1" lang="en-US" altLang="ja-JP" sz="1000">
                          <a:solidFill>
                            <a:schemeClr val="tx1"/>
                          </a:solidFill>
                        </a:rPr>
                        <a:t>4.</a:t>
                      </a:r>
                      <a:r>
                        <a:rPr kumimoji="1" lang="ja-JP" altLang="en-US" sz="1000">
                          <a:solidFill>
                            <a:schemeClr val="tx1"/>
                          </a:solidFill>
                        </a:rPr>
                        <a:t>コミュニケーション</a:t>
                      </a:r>
                    </a:p>
                  </a:txBody>
                  <a:tcPr>
                    <a:lnL w="6350" cap="flat" cmpd="sng" algn="ctr">
                      <a:solidFill>
                        <a:srgbClr val="E4E4E4"/>
                      </a:solidFill>
                      <a:prstDash val="solid"/>
                      <a:round/>
                      <a:headEnd type="none" w="med" len="med"/>
                      <a:tailEnd type="none" w="med" len="med"/>
                    </a:lnL>
                    <a:lnT w="6350" cap="flat" cmpd="sng" algn="ctr">
                      <a:solidFill>
                        <a:srgbClr val="E4E4E4"/>
                      </a:solidFill>
                      <a:prstDash val="solid"/>
                      <a:round/>
                      <a:headEnd type="none" w="med" len="med"/>
                      <a:tailEnd type="none" w="med" len="med"/>
                    </a:lnT>
                    <a:lnB w="6350" cap="flat" cmpd="sng" algn="ctr">
                      <a:solidFill>
                        <a:srgbClr val="E4E4E4"/>
                      </a:solidFill>
                      <a:prstDash val="solid"/>
                      <a:round/>
                      <a:headEnd type="none" w="med" len="med"/>
                      <a:tailEnd type="none" w="med" len="med"/>
                    </a:lnB>
                    <a:noFill/>
                  </a:tcPr>
                </a:tc>
                <a:tc>
                  <a:txBody>
                    <a:bodyPr/>
                    <a:lstStyle/>
                    <a:p>
                      <a:r>
                        <a:rPr kumimoji="1" lang="ja-JP" altLang="en-US" sz="1000">
                          <a:solidFill>
                            <a:schemeClr val="tx1"/>
                          </a:solidFill>
                        </a:rPr>
                        <a:t>プロジェクト内部、国交省、支援事務局を含めた、本プロジェクト進行に必要なコミュニケーションプランを示す</a:t>
                      </a:r>
                    </a:p>
                  </a:txBody>
                  <a:tcPr>
                    <a:lnR w="19050" cap="flat" cmpd="sng" algn="ctr">
                      <a:solidFill>
                        <a:schemeClr val="tx1"/>
                      </a:solidFill>
                      <a:prstDash val="solid"/>
                      <a:round/>
                      <a:headEnd type="none" w="med" len="med"/>
                      <a:tailEnd type="none" w="med" len="med"/>
                    </a:lnR>
                    <a:lnT w="6350" cap="flat" cmpd="sng" algn="ctr">
                      <a:solidFill>
                        <a:srgbClr val="E4E4E4"/>
                      </a:solidFill>
                      <a:prstDash val="solid"/>
                      <a:round/>
                      <a:headEnd type="none" w="med" len="med"/>
                      <a:tailEnd type="none" w="med" len="med"/>
                    </a:lnT>
                    <a:lnB w="6350" cap="flat" cmpd="sng" algn="ctr">
                      <a:solidFill>
                        <a:srgbClr val="E4E4E4"/>
                      </a:solidFill>
                      <a:prstDash val="solid"/>
                      <a:round/>
                      <a:headEnd type="none" w="med" len="med"/>
                      <a:tailEnd type="none" w="med" len="med"/>
                    </a:lnB>
                    <a:noFill/>
                  </a:tcPr>
                </a:tc>
                <a:extLst>
                  <a:ext uri="{0D108BD9-81ED-4DB2-BD59-A6C34878D82A}">
                    <a16:rowId xmlns:a16="http://schemas.microsoft.com/office/drawing/2014/main" val="1830154720"/>
                  </a:ext>
                </a:extLst>
              </a:tr>
              <a:tr h="174817">
                <a:tc>
                  <a:txBody>
                    <a:bodyPr/>
                    <a:lstStyle/>
                    <a:p>
                      <a:endParaRPr kumimoji="1" lang="ja-JP" altLang="en-US" sz="1000"/>
                    </a:p>
                  </a:txBody>
                  <a:tcPr>
                    <a:lnL w="19050" cap="flat" cmpd="sng" algn="ctr">
                      <a:solidFill>
                        <a:schemeClr val="tx1"/>
                      </a:solidFill>
                      <a:prstDash val="solid"/>
                      <a:round/>
                      <a:headEnd type="none" w="med" len="med"/>
                      <a:tailEnd type="none" w="med" len="med"/>
                    </a:lnL>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endParaRPr kumimoji="1" lang="ja-JP" altLang="en-US" sz="1000"/>
                    </a:p>
                  </a:txBody>
                  <a:tcPr>
                    <a:lnR w="6350" cap="flat" cmpd="sng" algn="ctr">
                      <a:solidFill>
                        <a:srgbClr val="E4E4E4"/>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r>
                        <a:rPr kumimoji="1" lang="en-US" altLang="ja-JP" sz="1000">
                          <a:solidFill>
                            <a:schemeClr val="tx1"/>
                          </a:solidFill>
                        </a:rPr>
                        <a:t>5.</a:t>
                      </a:r>
                      <a:r>
                        <a:rPr kumimoji="1" lang="ja-JP" altLang="en-US" sz="1000">
                          <a:solidFill>
                            <a:schemeClr val="tx1"/>
                          </a:solidFill>
                        </a:rPr>
                        <a:t>品質</a:t>
                      </a:r>
                    </a:p>
                  </a:txBody>
                  <a:tcPr>
                    <a:lnL w="6350" cap="flat" cmpd="sng" algn="ctr">
                      <a:solidFill>
                        <a:srgbClr val="E4E4E4"/>
                      </a:solidFill>
                      <a:prstDash val="solid"/>
                      <a:round/>
                      <a:headEnd type="none" w="med" len="med"/>
                      <a:tailEnd type="none" w="med" len="med"/>
                    </a:lnL>
                    <a:lnT w="6350" cap="flat" cmpd="sng" algn="ctr">
                      <a:solidFill>
                        <a:srgbClr val="E4E4E4"/>
                      </a:solidFill>
                      <a:prstDash val="solid"/>
                      <a:round/>
                      <a:headEnd type="none" w="med" len="med"/>
                      <a:tailEnd type="none" w="med" len="med"/>
                    </a:lnT>
                    <a:lnB w="6350" cap="flat" cmpd="sng" algn="ctr">
                      <a:solidFill>
                        <a:srgbClr val="E4E4E4"/>
                      </a:solidFill>
                      <a:prstDash val="solid"/>
                      <a:round/>
                      <a:headEnd type="none" w="med" len="med"/>
                      <a:tailEnd type="none" w="med" len="med"/>
                    </a:lnB>
                    <a:noFill/>
                  </a:tcPr>
                </a:tc>
                <a:tc>
                  <a:txBody>
                    <a:bodyPr/>
                    <a:lstStyle/>
                    <a:p>
                      <a:r>
                        <a:rPr kumimoji="1" lang="ja-JP" altLang="en-US" sz="1000">
                          <a:solidFill>
                            <a:schemeClr val="tx1"/>
                          </a:solidFill>
                        </a:rPr>
                        <a:t>プロジェクトの品質基準を設定し、それを維持・向上させるための計画を明確にする</a:t>
                      </a:r>
                    </a:p>
                  </a:txBody>
                  <a:tcPr>
                    <a:lnR w="19050" cap="flat" cmpd="sng" algn="ctr">
                      <a:solidFill>
                        <a:schemeClr val="tx1"/>
                      </a:solidFill>
                      <a:prstDash val="solid"/>
                      <a:round/>
                      <a:headEnd type="none" w="med" len="med"/>
                      <a:tailEnd type="none" w="med" len="med"/>
                    </a:lnR>
                    <a:lnT w="6350" cap="flat" cmpd="sng" algn="ctr">
                      <a:solidFill>
                        <a:srgbClr val="E4E4E4"/>
                      </a:solidFill>
                      <a:prstDash val="solid"/>
                      <a:round/>
                      <a:headEnd type="none" w="med" len="med"/>
                      <a:tailEnd type="none" w="med" len="med"/>
                    </a:lnT>
                    <a:lnB w="6350" cap="flat" cmpd="sng" algn="ctr">
                      <a:solidFill>
                        <a:srgbClr val="E4E4E4"/>
                      </a:solidFill>
                      <a:prstDash val="solid"/>
                      <a:round/>
                      <a:headEnd type="none" w="med" len="med"/>
                      <a:tailEnd type="none" w="med" len="med"/>
                    </a:lnB>
                    <a:noFill/>
                  </a:tcPr>
                </a:tc>
                <a:extLst>
                  <a:ext uri="{0D108BD9-81ED-4DB2-BD59-A6C34878D82A}">
                    <a16:rowId xmlns:a16="http://schemas.microsoft.com/office/drawing/2014/main" val="1119873908"/>
                  </a:ext>
                </a:extLst>
              </a:tr>
              <a:tr h="174817">
                <a:tc>
                  <a:txBody>
                    <a:bodyPr/>
                    <a:lstStyle/>
                    <a:p>
                      <a:endParaRPr kumimoji="1" lang="ja-JP" altLang="en-US" sz="1000"/>
                    </a:p>
                  </a:txBody>
                  <a:tcPr>
                    <a:lnL w="19050" cap="flat" cmpd="sng" algn="ctr">
                      <a:solidFill>
                        <a:schemeClr val="tx1"/>
                      </a:solidFill>
                      <a:prstDash val="solid"/>
                      <a:round/>
                      <a:headEnd type="none" w="med" len="med"/>
                      <a:tailEnd type="none" w="med" len="med"/>
                    </a:lnL>
                    <a:lnT w="9525"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kumimoji="1" lang="ja-JP" altLang="en-US" sz="1000"/>
                    </a:p>
                  </a:txBody>
                  <a:tcPr>
                    <a:lnR w="6350" cap="flat" cmpd="sng" algn="ctr">
                      <a:solidFill>
                        <a:srgbClr val="E4E4E4"/>
                      </a:solidFill>
                      <a:prstDash val="solid"/>
                      <a:round/>
                      <a:headEnd type="none" w="med" len="med"/>
                      <a:tailEnd type="none" w="med" len="med"/>
                    </a:lnR>
                    <a:lnT w="9525"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r>
                        <a:rPr kumimoji="1" lang="en-US" altLang="ja-JP" sz="1000">
                          <a:solidFill>
                            <a:schemeClr val="tx1"/>
                          </a:solidFill>
                        </a:rPr>
                        <a:t>6.</a:t>
                      </a:r>
                      <a:r>
                        <a:rPr kumimoji="1" lang="ja-JP" altLang="en-US" sz="1000">
                          <a:solidFill>
                            <a:schemeClr val="tx1"/>
                          </a:solidFill>
                        </a:rPr>
                        <a:t>成果物</a:t>
                      </a:r>
                    </a:p>
                  </a:txBody>
                  <a:tcPr>
                    <a:lnL w="6350" cap="flat" cmpd="sng" algn="ctr">
                      <a:solidFill>
                        <a:srgbClr val="E4E4E4"/>
                      </a:solidFill>
                      <a:prstDash val="solid"/>
                      <a:round/>
                      <a:headEnd type="none" w="med" len="med"/>
                      <a:tailEnd type="none" w="med" len="med"/>
                    </a:lnL>
                    <a:lnT w="6350" cap="flat" cmpd="sng" algn="ctr">
                      <a:solidFill>
                        <a:srgbClr val="E4E4E4"/>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r>
                        <a:rPr kumimoji="1" lang="ja-JP" altLang="en-US" sz="1000">
                          <a:solidFill>
                            <a:schemeClr val="tx1"/>
                          </a:solidFill>
                        </a:rPr>
                        <a:t>プロジェクトを実施することにより得られる成果物を示す</a:t>
                      </a:r>
                    </a:p>
                  </a:txBody>
                  <a:tcPr>
                    <a:lnR w="19050" cap="flat" cmpd="sng" algn="ctr">
                      <a:solidFill>
                        <a:schemeClr val="tx1"/>
                      </a:solidFill>
                      <a:prstDash val="solid"/>
                      <a:round/>
                      <a:headEnd type="none" w="med" len="med"/>
                      <a:tailEnd type="none" w="med" len="med"/>
                    </a:lnR>
                    <a:lnT w="6350" cap="flat" cmpd="sng" algn="ctr">
                      <a:solidFill>
                        <a:srgbClr val="E4E4E4"/>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4383440"/>
                  </a:ext>
                </a:extLst>
              </a:tr>
            </a:tbl>
          </a:graphicData>
        </a:graphic>
      </p:graphicFrame>
    </p:spTree>
    <p:extLst>
      <p:ext uri="{BB962C8B-B14F-4D97-AF65-F5344CB8AC3E}">
        <p14:creationId xmlns:p14="http://schemas.microsoft.com/office/powerpoint/2010/main" val="13324020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7F81DA45-2EDB-3376-10B4-C61FAB506B4F}"/>
              </a:ext>
            </a:extLst>
          </p:cNvPr>
          <p:cNvSpPr>
            <a:spLocks noGrp="1"/>
          </p:cNvSpPr>
          <p:nvPr>
            <p:ph type="body" sz="quarter" idx="4294967295"/>
          </p:nvPr>
        </p:nvSpPr>
        <p:spPr>
          <a:xfrm>
            <a:off x="300779" y="1134673"/>
            <a:ext cx="11376000" cy="323165"/>
          </a:xfrm>
        </p:spPr>
        <p:txBody>
          <a:bodyPr>
            <a:normAutofit fontScale="92500" lnSpcReduction="2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マリーを記載</a:t>
            </a: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Ⅲ.</a:t>
            </a:r>
            <a:r>
              <a:rPr lang="ja-JP" altLang="en-US"/>
              <a:t>モビリティデータの取得と活用</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２</a:t>
            </a:r>
            <a:r>
              <a:rPr lang="en-US" altLang="ja-JP"/>
              <a:t>.</a:t>
            </a:r>
            <a:r>
              <a:rPr lang="ja-JP" altLang="en-US"/>
              <a:t>実証仮説</a:t>
            </a:r>
          </a:p>
        </p:txBody>
      </p:sp>
      <p:graphicFrame>
        <p:nvGraphicFramePr>
          <p:cNvPr id="8" name="表 14">
            <a:extLst>
              <a:ext uri="{FF2B5EF4-FFF2-40B4-BE49-F238E27FC236}">
                <a16:creationId xmlns:a16="http://schemas.microsoft.com/office/drawing/2014/main" id="{628A4627-CAA7-6C39-A2F3-3AFB41DE8AAE}"/>
              </a:ext>
            </a:extLst>
          </p:cNvPr>
          <p:cNvGraphicFramePr>
            <a:graphicFrameLocks noGrp="1"/>
          </p:cNvGraphicFramePr>
          <p:nvPr>
            <p:extLst>
              <p:ext uri="{D42A27DB-BD31-4B8C-83A1-F6EECF244321}">
                <p14:modId xmlns:p14="http://schemas.microsoft.com/office/powerpoint/2010/main" val="1822751871"/>
              </p:ext>
            </p:extLst>
          </p:nvPr>
        </p:nvGraphicFramePr>
        <p:xfrm>
          <a:off x="302400" y="1992923"/>
          <a:ext cx="11587199" cy="4509477"/>
        </p:xfrm>
        <a:graphic>
          <a:graphicData uri="http://schemas.openxmlformats.org/drawingml/2006/table">
            <a:tbl>
              <a:tblPr firstRow="1" bandRow="1">
                <a:tableStyleId>{5940675A-B579-460E-94D1-54222C63F5DA}</a:tableStyleId>
              </a:tblPr>
              <a:tblGrid>
                <a:gridCol w="2137758">
                  <a:extLst>
                    <a:ext uri="{9D8B030D-6E8A-4147-A177-3AD203B41FA5}">
                      <a16:colId xmlns:a16="http://schemas.microsoft.com/office/drawing/2014/main" val="2207648862"/>
                    </a:ext>
                  </a:extLst>
                </a:gridCol>
                <a:gridCol w="9449441">
                  <a:extLst>
                    <a:ext uri="{9D8B030D-6E8A-4147-A177-3AD203B41FA5}">
                      <a16:colId xmlns:a16="http://schemas.microsoft.com/office/drawing/2014/main" val="3194800138"/>
                    </a:ext>
                  </a:extLst>
                </a:gridCol>
              </a:tblGrid>
              <a:tr h="382954">
                <a:tc>
                  <a:txBody>
                    <a:bodyPr/>
                    <a:lstStyle/>
                    <a:p>
                      <a:pPr marL="0" indent="0">
                        <a:buFont typeface="+mj-lt"/>
                        <a:buNone/>
                      </a:pPr>
                      <a:r>
                        <a:rPr kumimoji="1" lang="ja-JP" altLang="en-US" sz="1600" b="1">
                          <a:latin typeface="+mj-ea"/>
                          <a:ea typeface="+mj-ea"/>
                        </a:rPr>
                        <a:t>項目</a:t>
                      </a:r>
                    </a:p>
                  </a:txBody>
                  <a:tcPr marL="112542" marR="112542" marT="56271" marB="56271">
                    <a:solidFill>
                      <a:schemeClr val="bg1">
                        <a:lumMod val="85000"/>
                      </a:schemeClr>
                    </a:solidFill>
                  </a:tcPr>
                </a:tc>
                <a:tc>
                  <a:txBody>
                    <a:bodyPr/>
                    <a:lstStyle/>
                    <a:p>
                      <a:pPr marL="0" indent="0" defTabSz="990546" fontAlgn="auto">
                        <a:spcBef>
                          <a:spcPts val="300"/>
                        </a:spcBef>
                        <a:spcAft>
                          <a:spcPts val="0"/>
                        </a:spcAft>
                        <a:buSzPct val="100000"/>
                        <a:buFont typeface="Meiryo UI" panose="020B0604030504040204" pitchFamily="50" charset="-128"/>
                        <a:buNone/>
                        <a:defRPr/>
                      </a:pPr>
                      <a:r>
                        <a:rPr kumimoji="1" lang="ja-JP" altLang="en-US" sz="1600" b="1">
                          <a:solidFill>
                            <a:schemeClr val="tx1"/>
                          </a:solidFill>
                          <a:latin typeface="+mj-ea"/>
                          <a:ea typeface="+mj-ea"/>
                        </a:rPr>
                        <a:t>内容</a:t>
                      </a:r>
                      <a:endParaRPr kumimoji="1" lang="en-US" altLang="ja-JP" sz="1600" b="1">
                        <a:solidFill>
                          <a:schemeClr val="tx1"/>
                        </a:solidFill>
                        <a:latin typeface="+mj-ea"/>
                        <a:ea typeface="+mj-ea"/>
                      </a:endParaRPr>
                    </a:p>
                  </a:txBody>
                  <a:tcPr marL="112542" marR="112542" marT="56271" marB="56271">
                    <a:solidFill>
                      <a:schemeClr val="bg1">
                        <a:lumMod val="85000"/>
                      </a:schemeClr>
                    </a:solidFill>
                  </a:tcPr>
                </a:tc>
                <a:extLst>
                  <a:ext uri="{0D108BD9-81ED-4DB2-BD59-A6C34878D82A}">
                    <a16:rowId xmlns:a16="http://schemas.microsoft.com/office/drawing/2014/main" val="4015009209"/>
                  </a:ext>
                </a:extLst>
              </a:tr>
              <a:tr h="4126523">
                <a:tc>
                  <a:txBody>
                    <a:bodyPr/>
                    <a:lstStyle/>
                    <a:p>
                      <a:pPr marL="0" indent="0">
                        <a:buFont typeface="+mj-lt"/>
                        <a:buNone/>
                      </a:pPr>
                      <a:r>
                        <a:rPr kumimoji="1" lang="ja-JP" altLang="en-US" sz="1600" b="0">
                          <a:latin typeface="+mn-ea"/>
                          <a:ea typeface="+mn-ea"/>
                        </a:rPr>
                        <a:t>実証仮説</a:t>
                      </a:r>
                    </a:p>
                  </a:txBody>
                  <a:tcPr marL="112542" marR="112542" marT="56271" marB="56271">
                    <a:noFill/>
                  </a:tcPr>
                </a:tc>
                <a:tc>
                  <a:txBody>
                    <a:bodyPr/>
                    <a:lstStyle/>
                    <a:p>
                      <a:pPr marL="0" indent="0">
                        <a:buFont typeface="Wingdings" panose="05000000000000000000" pitchFamily="2" charset="2"/>
                        <a:buNone/>
                      </a:pPr>
                      <a:r>
                        <a:rPr lang="ja-JP" altLang="en-US" sz="1600"/>
                        <a:t>①データ分析の実施</a:t>
                      </a:r>
                      <a:endParaRPr lang="en-US" altLang="ja-JP" sz="1600"/>
                    </a:p>
                    <a:p>
                      <a:pPr marL="285750" indent="-285750">
                        <a:buFont typeface="Wingdings" panose="05000000000000000000" pitchFamily="2" charset="2"/>
                        <a:buChar char="l"/>
                      </a:pPr>
                      <a:r>
                        <a:rPr lang="ja-JP" altLang="en-US" sz="1600">
                          <a:solidFill>
                            <a:srgbClr val="0070C0"/>
                          </a:solidFill>
                        </a:rPr>
                        <a:t>仮説</a:t>
                      </a:r>
                      <a:r>
                        <a:rPr lang="en-US" altLang="ja-JP" sz="1600">
                          <a:solidFill>
                            <a:srgbClr val="0070C0"/>
                          </a:solidFill>
                        </a:rPr>
                        <a:t>: </a:t>
                      </a:r>
                      <a:r>
                        <a:rPr lang="ja-JP" altLang="en-US" sz="1600">
                          <a:solidFill>
                            <a:srgbClr val="0070C0"/>
                          </a:solidFill>
                        </a:rPr>
                        <a:t>取得した</a:t>
                      </a:r>
                      <a:r>
                        <a:rPr lang="en-US" altLang="ja-JP" sz="1600">
                          <a:solidFill>
                            <a:srgbClr val="0070C0"/>
                          </a:solidFill>
                        </a:rPr>
                        <a:t>OD</a:t>
                      </a:r>
                      <a:r>
                        <a:rPr lang="ja-JP" altLang="en-US" sz="1600">
                          <a:solidFill>
                            <a:srgbClr val="0070C0"/>
                          </a:solidFill>
                        </a:rPr>
                        <a:t>データの分析により、公共交通利用率が</a:t>
                      </a:r>
                      <a:r>
                        <a:rPr lang="en-US" altLang="ja-JP" sz="1600">
                          <a:solidFill>
                            <a:srgbClr val="0070C0"/>
                          </a:solidFill>
                        </a:rPr>
                        <a:t>20%</a:t>
                      </a:r>
                      <a:r>
                        <a:rPr lang="ja-JP" altLang="en-US" sz="1600">
                          <a:solidFill>
                            <a:srgbClr val="0070C0"/>
                          </a:solidFill>
                        </a:rPr>
                        <a:t>向上し、交通渋滞が</a:t>
                      </a:r>
                      <a:r>
                        <a:rPr lang="en-US" altLang="ja-JP" sz="1600">
                          <a:solidFill>
                            <a:srgbClr val="0070C0"/>
                          </a:solidFill>
                        </a:rPr>
                        <a:t>15%</a:t>
                      </a:r>
                      <a:r>
                        <a:rPr lang="ja-JP" altLang="en-US" sz="1600">
                          <a:solidFill>
                            <a:srgbClr val="0070C0"/>
                          </a:solidFill>
                        </a:rPr>
                        <a:t>減少する。</a:t>
                      </a:r>
                    </a:p>
                    <a:p>
                      <a:pPr marL="0" indent="0">
                        <a:buFont typeface="Wingdings" panose="05000000000000000000" pitchFamily="2" charset="2"/>
                        <a:buNone/>
                      </a:pPr>
                      <a:endParaRPr lang="en-US" altLang="ja-JP" sz="1600">
                        <a:solidFill>
                          <a:srgbClr val="0070C0"/>
                        </a:solidFill>
                      </a:endParaRPr>
                    </a:p>
                    <a:p>
                      <a:pPr marL="0" indent="0">
                        <a:buFont typeface="Wingdings" panose="05000000000000000000" pitchFamily="2" charset="2"/>
                        <a:buNone/>
                      </a:pPr>
                      <a:r>
                        <a:rPr lang="ja-JP" altLang="en-US" sz="1600">
                          <a:solidFill>
                            <a:srgbClr val="0070C0"/>
                          </a:solidFill>
                        </a:rPr>
                        <a:t>仮説が実現する理由</a:t>
                      </a:r>
                      <a:r>
                        <a:rPr lang="en-US" altLang="ja-JP" sz="1600">
                          <a:solidFill>
                            <a:srgbClr val="0070C0"/>
                          </a:solidFill>
                        </a:rPr>
                        <a:t>: OD</a:t>
                      </a:r>
                      <a:r>
                        <a:rPr lang="ja-JP" altLang="en-US" sz="1600">
                          <a:solidFill>
                            <a:srgbClr val="0070C0"/>
                          </a:solidFill>
                        </a:rPr>
                        <a:t>データを分析することで、路線バスユーザーの移動を可視化し、ユーザーのニーズに合った路線・系統の再編を行うことができ、公共交通の魅力が増す。</a:t>
                      </a:r>
                      <a:endParaRPr lang="en-US" altLang="ja-JP" sz="1600">
                        <a:solidFill>
                          <a:srgbClr val="0070C0"/>
                        </a:solidFill>
                      </a:endParaRPr>
                    </a:p>
                    <a:p>
                      <a:pPr marL="285750" indent="-285750">
                        <a:buFont typeface="Wingdings" panose="05000000000000000000" pitchFamily="2" charset="2"/>
                        <a:buChar char="l"/>
                      </a:pPr>
                      <a:endParaRPr lang="en-US" altLang="ja-JP" sz="1600"/>
                    </a:p>
                    <a:p>
                      <a:pPr marL="285750" indent="-285750">
                        <a:buFont typeface="Wingdings" panose="05000000000000000000" pitchFamily="2" charset="2"/>
                        <a:buChar char="l"/>
                      </a:pPr>
                      <a:r>
                        <a:rPr lang="ja-JP" altLang="en-US" sz="1600"/>
                        <a:t>仮説</a:t>
                      </a:r>
                      <a:r>
                        <a:rPr lang="en-US" altLang="ja-JP" sz="1600"/>
                        <a:t>: </a:t>
                      </a:r>
                      <a:r>
                        <a:rPr lang="ja-JP" altLang="en-US" sz="1600"/>
                        <a:t>＿</a:t>
                      </a:r>
                      <a:endParaRPr lang="en-US" altLang="ja-JP" sz="1600"/>
                    </a:p>
                    <a:p>
                      <a:pPr marL="285750" indent="-285750">
                        <a:buFont typeface="Wingdings" panose="05000000000000000000" pitchFamily="2" charset="2"/>
                        <a:buChar char="l"/>
                      </a:pPr>
                      <a:endParaRPr lang="en-US" altLang="ja-JP" sz="1600"/>
                    </a:p>
                    <a:p>
                      <a:pPr marL="0" indent="0">
                        <a:buFont typeface="Wingdings" panose="05000000000000000000" pitchFamily="2" charset="2"/>
                        <a:buNone/>
                      </a:pPr>
                      <a:r>
                        <a:rPr lang="ja-JP" altLang="en-US" sz="1600"/>
                        <a:t>仮説が実現する理由</a:t>
                      </a:r>
                      <a:r>
                        <a:rPr lang="en-US" altLang="ja-JP" sz="1600"/>
                        <a:t>: </a:t>
                      </a:r>
                      <a:r>
                        <a:rPr lang="ja-JP" altLang="en-US" sz="1600"/>
                        <a:t>＿</a:t>
                      </a:r>
                      <a:endParaRPr lang="en-US" altLang="ja-JP" sz="1600"/>
                    </a:p>
                    <a:p>
                      <a:pPr marL="285750" indent="-285750">
                        <a:buFont typeface="Wingdings" panose="05000000000000000000" pitchFamily="2" charset="2"/>
                        <a:buChar char="l"/>
                      </a:pPr>
                      <a:endParaRPr lang="en-US" altLang="ja-JP" sz="1600"/>
                    </a:p>
                    <a:p>
                      <a:pPr marL="285750" indent="-285750">
                        <a:buFont typeface="Wingdings" panose="05000000000000000000" pitchFamily="2" charset="2"/>
                        <a:buChar char="l"/>
                      </a:pPr>
                      <a:r>
                        <a:rPr lang="ja-JP" altLang="en-US" sz="1600"/>
                        <a:t>仮説</a:t>
                      </a:r>
                      <a:r>
                        <a:rPr lang="en-US" altLang="ja-JP" sz="1600"/>
                        <a:t>: </a:t>
                      </a:r>
                      <a:r>
                        <a:rPr lang="ja-JP" altLang="en-US" sz="1600"/>
                        <a:t>＿</a:t>
                      </a:r>
                      <a:endParaRPr lang="en-US" altLang="ja-JP" sz="1600"/>
                    </a:p>
                    <a:p>
                      <a:pPr marL="285750" indent="-285750">
                        <a:buFont typeface="Wingdings" panose="05000000000000000000" pitchFamily="2" charset="2"/>
                        <a:buChar char="l"/>
                      </a:pPr>
                      <a:endParaRPr lang="en-US" altLang="ja-JP" sz="1600"/>
                    </a:p>
                    <a:p>
                      <a:pPr marL="0" indent="0">
                        <a:buFont typeface="Wingdings" panose="05000000000000000000" pitchFamily="2" charset="2"/>
                        <a:buNone/>
                      </a:pPr>
                      <a:r>
                        <a:rPr lang="ja-JP" altLang="en-US" sz="1600"/>
                        <a:t>仮説が実現する理由</a:t>
                      </a:r>
                      <a:r>
                        <a:rPr lang="en-US" altLang="ja-JP" sz="1600"/>
                        <a:t>: </a:t>
                      </a:r>
                      <a:r>
                        <a:rPr lang="ja-JP" altLang="en-US" sz="1600"/>
                        <a:t>＿</a:t>
                      </a:r>
                    </a:p>
                    <a:p>
                      <a:pPr marL="0" lvl="0" indent="0" algn="just">
                        <a:buFont typeface="Wingdings" panose="05000000000000000000" pitchFamily="2" charset="2"/>
                        <a:buNone/>
                      </a:pPr>
                      <a:endParaRPr lang="en-US" altLang="ja-JP" sz="1600" u="none" kern="100">
                        <a:solidFill>
                          <a:srgbClr val="000000"/>
                        </a:solidFill>
                        <a:effectLst/>
                        <a:latin typeface="+mn-ea"/>
                        <a:ea typeface="+mn-ea"/>
                        <a:cs typeface="Arial" panose="020B0604020202020204" pitchFamily="34" charset="0"/>
                      </a:endParaRPr>
                    </a:p>
                    <a:p>
                      <a:pPr marL="342900" lvl="0" indent="-342900" algn="just">
                        <a:buFont typeface="Wingdings" panose="05000000000000000000" pitchFamily="2" charset="2"/>
                        <a:buChar char=""/>
                      </a:pPr>
                      <a:endParaRPr lang="en-US" altLang="ja-JP" sz="1600" u="none" kern="100">
                        <a:solidFill>
                          <a:srgbClr val="000000"/>
                        </a:solidFill>
                        <a:effectLst/>
                        <a:latin typeface="+mn-ea"/>
                        <a:ea typeface="+mn-ea"/>
                        <a:cs typeface="Arial" panose="020B0604020202020204" pitchFamily="34" charset="0"/>
                      </a:endParaRPr>
                    </a:p>
                  </a:txBody>
                  <a:tcPr marL="112542" marR="112542" marT="56271" marB="56271">
                    <a:solidFill>
                      <a:schemeClr val="bg1"/>
                    </a:solidFill>
                  </a:tcPr>
                </a:tc>
                <a:extLst>
                  <a:ext uri="{0D108BD9-81ED-4DB2-BD59-A6C34878D82A}">
                    <a16:rowId xmlns:a16="http://schemas.microsoft.com/office/drawing/2014/main" val="4257226144"/>
                  </a:ext>
                </a:extLst>
              </a:tr>
            </a:tbl>
          </a:graphicData>
        </a:graphic>
      </p:graphicFrame>
      <p:sp>
        <p:nvSpPr>
          <p:cNvPr id="4" name="テキスト ボックス 3">
            <a:extLst>
              <a:ext uri="{FF2B5EF4-FFF2-40B4-BE49-F238E27FC236}">
                <a16:creationId xmlns:a16="http://schemas.microsoft.com/office/drawing/2014/main" id="{50019115-7B4A-AC62-27DD-796BB40B5F35}"/>
              </a:ext>
            </a:extLst>
          </p:cNvPr>
          <p:cNvSpPr txBox="1"/>
          <p:nvPr/>
        </p:nvSpPr>
        <p:spPr>
          <a:xfrm>
            <a:off x="1754907" y="3506673"/>
            <a:ext cx="8467744" cy="163062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スコープ単位で記載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をすることにより▲▲になる、等スコープに対してどのような仮説が立つか具体的に記載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また、▲▲の部分のどうなるかについては、できるだけ定量的に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27794066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Ⅲ.</a:t>
            </a:r>
            <a:r>
              <a:rPr lang="ja-JP" altLang="en-US"/>
              <a:t>モビリティデータの取得と活用</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３</a:t>
            </a:r>
            <a:r>
              <a:rPr lang="en-US" altLang="ja-JP"/>
              <a:t>.</a:t>
            </a:r>
            <a:r>
              <a:rPr lang="ja-JP" altLang="en-US"/>
              <a:t>スコープ詳細</a:t>
            </a:r>
          </a:p>
        </p:txBody>
      </p:sp>
      <p:sp>
        <p:nvSpPr>
          <p:cNvPr id="25" name="テキスト プレースホルダー 10">
            <a:extLst>
              <a:ext uri="{FF2B5EF4-FFF2-40B4-BE49-F238E27FC236}">
                <a16:creationId xmlns:a16="http://schemas.microsoft.com/office/drawing/2014/main" id="{068C9888-0E95-AAA4-69A4-84A9C781E59B}"/>
              </a:ext>
            </a:extLst>
          </p:cNvPr>
          <p:cNvSpPr txBox="1">
            <a:spLocks/>
          </p:cNvSpPr>
          <p:nvPr/>
        </p:nvSpPr>
        <p:spPr>
          <a:xfrm>
            <a:off x="300778" y="1197432"/>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kumimoji="1" lang="ja-JP" altLang="en-US" sz="1800" b="0" i="0" u="none" strike="noStrike" kern="1200" cap="none" spc="0" normalizeH="0" baseline="0" noProof="0" dirty="0">
                <a:ln>
                  <a:noFill/>
                </a:ln>
                <a:solidFill>
                  <a:srgbClr val="0070C0"/>
                </a:solidFill>
                <a:effectLst/>
                <a:uLnTx/>
                <a:uFillTx/>
                <a:latin typeface="BIZ UDPゴシック"/>
                <a:ea typeface="BIZ UDPゴシック"/>
                <a:cs typeface="+mn-cs"/>
              </a:rPr>
              <a:t>①</a:t>
            </a:r>
            <a:r>
              <a:rPr lang="ja-JP" altLang="en-US" sz="1800" dirty="0">
                <a:solidFill>
                  <a:srgbClr val="0070C0"/>
                </a:solidFill>
                <a:latin typeface="BIZ UDPゴシック"/>
                <a:ea typeface="BIZ UDPゴシック"/>
              </a:rPr>
              <a:t>データ分析の実施</a:t>
            </a:r>
            <a:endParaRPr kumimoji="1" lang="en-US" altLang="ja-JP" sz="1800" b="0" i="0" u="none" strike="noStrike" kern="1200" cap="none" spc="0" normalizeH="0" baseline="0" noProof="0" dirty="0">
              <a:ln>
                <a:noFill/>
              </a:ln>
              <a:solidFill>
                <a:srgbClr val="0070C0"/>
              </a:solidFill>
              <a:effectLst/>
              <a:uLnTx/>
              <a:uFillTx/>
              <a:latin typeface="BIZ UDPゴシック"/>
              <a:ea typeface="BIZ UDPゴシック"/>
              <a:cs typeface="+mn-cs"/>
            </a:endParaRPr>
          </a:p>
        </p:txBody>
      </p:sp>
      <p:graphicFrame>
        <p:nvGraphicFramePr>
          <p:cNvPr id="4" name="表 3">
            <a:extLst>
              <a:ext uri="{FF2B5EF4-FFF2-40B4-BE49-F238E27FC236}">
                <a16:creationId xmlns:a16="http://schemas.microsoft.com/office/drawing/2014/main" id="{53290717-291E-FE0B-F239-8CC31B49B7AE}"/>
              </a:ext>
            </a:extLst>
          </p:cNvPr>
          <p:cNvGraphicFramePr>
            <a:graphicFrameLocks noGrp="1"/>
          </p:cNvGraphicFramePr>
          <p:nvPr>
            <p:extLst>
              <p:ext uri="{D42A27DB-BD31-4B8C-83A1-F6EECF244321}">
                <p14:modId xmlns:p14="http://schemas.microsoft.com/office/powerpoint/2010/main" val="4080687149"/>
              </p:ext>
            </p:extLst>
          </p:nvPr>
        </p:nvGraphicFramePr>
        <p:xfrm>
          <a:off x="6120379" y="1941804"/>
          <a:ext cx="5390886" cy="4131675"/>
        </p:xfrm>
        <a:graphic>
          <a:graphicData uri="http://schemas.openxmlformats.org/drawingml/2006/table">
            <a:tbl>
              <a:tblPr firstRow="1" firstCol="1" bandRow="1">
                <a:tableStyleId>{5940675A-B579-460E-94D1-54222C63F5DA}</a:tableStyleId>
              </a:tblPr>
              <a:tblGrid>
                <a:gridCol w="1621993">
                  <a:extLst>
                    <a:ext uri="{9D8B030D-6E8A-4147-A177-3AD203B41FA5}">
                      <a16:colId xmlns:a16="http://schemas.microsoft.com/office/drawing/2014/main" val="3938936156"/>
                    </a:ext>
                  </a:extLst>
                </a:gridCol>
                <a:gridCol w="3768893">
                  <a:extLst>
                    <a:ext uri="{9D8B030D-6E8A-4147-A177-3AD203B41FA5}">
                      <a16:colId xmlns:a16="http://schemas.microsoft.com/office/drawing/2014/main" val="547714969"/>
                    </a:ext>
                  </a:extLst>
                </a:gridCol>
              </a:tblGrid>
              <a:tr h="343021">
                <a:tc>
                  <a:txBody>
                    <a:bodyPr/>
                    <a:lstStyle/>
                    <a:p>
                      <a:pPr algn="just"/>
                      <a:r>
                        <a:rPr lang="ja-JP" altLang="en-US" sz="1050" b="0" kern="100">
                          <a:solidFill>
                            <a:schemeClr val="tx1"/>
                          </a:solidFill>
                          <a:effectLst/>
                          <a:latin typeface="+mn-ea"/>
                          <a:ea typeface="+mn-ea"/>
                          <a:cs typeface="Meiryo UI" panose="020B0604030504040204" pitchFamily="50" charset="-128"/>
                        </a:rPr>
                        <a:t>開発機能</a:t>
                      </a:r>
                      <a:endParaRPr lang="ja-JP" altLang="ja-JP" sz="1050" b="0" kern="100">
                        <a:solidFill>
                          <a:schemeClr val="tx1"/>
                        </a:solidFill>
                        <a:effectLst/>
                        <a:latin typeface="+mn-ea"/>
                        <a:ea typeface="+mn-ea"/>
                        <a:cs typeface="Meiryo UI" panose="020B0604030504040204" pitchFamily="50" charset="-128"/>
                      </a:endParaRPr>
                    </a:p>
                  </a:txBody>
                  <a:tcPr marL="90000" marR="90000" marT="46800" marB="46800">
                    <a:solidFill>
                      <a:schemeClr val="bg1">
                        <a:lumMod val="75000"/>
                      </a:schemeClr>
                    </a:solidFill>
                  </a:tcPr>
                </a:tc>
                <a:tc>
                  <a:txBody>
                    <a:bodyPr/>
                    <a:lstStyle/>
                    <a:p>
                      <a:pPr algn="just"/>
                      <a:r>
                        <a:rPr lang="ja-JP" altLang="en-US" sz="1050" b="0" kern="100">
                          <a:solidFill>
                            <a:schemeClr val="tx1"/>
                          </a:solidFill>
                          <a:effectLst/>
                          <a:latin typeface="+mn-ea"/>
                          <a:ea typeface="+mn-ea"/>
                          <a:cs typeface="Meiryo UI" panose="020B0604030504040204" pitchFamily="50" charset="-128"/>
                        </a:rPr>
                        <a:t>概要</a:t>
                      </a:r>
                      <a:endParaRPr lang="ja-JP" sz="1050" b="0" kern="100">
                        <a:solidFill>
                          <a:schemeClr val="tx1"/>
                        </a:solidFill>
                        <a:effectLst/>
                        <a:latin typeface="+mn-ea"/>
                        <a:ea typeface="+mn-ea"/>
                        <a:cs typeface="Meiryo UI" panose="020B0604030504040204" pitchFamily="50" charset="-128"/>
                      </a:endParaRPr>
                    </a:p>
                  </a:txBody>
                  <a:tcPr marL="90000" marR="90000" marT="46800" marB="46800">
                    <a:solidFill>
                      <a:schemeClr val="bg1">
                        <a:lumMod val="75000"/>
                      </a:schemeClr>
                    </a:solidFill>
                  </a:tcPr>
                </a:tc>
                <a:extLst>
                  <a:ext uri="{0D108BD9-81ED-4DB2-BD59-A6C34878D82A}">
                    <a16:rowId xmlns:a16="http://schemas.microsoft.com/office/drawing/2014/main" val="1526276123"/>
                  </a:ext>
                </a:extLst>
              </a:tr>
              <a:tr h="445920">
                <a:tc>
                  <a:txBody>
                    <a:bodyPr/>
                    <a:lstStyle/>
                    <a:p>
                      <a:r>
                        <a:rPr kumimoji="1" lang="ja-JP" altLang="en-US" sz="1050" dirty="0">
                          <a:solidFill>
                            <a:srgbClr val="0070C0"/>
                          </a:solidFill>
                        </a:rPr>
                        <a:t>地域情報可視化機能</a:t>
                      </a:r>
                    </a:p>
                  </a:txBody>
                  <a:tcPr marL="90000" marR="90000" marT="46800" marB="46800" anchor="ctr"/>
                </a:tc>
                <a:tc>
                  <a:txBody>
                    <a:bodyPr/>
                    <a:lstStyle/>
                    <a:p>
                      <a:r>
                        <a:rPr kumimoji="1" lang="ja-JP" altLang="en-US" sz="1050" dirty="0">
                          <a:solidFill>
                            <a:srgbClr val="0070C0"/>
                          </a:solidFill>
                        </a:rPr>
                        <a:t>地域の交通データを地図上で可視化する機能。</a:t>
                      </a:r>
                    </a:p>
                  </a:txBody>
                  <a:tcPr marL="90000" marR="90000" marT="46800" marB="46800" anchor="ctr"/>
                </a:tc>
                <a:extLst>
                  <a:ext uri="{0D108BD9-81ED-4DB2-BD59-A6C34878D82A}">
                    <a16:rowId xmlns:a16="http://schemas.microsoft.com/office/drawing/2014/main" val="1596975374"/>
                  </a:ext>
                </a:extLst>
              </a:tr>
              <a:tr h="526146">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dirty="0">
                          <a:solidFill>
                            <a:srgbClr val="0070C0"/>
                          </a:solidFill>
                        </a:rPr>
                        <a:t>路線別情報可視化機能</a:t>
                      </a:r>
                      <a:endParaRPr kumimoji="1" lang="en-US" altLang="ja-JP" sz="1050" dirty="0">
                        <a:solidFill>
                          <a:srgbClr val="0070C0"/>
                        </a:solidFill>
                      </a:endParaRPr>
                    </a:p>
                  </a:txBody>
                  <a:tcPr marL="90000" marR="90000" marT="46800" marB="46800" anchor="ct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50" dirty="0">
                          <a:solidFill>
                            <a:srgbClr val="0070C0"/>
                          </a:solidFill>
                        </a:rPr>
                        <a:t>地域の路線別（手宇道・バス・</a:t>
                      </a:r>
                      <a:r>
                        <a:rPr kumimoji="1" lang="en-US" altLang="ja-JP" sz="1050" dirty="0">
                          <a:solidFill>
                            <a:srgbClr val="0070C0"/>
                          </a:solidFill>
                        </a:rPr>
                        <a:t>AI</a:t>
                      </a:r>
                      <a:r>
                        <a:rPr kumimoji="1" lang="ja-JP" altLang="en-US" sz="1050" dirty="0">
                          <a:solidFill>
                            <a:srgbClr val="0070C0"/>
                          </a:solidFill>
                        </a:rPr>
                        <a:t>オンデマンド）の輸送実績データを表示する機能。</a:t>
                      </a:r>
                    </a:p>
                  </a:txBody>
                  <a:tcPr marL="90000" marR="90000" marT="46800" marB="46800" anchor="ctr"/>
                </a:tc>
                <a:extLst>
                  <a:ext uri="{0D108BD9-81ED-4DB2-BD59-A6C34878D82A}">
                    <a16:rowId xmlns:a16="http://schemas.microsoft.com/office/drawing/2014/main" val="3479908594"/>
                  </a:ext>
                </a:extLst>
              </a:tr>
              <a:tr h="619248">
                <a:tc>
                  <a:txBody>
                    <a:bodyPr/>
                    <a:lstStyle/>
                    <a:p>
                      <a:r>
                        <a:rPr kumimoji="1" lang="ja-JP" altLang="en-US" sz="1050" dirty="0">
                          <a:solidFill>
                            <a:srgbClr val="0070C0"/>
                          </a:solidFill>
                        </a:rPr>
                        <a:t>課題表示機能</a:t>
                      </a:r>
                    </a:p>
                  </a:txBody>
                  <a:tcPr marL="90000" marR="90000" marT="46800" marB="46800" anchor="ctr"/>
                </a:tc>
                <a:tc>
                  <a:txBody>
                    <a:bodyPr/>
                    <a:lstStyle/>
                    <a:p>
                      <a:r>
                        <a:rPr kumimoji="1" lang="ja-JP" altLang="en-US" sz="1050" dirty="0">
                          <a:solidFill>
                            <a:srgbClr val="0070C0"/>
                          </a:solidFill>
                        </a:rPr>
                        <a:t>取得したデータより、地域の交通課題を可視化する機能。</a:t>
                      </a:r>
                      <a:endParaRPr kumimoji="1" lang="en-US" altLang="ja-JP" sz="1050" dirty="0">
                        <a:solidFill>
                          <a:srgbClr val="0070C0"/>
                        </a:solidFill>
                      </a:endParaRPr>
                    </a:p>
                  </a:txBody>
                  <a:tcPr marL="90000" marR="90000" marT="46800" marB="46800" anchor="ctr"/>
                </a:tc>
                <a:extLst>
                  <a:ext uri="{0D108BD9-81ED-4DB2-BD59-A6C34878D82A}">
                    <a16:rowId xmlns:a16="http://schemas.microsoft.com/office/drawing/2014/main" val="213378181"/>
                  </a:ext>
                </a:extLst>
              </a:tr>
              <a:tr h="618902">
                <a:tc>
                  <a:txBody>
                    <a:bodyPr/>
                    <a:lstStyle/>
                    <a:p>
                      <a:r>
                        <a:rPr kumimoji="1" lang="ja-JP" altLang="en-US" sz="1050" dirty="0">
                          <a:solidFill>
                            <a:srgbClr val="0070C0"/>
                          </a:solidFill>
                        </a:rPr>
                        <a:t>ユーザー管理機能</a:t>
                      </a:r>
                    </a:p>
                  </a:txBody>
                  <a:tcPr marL="90000" marR="90000" marT="46800" marB="46800" anchor="ctr"/>
                </a:tc>
                <a:tc>
                  <a:txBody>
                    <a:bodyPr/>
                    <a:lstStyle/>
                    <a:p>
                      <a:r>
                        <a:rPr kumimoji="1" lang="ja-JP" altLang="en-US" sz="1050">
                          <a:solidFill>
                            <a:srgbClr val="0070C0"/>
                          </a:solidFill>
                        </a:rPr>
                        <a:t>ツールを操作する自治体職員用のユーザー管理機能。ユーザーの管理権限を付与できる。</a:t>
                      </a:r>
                      <a:endParaRPr kumimoji="1" lang="ja-JP" altLang="en-US" sz="1050" dirty="0">
                        <a:solidFill>
                          <a:srgbClr val="0070C0"/>
                        </a:solidFill>
                      </a:endParaRPr>
                    </a:p>
                  </a:txBody>
                  <a:tcPr marL="90000" marR="90000" marT="46800" marB="46800" anchor="ctr"/>
                </a:tc>
                <a:extLst>
                  <a:ext uri="{0D108BD9-81ED-4DB2-BD59-A6C34878D82A}">
                    <a16:rowId xmlns:a16="http://schemas.microsoft.com/office/drawing/2014/main" val="3204529771"/>
                  </a:ext>
                </a:extLst>
              </a:tr>
              <a:tr h="526146">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050" dirty="0">
                        <a:solidFill>
                          <a:srgbClr val="0070C0"/>
                        </a:solidFill>
                      </a:endParaRPr>
                    </a:p>
                  </a:txBody>
                  <a:tcPr marL="90000" marR="90000" marT="46800" marB="46800" anchor="ctr"/>
                </a:tc>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050" dirty="0">
                        <a:solidFill>
                          <a:srgbClr val="0070C0"/>
                        </a:solidFill>
                      </a:endParaRPr>
                    </a:p>
                  </a:txBody>
                  <a:tcPr marL="90000" marR="90000" marT="46800" marB="46800" anchor="ctr"/>
                </a:tc>
                <a:extLst>
                  <a:ext uri="{0D108BD9-81ED-4DB2-BD59-A6C34878D82A}">
                    <a16:rowId xmlns:a16="http://schemas.microsoft.com/office/drawing/2014/main" val="3146275505"/>
                  </a:ext>
                </a:extLst>
              </a:tr>
              <a:tr h="526146">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050">
                        <a:solidFill>
                          <a:srgbClr val="0070C0"/>
                        </a:solidFill>
                      </a:endParaRPr>
                    </a:p>
                  </a:txBody>
                  <a:tcPr marL="90000" marR="90000" marT="46800" marB="46800" anchor="ctr"/>
                </a:tc>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050">
                        <a:solidFill>
                          <a:srgbClr val="0070C0"/>
                        </a:solidFill>
                      </a:endParaRPr>
                    </a:p>
                  </a:txBody>
                  <a:tcPr marL="90000" marR="90000" marT="46800" marB="46800" anchor="ctr"/>
                </a:tc>
                <a:extLst>
                  <a:ext uri="{0D108BD9-81ED-4DB2-BD59-A6C34878D82A}">
                    <a16:rowId xmlns:a16="http://schemas.microsoft.com/office/drawing/2014/main" val="3569301698"/>
                  </a:ext>
                </a:extLst>
              </a:tr>
              <a:tr h="526146">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050">
                        <a:solidFill>
                          <a:srgbClr val="0070C0"/>
                        </a:solidFill>
                      </a:endParaRPr>
                    </a:p>
                  </a:txBody>
                  <a:tcPr marL="90000" marR="90000" marT="46800" marB="46800" anchor="ctr"/>
                </a:tc>
                <a:tc>
                  <a:txBody>
                    <a:bodyPr/>
                    <a:lstStyle/>
                    <a:p>
                      <a:pPr marL="0" lvl="0" indent="0" algn="just">
                        <a:buFont typeface="Arial" panose="020B0604020202020204" pitchFamily="34" charset="0"/>
                        <a:buNone/>
                      </a:pPr>
                      <a:endParaRPr lang="ja-JP" sz="1050" b="0" kern="100" dirty="0">
                        <a:solidFill>
                          <a:srgbClr val="0070C0"/>
                        </a:solidFill>
                        <a:effectLst/>
                        <a:latin typeface="+mn-ea"/>
                        <a:ea typeface="+mn-ea"/>
                        <a:cs typeface="Meiryo UI" panose="020B0604030504040204" pitchFamily="50" charset="-128"/>
                      </a:endParaRPr>
                    </a:p>
                  </a:txBody>
                  <a:tcPr marL="90000" marR="90000" marT="46800" marB="46800" anchor="ctr"/>
                </a:tc>
                <a:extLst>
                  <a:ext uri="{0D108BD9-81ED-4DB2-BD59-A6C34878D82A}">
                    <a16:rowId xmlns:a16="http://schemas.microsoft.com/office/drawing/2014/main" val="4113606418"/>
                  </a:ext>
                </a:extLst>
              </a:tr>
            </a:tbl>
          </a:graphicData>
        </a:graphic>
      </p:graphicFrame>
      <p:graphicFrame>
        <p:nvGraphicFramePr>
          <p:cNvPr id="6" name="表 5">
            <a:extLst>
              <a:ext uri="{FF2B5EF4-FFF2-40B4-BE49-F238E27FC236}">
                <a16:creationId xmlns:a16="http://schemas.microsoft.com/office/drawing/2014/main" id="{5A7AFDF6-E377-1764-3320-E79733479593}"/>
              </a:ext>
            </a:extLst>
          </p:cNvPr>
          <p:cNvGraphicFramePr>
            <a:graphicFrameLocks noGrp="1"/>
          </p:cNvGraphicFramePr>
          <p:nvPr>
            <p:extLst>
              <p:ext uri="{D42A27DB-BD31-4B8C-83A1-F6EECF244321}">
                <p14:modId xmlns:p14="http://schemas.microsoft.com/office/powerpoint/2010/main" val="3524988050"/>
              </p:ext>
            </p:extLst>
          </p:nvPr>
        </p:nvGraphicFramePr>
        <p:xfrm>
          <a:off x="453017" y="1934384"/>
          <a:ext cx="5390886" cy="3417898"/>
        </p:xfrm>
        <a:graphic>
          <a:graphicData uri="http://schemas.openxmlformats.org/drawingml/2006/table">
            <a:tbl>
              <a:tblPr firstRow="1" firstCol="1" bandRow="1"/>
              <a:tblGrid>
                <a:gridCol w="1621993">
                  <a:extLst>
                    <a:ext uri="{9D8B030D-6E8A-4147-A177-3AD203B41FA5}">
                      <a16:colId xmlns:a16="http://schemas.microsoft.com/office/drawing/2014/main" val="3938936156"/>
                    </a:ext>
                  </a:extLst>
                </a:gridCol>
                <a:gridCol w="3768893">
                  <a:extLst>
                    <a:ext uri="{9D8B030D-6E8A-4147-A177-3AD203B41FA5}">
                      <a16:colId xmlns:a16="http://schemas.microsoft.com/office/drawing/2014/main" val="547714969"/>
                    </a:ext>
                  </a:extLst>
                </a:gridCol>
              </a:tblGrid>
              <a:tr h="327396">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algn="just"/>
                      <a:r>
                        <a:rPr lang="ja-JP" altLang="en-US" sz="1050" b="0" kern="100">
                          <a:solidFill>
                            <a:schemeClr val="tx1"/>
                          </a:solidFill>
                          <a:effectLst/>
                          <a:latin typeface="+mn-ea"/>
                          <a:ea typeface="+mn-ea"/>
                          <a:cs typeface="Meiryo UI" panose="020B0604030504040204" pitchFamily="50" charset="-128"/>
                        </a:rPr>
                        <a:t>スコープ</a:t>
                      </a:r>
                      <a:endParaRPr lang="ja-JP" altLang="ja-JP" sz="1050" b="0" kern="100">
                        <a:solidFill>
                          <a:schemeClr val="tx1"/>
                        </a:solidFill>
                        <a:effectLst/>
                        <a:latin typeface="+mn-ea"/>
                        <a:ea typeface="+mn-ea"/>
                        <a:cs typeface="Meiryo UI" panose="020B0604030504040204" pitchFamily="50" charset="-128"/>
                      </a:endParaRPr>
                    </a:p>
                  </a:txBody>
                  <a:tcPr marL="90000" marR="90000" marT="46800" marB="4680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75000"/>
                      </a:srgbClr>
                    </a:solid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algn="just"/>
                      <a:r>
                        <a:rPr lang="ja-JP" altLang="en-US" sz="1050" b="0" kern="100">
                          <a:solidFill>
                            <a:schemeClr val="tx1"/>
                          </a:solidFill>
                          <a:effectLst/>
                          <a:latin typeface="+mn-ea"/>
                          <a:ea typeface="+mn-ea"/>
                          <a:cs typeface="Meiryo UI" panose="020B0604030504040204" pitchFamily="50" charset="-128"/>
                        </a:rPr>
                        <a:t>概要</a:t>
                      </a:r>
                      <a:endParaRPr lang="ja-JP" sz="1050" b="0" kern="100">
                        <a:solidFill>
                          <a:schemeClr val="tx1"/>
                        </a:solidFill>
                        <a:effectLst/>
                        <a:latin typeface="+mn-ea"/>
                        <a:ea typeface="+mn-ea"/>
                        <a:cs typeface="Meiryo UI" panose="020B0604030504040204" pitchFamily="50" charset="-128"/>
                      </a:endParaRPr>
                    </a:p>
                  </a:txBody>
                  <a:tcPr marL="90000" marR="90000" marT="46800" marB="4680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1526276123"/>
                  </a:ext>
                </a:extLst>
              </a:tr>
              <a:tr h="425608">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dirty="0">
                          <a:solidFill>
                            <a:srgbClr val="0070C0"/>
                          </a:solidFill>
                        </a:rPr>
                        <a:t>路線バスの再編計画の作成</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R="0" lvl="0" algn="l" defTabSz="914400" rtl="0" eaLnBrk="1" fontAlgn="auto" latinLnBrk="0" hangingPunct="1">
                        <a:lnSpc>
                          <a:spcPct val="100000"/>
                        </a:lnSpc>
                        <a:spcBef>
                          <a:spcPts val="300"/>
                        </a:spcBef>
                        <a:spcAft>
                          <a:spcPts val="0"/>
                        </a:spcAft>
                        <a:buClrTx/>
                        <a:buSzTx/>
                        <a:tabLst/>
                        <a:defRPr/>
                      </a:pPr>
                      <a:r>
                        <a:rPr lang="ja-JP" altLang="en-US" sz="1050" dirty="0">
                          <a:solidFill>
                            <a:srgbClr val="0070C0"/>
                          </a:solidFill>
                          <a:latin typeface="BIZ UDPゴシック"/>
                          <a:ea typeface="BIZ UDPゴシック"/>
                        </a:rPr>
                        <a:t>現状の路線バスユーザーが市内をどのように移動しているか、及び観光客がどのようなスポットを周遊しているかを可視化。時刻表及びバス停、路線・系統の再編に向けた課題を明確化する。</a:t>
                      </a:r>
                      <a:endParaRPr kumimoji="1" lang="en-US" altLang="ja-JP" sz="1050" dirty="0">
                        <a:solidFill>
                          <a:srgbClr val="0070C0"/>
                        </a:solidFill>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596975374"/>
                  </a:ext>
                </a:extLst>
              </a:tr>
              <a:tr h="502180">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R="0" lvl="0" algn="l" defTabSz="914400" rtl="0" eaLnBrk="1" fontAlgn="auto" latinLnBrk="0" hangingPunct="1">
                        <a:lnSpc>
                          <a:spcPct val="100000"/>
                        </a:lnSpc>
                        <a:spcBef>
                          <a:spcPts val="300"/>
                        </a:spcBef>
                        <a:spcAft>
                          <a:spcPts val="0"/>
                        </a:spcAft>
                        <a:buClrTx/>
                        <a:buSzTx/>
                        <a:tabLst/>
                        <a:defRPr/>
                      </a:pPr>
                      <a:r>
                        <a:rPr kumimoji="1" lang="ja-JP" altLang="en-US" sz="1050" b="0" i="0" u="none" strike="noStrike" kern="1200" cap="none" spc="0" normalizeH="0" baseline="0" noProof="0" dirty="0">
                          <a:ln>
                            <a:noFill/>
                          </a:ln>
                          <a:solidFill>
                            <a:srgbClr val="0070C0"/>
                          </a:solidFill>
                          <a:effectLst/>
                          <a:uLnTx/>
                          <a:uFillTx/>
                          <a:latin typeface="BIZ UDPゴシック"/>
                          <a:ea typeface="BIZ UDPゴシック"/>
                          <a:cs typeface="+mn-cs"/>
                        </a:rPr>
                        <a:t>赤字路線の</a:t>
                      </a:r>
                      <a:r>
                        <a:rPr kumimoji="1" lang="en-US" altLang="ja-JP" sz="1050" b="0" i="0" u="none" strike="noStrike" kern="1200" cap="none" spc="0" normalizeH="0" baseline="0" noProof="0" dirty="0">
                          <a:ln>
                            <a:noFill/>
                          </a:ln>
                          <a:solidFill>
                            <a:srgbClr val="0070C0"/>
                          </a:solidFill>
                          <a:effectLst/>
                          <a:uLnTx/>
                          <a:uFillTx/>
                          <a:latin typeface="BIZ UDPゴシック"/>
                          <a:ea typeface="BIZ UDPゴシック"/>
                          <a:cs typeface="+mn-cs"/>
                        </a:rPr>
                        <a:t>AI</a:t>
                      </a:r>
                      <a:r>
                        <a:rPr kumimoji="1" lang="ja-JP" altLang="en-US" sz="1050" b="0" i="0" u="none" strike="noStrike" kern="1200" cap="none" spc="0" normalizeH="0" baseline="0" noProof="0" dirty="0">
                          <a:ln>
                            <a:noFill/>
                          </a:ln>
                          <a:solidFill>
                            <a:srgbClr val="0070C0"/>
                          </a:solidFill>
                          <a:effectLst/>
                          <a:uLnTx/>
                          <a:uFillTx/>
                          <a:latin typeface="BIZ UDPゴシック"/>
                          <a:ea typeface="BIZ UDPゴシック"/>
                          <a:cs typeface="+mn-cs"/>
                        </a:rPr>
                        <a:t>オンデマント交通への転換検討</a:t>
                      </a:r>
                      <a:endParaRPr kumimoji="1" lang="en-US" altLang="ja-JP" sz="1050" b="0" i="0" u="none" strike="noStrike" kern="1200" cap="none" spc="0" normalizeH="0" baseline="0" noProof="0" dirty="0">
                        <a:ln>
                          <a:noFill/>
                        </a:ln>
                        <a:solidFill>
                          <a:srgbClr val="0070C0"/>
                        </a:solidFill>
                        <a:effectLst/>
                        <a:uLnTx/>
                        <a:uFillTx/>
                        <a:latin typeface="BIZ UDPゴシック"/>
                        <a:ea typeface="BIZ UDPゴシック"/>
                        <a:cs typeface="+mn-cs"/>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R="0" lvl="0" algn="l" defTabSz="914400" rtl="0" eaLnBrk="1" fontAlgn="auto" latinLnBrk="0" hangingPunct="1">
                        <a:lnSpc>
                          <a:spcPct val="100000"/>
                        </a:lnSpc>
                        <a:spcBef>
                          <a:spcPts val="300"/>
                        </a:spcBef>
                        <a:spcAft>
                          <a:spcPts val="0"/>
                        </a:spcAft>
                        <a:buClrTx/>
                        <a:buSzTx/>
                        <a:tabLst/>
                        <a:defRPr/>
                      </a:pPr>
                      <a:r>
                        <a:rPr kumimoji="1" lang="ja-JP" altLang="en-US" sz="1050" b="0" i="0" u="none" strike="noStrike" kern="1200" cap="none" spc="0" normalizeH="0" baseline="0" noProof="0" dirty="0">
                          <a:ln>
                            <a:noFill/>
                          </a:ln>
                          <a:solidFill>
                            <a:srgbClr val="0070C0"/>
                          </a:solidFill>
                          <a:effectLst/>
                          <a:uLnTx/>
                          <a:uFillTx/>
                          <a:latin typeface="BIZ UDPゴシック"/>
                          <a:ea typeface="BIZ UDPゴシック"/>
                          <a:cs typeface="+mn-cs"/>
                        </a:rPr>
                        <a:t>市の職員が月に</a:t>
                      </a:r>
                      <a:r>
                        <a:rPr lang="ja-JP" altLang="en-US" sz="1050" dirty="0">
                          <a:solidFill>
                            <a:srgbClr val="0070C0"/>
                          </a:solidFill>
                          <a:latin typeface="BIZ UDPゴシック"/>
                          <a:ea typeface="BIZ UDPゴシック"/>
                        </a:rPr>
                        <a:t>一度、</a:t>
                      </a:r>
                      <a:r>
                        <a:rPr kumimoji="1" lang="ja-JP" altLang="en-US" sz="1050" b="0" i="0" u="none" strike="noStrike" kern="1200" cap="none" spc="0" normalizeH="0" baseline="0" noProof="0" dirty="0">
                          <a:ln>
                            <a:noFill/>
                          </a:ln>
                          <a:solidFill>
                            <a:srgbClr val="0070C0"/>
                          </a:solidFill>
                          <a:effectLst/>
                          <a:uLnTx/>
                          <a:uFillTx/>
                          <a:latin typeface="BIZ UDPゴシック"/>
                          <a:ea typeface="BIZ UDPゴシック"/>
                          <a:cs typeface="+mn-cs"/>
                        </a:rPr>
                        <a:t>地域公共交通会議で</a:t>
                      </a:r>
                      <a:r>
                        <a:rPr lang="ja-JP" altLang="en-US" sz="1050" dirty="0">
                          <a:solidFill>
                            <a:srgbClr val="0070C0"/>
                          </a:solidFill>
                          <a:latin typeface="BIZ UDPゴシック"/>
                          <a:ea typeface="BIZ UDPゴシック"/>
                        </a:rPr>
                        <a:t>使用する資料を作成する際に、システムから出力されたグラフ及び地図を活用し、赤字路線の廃止の検討や代替交通の検討材料として</a:t>
                      </a:r>
                      <a:r>
                        <a:rPr lang="en-US" altLang="ja-JP" sz="1050" dirty="0">
                          <a:solidFill>
                            <a:srgbClr val="0070C0"/>
                          </a:solidFill>
                          <a:latin typeface="BIZ UDPゴシック"/>
                          <a:ea typeface="BIZ UDPゴシック"/>
                        </a:rPr>
                        <a:t>OD</a:t>
                      </a:r>
                      <a:r>
                        <a:rPr lang="ja-JP" altLang="en-US" sz="1050" dirty="0">
                          <a:solidFill>
                            <a:srgbClr val="0070C0"/>
                          </a:solidFill>
                          <a:latin typeface="BIZ UDPゴシック"/>
                          <a:ea typeface="BIZ UDPゴシック"/>
                        </a:rPr>
                        <a:t>データを可視化した資料を作成する。</a:t>
                      </a:r>
                      <a:endParaRPr kumimoji="1" lang="en-US" altLang="ja-JP" sz="1050" b="0" i="0" u="none" strike="noStrike" kern="1200" cap="none" spc="0" normalizeH="0" baseline="0" noProof="0" dirty="0">
                        <a:ln>
                          <a:noFill/>
                        </a:ln>
                        <a:solidFill>
                          <a:srgbClr val="0070C0"/>
                        </a:solidFill>
                        <a:effectLst/>
                        <a:uLnTx/>
                        <a:uFillTx/>
                        <a:latin typeface="BIZ UDPゴシック"/>
                        <a:ea typeface="BIZ UDPゴシック"/>
                        <a:cs typeface="+mn-cs"/>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479908594"/>
                  </a:ext>
                </a:extLst>
              </a:tr>
              <a:tr h="532261">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endParaRPr kumimoji="1" lang="ja-JP" altLang="en-US" sz="1050" dirty="0">
                        <a:solidFill>
                          <a:srgbClr val="0070C0"/>
                        </a:solidFill>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endParaRPr kumimoji="1" lang="en-US" altLang="ja-JP" sz="1050" dirty="0">
                        <a:solidFill>
                          <a:srgbClr val="0070C0"/>
                        </a:solidFill>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13378181"/>
                  </a:ext>
                </a:extLst>
              </a:tr>
              <a:tr h="366981">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050">
                        <a:solidFill>
                          <a:srgbClr val="0070C0"/>
                        </a:solidFill>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endParaRPr kumimoji="1" lang="en-US" altLang="ja-JP" sz="1050">
                        <a:solidFill>
                          <a:srgbClr val="0070C0"/>
                        </a:solidFill>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4529771"/>
                  </a:ext>
                </a:extLst>
              </a:tr>
              <a:tr h="321435">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indent="0" algn="just">
                        <a:buFont typeface="Arial" panose="020B0604020202020204" pitchFamily="34" charset="0"/>
                        <a:buNone/>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171450" lvl="0" indent="-171450" algn="just">
                        <a:buFont typeface="Arial" panose="020B0604020202020204" pitchFamily="34" charset="0"/>
                        <a:buChar char="•"/>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146275505"/>
                  </a:ext>
                </a:extLst>
              </a:tr>
              <a:tr h="402465">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indent="0" algn="just">
                        <a:buFont typeface="Arial" panose="020B0604020202020204" pitchFamily="34" charset="0"/>
                        <a:buNone/>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171450" lvl="0" indent="-171450" algn="just">
                        <a:buFont typeface="Arial" panose="020B0604020202020204" pitchFamily="34" charset="0"/>
                        <a:buChar char="•"/>
                      </a:pPr>
                      <a:endParaRPr lang="ja-JP" sz="1050" b="0" kern="100" dirty="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569301698"/>
                  </a:ext>
                </a:extLst>
              </a:tr>
            </a:tbl>
          </a:graphicData>
        </a:graphic>
      </p:graphicFrame>
      <p:sp>
        <p:nvSpPr>
          <p:cNvPr id="7" name="テキスト ボックス 6">
            <a:extLst>
              <a:ext uri="{FF2B5EF4-FFF2-40B4-BE49-F238E27FC236}">
                <a16:creationId xmlns:a16="http://schemas.microsoft.com/office/drawing/2014/main" id="{B7D895DB-DA98-CF8A-877C-396398F920BF}"/>
              </a:ext>
            </a:extLst>
          </p:cNvPr>
          <p:cNvSpPr txBox="1"/>
          <p:nvPr/>
        </p:nvSpPr>
        <p:spPr>
          <a:xfrm>
            <a:off x="537268" y="4734968"/>
            <a:ext cx="5275836" cy="171897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事業内容についてスコープ毎に分けて記載をお願いいたします。</a:t>
            </a:r>
            <a:endParaRPr kumimoji="0" lang="en-US" altLang="ja-JP"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なお、企画乗車券の販売や</a:t>
            </a:r>
            <a:r>
              <a:rPr kumimoji="0" lang="en-US" altLang="ja-JP" sz="1400" b="0" i="0" u="none" strike="noStrike" kern="0" cap="none" spc="0" normalizeH="0" baseline="0" noProof="0" dirty="0">
                <a:ln>
                  <a:noFill/>
                </a:ln>
                <a:solidFill>
                  <a:srgbClr val="FFFFFF"/>
                </a:solidFill>
                <a:effectLst/>
                <a:uLnTx/>
                <a:uFillTx/>
              </a:rPr>
              <a:t>QR</a:t>
            </a:r>
            <a:r>
              <a:rPr kumimoji="0" lang="ja-JP" altLang="en-US" sz="1400" b="0" i="0" u="none" strike="noStrike" kern="0" cap="none" spc="0" normalizeH="0" baseline="0" noProof="0" dirty="0">
                <a:ln>
                  <a:noFill/>
                </a:ln>
                <a:solidFill>
                  <a:srgbClr val="FFFFFF"/>
                </a:solidFill>
                <a:effectLst/>
                <a:uLnTx/>
                <a:uFillTx/>
              </a:rPr>
              <a:t>端末の設置等、本プロジェクトで導入する数量が明記できるものに関しては、具体的な目標数量の記載をお願いいたします。</a:t>
            </a:r>
            <a:endParaRPr kumimoji="0" lang="en-US" altLang="ja-JP"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ページは適宜追加してください。</a:t>
            </a:r>
            <a:endParaRPr kumimoji="0" lang="en-US" altLang="ja-JP"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参考資料は適宜追加してください。</a:t>
            </a:r>
            <a:endParaRPr kumimoji="0" lang="en-US" altLang="ja-JP" sz="1400" b="0" i="0" u="none" strike="noStrike" kern="0" cap="none" spc="0" normalizeH="0" baseline="0" noProof="0" dirty="0">
              <a:ln>
                <a:noFill/>
              </a:ln>
              <a:solidFill>
                <a:srgbClr val="FFFFFF"/>
              </a:solidFill>
              <a:effectLst/>
              <a:uLnTx/>
              <a:uFillTx/>
            </a:endParaRPr>
          </a:p>
        </p:txBody>
      </p:sp>
      <p:sp>
        <p:nvSpPr>
          <p:cNvPr id="8" name="テキスト ボックス 7">
            <a:extLst>
              <a:ext uri="{FF2B5EF4-FFF2-40B4-BE49-F238E27FC236}">
                <a16:creationId xmlns:a16="http://schemas.microsoft.com/office/drawing/2014/main" id="{A762EA6F-8909-D98A-525B-0FD81372790C}"/>
              </a:ext>
            </a:extLst>
          </p:cNvPr>
          <p:cNvSpPr txBox="1"/>
          <p:nvPr/>
        </p:nvSpPr>
        <p:spPr>
          <a:xfrm>
            <a:off x="6342702" y="4734969"/>
            <a:ext cx="5275836" cy="171897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左記スコープに対し、本プロジェクトで開発する機能を記載ください。なお、既存システムやサービスを利用する場合も記載し、既存機能であることを明記してください。</a:t>
            </a:r>
            <a:endParaRPr kumimoji="0" lang="en-US" altLang="ja-JP"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システム開発又はシステム利用を伴わないスコープの場合、記載は不要です。</a:t>
            </a:r>
            <a:endParaRPr kumimoji="0" lang="en-US" altLang="ja-JP"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ページは適宜追加してください。</a:t>
            </a:r>
            <a:endParaRPr kumimoji="0" lang="en-US" altLang="ja-JP"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参考資料は適宜追加してください。</a:t>
            </a:r>
            <a:endParaRPr kumimoji="0" lang="en-US" altLang="ja-JP" sz="1400" b="0" i="0" u="none" strike="noStrike" kern="0" cap="none" spc="0" normalizeH="0" baseline="0" noProof="0" dirty="0">
              <a:ln>
                <a:noFill/>
              </a:ln>
              <a:solidFill>
                <a:srgbClr val="FFFFFF"/>
              </a:solidFill>
              <a:effectLst/>
              <a:uLnTx/>
              <a:uFillTx/>
            </a:endParaRPr>
          </a:p>
        </p:txBody>
      </p:sp>
      <p:sp>
        <p:nvSpPr>
          <p:cNvPr id="10" name="テキスト ボックス 9">
            <a:extLst>
              <a:ext uri="{FF2B5EF4-FFF2-40B4-BE49-F238E27FC236}">
                <a16:creationId xmlns:a16="http://schemas.microsoft.com/office/drawing/2014/main" id="{267E8FB9-7E2E-A7CA-2635-871FD893E8A6}"/>
              </a:ext>
            </a:extLst>
          </p:cNvPr>
          <p:cNvSpPr txBox="1"/>
          <p:nvPr/>
        </p:nvSpPr>
        <p:spPr>
          <a:xfrm>
            <a:off x="453017" y="1490744"/>
            <a:ext cx="11313782" cy="710832"/>
          </a:xfrm>
          <a:prstGeom prst="rect">
            <a:avLst/>
          </a:prstGeom>
          <a:noFill/>
        </p:spPr>
        <p:txBody>
          <a:bodyPr wrap="square" anchor="t">
            <a:noAutofit/>
          </a:bodyPr>
          <a:lstStyle/>
          <a:p>
            <a:pPr marR="0" lvl="0" algn="l" defTabSz="914400" rtl="0" eaLnBrk="1" fontAlgn="auto" latinLnBrk="0" hangingPunct="1">
              <a:lnSpc>
                <a:spcPct val="100000"/>
              </a:lnSpc>
              <a:spcBef>
                <a:spcPts val="300"/>
              </a:spcBef>
              <a:spcAft>
                <a:spcPts val="0"/>
              </a:spcAft>
              <a:buClrTx/>
              <a:buSzTx/>
              <a:tabLst/>
              <a:defRPr/>
            </a:pPr>
            <a:r>
              <a:rPr lang="en-US" altLang="ja-JP" sz="1400" dirty="0" err="1">
                <a:solidFill>
                  <a:srgbClr val="0070C0"/>
                </a:solidFill>
                <a:latin typeface="BIZ UDPゴシック"/>
                <a:ea typeface="BIZ UDPゴシック"/>
              </a:rPr>
              <a:t>MaaS</a:t>
            </a:r>
            <a:r>
              <a:rPr lang="ja-JP" altLang="en-US" sz="1400" dirty="0">
                <a:solidFill>
                  <a:srgbClr val="0070C0"/>
                </a:solidFill>
                <a:latin typeface="BIZ UDPゴシック"/>
                <a:ea typeface="BIZ UDPゴシック"/>
              </a:rPr>
              <a:t>アプリ利用者の</a:t>
            </a:r>
            <a:r>
              <a:rPr lang="en-US" altLang="ja-JP" sz="1400" dirty="0">
                <a:solidFill>
                  <a:srgbClr val="0070C0"/>
                </a:solidFill>
                <a:latin typeface="BIZ UDPゴシック"/>
                <a:ea typeface="BIZ UDPゴシック"/>
              </a:rPr>
              <a:t>OD</a:t>
            </a:r>
            <a:r>
              <a:rPr lang="ja-JP" altLang="en-US" sz="1400" dirty="0">
                <a:solidFill>
                  <a:srgbClr val="0070C0"/>
                </a:solidFill>
                <a:latin typeface="BIZ UDPゴシック"/>
                <a:ea typeface="BIZ UDPゴシック"/>
              </a:rPr>
              <a:t>データを取得し、路線バスの再編計画や赤字路線を</a:t>
            </a:r>
            <a:r>
              <a:rPr lang="en-US" altLang="ja-JP" sz="1400" dirty="0">
                <a:solidFill>
                  <a:srgbClr val="0070C0"/>
                </a:solidFill>
                <a:latin typeface="BIZ UDPゴシック"/>
                <a:ea typeface="BIZ UDPゴシック"/>
              </a:rPr>
              <a:t>AI</a:t>
            </a:r>
            <a:r>
              <a:rPr lang="ja-JP" altLang="en-US" sz="1400" dirty="0">
                <a:solidFill>
                  <a:srgbClr val="0070C0"/>
                </a:solidFill>
                <a:latin typeface="BIZ UDPゴシック"/>
                <a:ea typeface="BIZ UDPゴシック"/>
              </a:rPr>
              <a:t>オンデマンド交通へ転換するなどの政策を検討。</a:t>
            </a:r>
            <a:endParaRPr lang="en-US" altLang="ja-JP" sz="1400" dirty="0">
              <a:solidFill>
                <a:srgbClr val="0070C0"/>
              </a:solidFill>
              <a:latin typeface="BIZ UDPゴシック"/>
              <a:ea typeface="BIZ UDPゴシック"/>
            </a:endParaRPr>
          </a:p>
        </p:txBody>
      </p:sp>
    </p:spTree>
    <p:extLst>
      <p:ext uri="{BB962C8B-B14F-4D97-AF65-F5344CB8AC3E}">
        <p14:creationId xmlns:p14="http://schemas.microsoft.com/office/powerpoint/2010/main" val="377240578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10" name="テキスト プレースホルダー 9">
            <a:extLst>
              <a:ext uri="{FF2B5EF4-FFF2-40B4-BE49-F238E27FC236}">
                <a16:creationId xmlns:a16="http://schemas.microsoft.com/office/drawing/2014/main" id="{09B8CBA2-03F1-FCA3-5EF4-E163C51AD89A}"/>
              </a:ext>
            </a:extLst>
          </p:cNvPr>
          <p:cNvSpPr>
            <a:spLocks noGrp="1"/>
          </p:cNvSpPr>
          <p:nvPr>
            <p:ph type="body" sz="quarter" idx="4294967295"/>
          </p:nvPr>
        </p:nvSpPr>
        <p:spPr>
          <a:xfrm>
            <a:off x="300779" y="1134673"/>
            <a:ext cx="11376000" cy="323165"/>
          </a:xfrm>
        </p:spPr>
        <p:txBody>
          <a:bodyPr>
            <a:normAutofit fontScale="92500" lnSpcReduction="2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マリーを記載</a:t>
            </a: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テキスト プレースホルダー 1">
            <a:extLst>
              <a:ext uri="{FF2B5EF4-FFF2-40B4-BE49-F238E27FC236}">
                <a16:creationId xmlns:a16="http://schemas.microsoft.com/office/drawing/2014/main" id="{A45FDDD5-9A42-423D-9ED3-F19DD3567786}"/>
              </a:ext>
            </a:extLst>
          </p:cNvPr>
          <p:cNvSpPr>
            <a:spLocks noGrp="1"/>
          </p:cNvSpPr>
          <p:nvPr>
            <p:ph type="body" sz="quarter" idx="36"/>
          </p:nvPr>
        </p:nvSpPr>
        <p:spPr/>
        <p:txBody>
          <a:bodyPr/>
          <a:lstStyle/>
          <a:p>
            <a:r>
              <a:rPr lang="en-US" altLang="ja-JP"/>
              <a:t>Ⅲ.</a:t>
            </a:r>
            <a:r>
              <a:rPr lang="ja-JP" altLang="en-US"/>
              <a:t>モビリティデータの取得と活用</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４</a:t>
            </a:r>
            <a:r>
              <a:rPr lang="en-US" altLang="ja-JP"/>
              <a:t>.</a:t>
            </a:r>
            <a:r>
              <a:rPr lang="ja-JP" altLang="en-US"/>
              <a:t>データ活用実施エリア</a:t>
            </a:r>
          </a:p>
        </p:txBody>
      </p:sp>
      <p:pic>
        <p:nvPicPr>
          <p:cNvPr id="4" name="図 3" descr="グラフ&#10;&#10;自動的に生成された説明">
            <a:extLst>
              <a:ext uri="{FF2B5EF4-FFF2-40B4-BE49-F238E27FC236}">
                <a16:creationId xmlns:a16="http://schemas.microsoft.com/office/drawing/2014/main" id="{45F9E099-4110-7BC2-05FA-9F23A7A3343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62159" y="1505154"/>
            <a:ext cx="7505723" cy="4946065"/>
          </a:xfrm>
          <a:prstGeom prst="rect">
            <a:avLst/>
          </a:prstGeom>
        </p:spPr>
      </p:pic>
      <p:graphicFrame>
        <p:nvGraphicFramePr>
          <p:cNvPr id="15" name="表 14">
            <a:extLst>
              <a:ext uri="{FF2B5EF4-FFF2-40B4-BE49-F238E27FC236}">
                <a16:creationId xmlns:a16="http://schemas.microsoft.com/office/drawing/2014/main" id="{6BA7322B-8E83-4959-AED5-CDCB2DC09E66}"/>
              </a:ext>
            </a:extLst>
          </p:cNvPr>
          <p:cNvGraphicFramePr>
            <a:graphicFrameLocks noGrp="1"/>
          </p:cNvGraphicFramePr>
          <p:nvPr>
            <p:extLst>
              <p:ext uri="{D42A27DB-BD31-4B8C-83A1-F6EECF244321}">
                <p14:modId xmlns:p14="http://schemas.microsoft.com/office/powerpoint/2010/main" val="1616961979"/>
              </p:ext>
            </p:extLst>
          </p:nvPr>
        </p:nvGraphicFramePr>
        <p:xfrm>
          <a:off x="309264" y="1905752"/>
          <a:ext cx="3763597" cy="2192802"/>
        </p:xfrm>
        <a:graphic>
          <a:graphicData uri="http://schemas.openxmlformats.org/drawingml/2006/table">
            <a:tbl>
              <a:tblPr firstRow="1" bandRow="1">
                <a:tableStyleId>{5940675A-B579-460E-94D1-54222C63F5DA}</a:tableStyleId>
              </a:tblPr>
              <a:tblGrid>
                <a:gridCol w="3763597">
                  <a:extLst>
                    <a:ext uri="{9D8B030D-6E8A-4147-A177-3AD203B41FA5}">
                      <a16:colId xmlns:a16="http://schemas.microsoft.com/office/drawing/2014/main" val="518456691"/>
                    </a:ext>
                  </a:extLst>
                </a:gridCol>
              </a:tblGrid>
              <a:tr h="1061101">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50" kern="1200" dirty="0">
                          <a:solidFill>
                            <a:srgbClr val="0070C0"/>
                          </a:solidFill>
                          <a:latin typeface="+mj-ea"/>
                          <a:ea typeface="+mn-ea"/>
                          <a:cs typeface="+mn-cs"/>
                        </a:rPr>
                        <a:t>［鉄道］　</a:t>
                      </a:r>
                      <a:endParaRPr kumimoji="1" lang="en-US" altLang="ja-JP" sz="1050" kern="1200" dirty="0">
                        <a:solidFill>
                          <a:srgbClr val="0070C0"/>
                        </a:solidFill>
                        <a:latin typeface="+mj-ea"/>
                        <a:ea typeface="+mn-ea"/>
                        <a:cs typeface="+mn-cs"/>
                      </a:endParaRPr>
                    </a:p>
                    <a:p>
                      <a:pPr marL="0" marR="0" lvl="0" indent="0" algn="l" defTabSz="742950" rtl="0" eaLnBrk="1" fontAlgn="auto" latinLnBrk="0" hangingPunct="1">
                        <a:lnSpc>
                          <a:spcPct val="100000"/>
                        </a:lnSpc>
                        <a:spcBef>
                          <a:spcPts val="0"/>
                        </a:spcBef>
                        <a:spcAft>
                          <a:spcPts val="0"/>
                        </a:spcAft>
                        <a:buClrTx/>
                        <a:buSzTx/>
                        <a:buFontTx/>
                        <a:buNone/>
                        <a:tabLst/>
                        <a:defRPr/>
                      </a:pPr>
                      <a:r>
                        <a:rPr kumimoji="1" lang="en-US" altLang="ja-JP" sz="1050" kern="1200" dirty="0">
                          <a:solidFill>
                            <a:srgbClr val="0070C0"/>
                          </a:solidFill>
                          <a:latin typeface="+mj-ea"/>
                          <a:ea typeface="+mn-ea"/>
                          <a:cs typeface="+mn-cs"/>
                        </a:rPr>
                        <a:t>IC</a:t>
                      </a:r>
                      <a:r>
                        <a:rPr kumimoji="1" lang="ja-JP" altLang="en-US" sz="1050" kern="1200" dirty="0">
                          <a:solidFill>
                            <a:srgbClr val="0070C0"/>
                          </a:solidFill>
                          <a:latin typeface="+mj-ea"/>
                          <a:ea typeface="+mn-ea"/>
                          <a:cs typeface="+mn-cs"/>
                        </a:rPr>
                        <a:t>カード利用実績データ</a:t>
                      </a:r>
                      <a:endParaRPr kumimoji="1" lang="en-US" altLang="ja-JP" sz="1050" kern="1200" dirty="0">
                        <a:solidFill>
                          <a:srgbClr val="0070C0"/>
                        </a:solidFill>
                        <a:latin typeface="+mj-ea"/>
                        <a:ea typeface="+mn-ea"/>
                        <a:cs typeface="+mn-cs"/>
                      </a:endParaRPr>
                    </a:p>
                    <a:p>
                      <a:pPr marL="171450" indent="-171450">
                        <a:buFont typeface="Wingdings" panose="05000000000000000000" pitchFamily="2" charset="2"/>
                        <a:buChar char="l"/>
                      </a:pPr>
                      <a:r>
                        <a:rPr kumimoji="1" lang="ja-JP" altLang="en-US" sz="1050" kern="1200" dirty="0">
                          <a:solidFill>
                            <a:srgbClr val="0070C0"/>
                          </a:solidFill>
                          <a:latin typeface="+mj-ea"/>
                          <a:ea typeface="+mn-ea"/>
                          <a:cs typeface="+mn-cs"/>
                        </a:rPr>
                        <a:t>富山軌道線（富山地鉄）</a:t>
                      </a:r>
                      <a:endParaRPr kumimoji="1" lang="en-US" altLang="ja-JP" sz="1050" kern="1200" dirty="0">
                        <a:solidFill>
                          <a:srgbClr val="0070C0"/>
                        </a:solidFill>
                        <a:latin typeface="+mj-ea"/>
                        <a:ea typeface="+mn-ea"/>
                        <a:cs typeface="+mn-cs"/>
                      </a:endParaRPr>
                    </a:p>
                    <a:p>
                      <a:pPr marL="171450" indent="-171450">
                        <a:buFont typeface="Wingdings" panose="05000000000000000000" pitchFamily="2" charset="2"/>
                        <a:buChar char="l"/>
                      </a:pPr>
                      <a:r>
                        <a:rPr kumimoji="1" lang="ja-JP" altLang="en-US" sz="1050" kern="1200" dirty="0">
                          <a:solidFill>
                            <a:srgbClr val="0070C0"/>
                          </a:solidFill>
                          <a:latin typeface="+mj-ea"/>
                          <a:ea typeface="+mn-ea"/>
                          <a:cs typeface="+mn-cs"/>
                        </a:rPr>
                        <a:t>あいの風とやま鉄道（富山駅～東富山駅区間）</a:t>
                      </a:r>
                      <a:endParaRPr kumimoji="1" lang="en-US" altLang="ja-JP" sz="1050" kern="1200" dirty="0">
                        <a:solidFill>
                          <a:srgbClr val="0070C0"/>
                        </a:solidFill>
                        <a:latin typeface="+mj-ea"/>
                        <a:ea typeface="+mn-ea"/>
                        <a:cs typeface="+mn-cs"/>
                      </a:endParaRPr>
                    </a:p>
                    <a:p>
                      <a:pPr marL="171450" indent="-171450">
                        <a:buFont typeface="Wingdings" panose="05000000000000000000" pitchFamily="2" charset="2"/>
                        <a:buChar char="l"/>
                      </a:pPr>
                      <a:r>
                        <a:rPr kumimoji="1" lang="en-US" altLang="ja-JP" sz="1050" kern="1200" dirty="0">
                          <a:solidFill>
                            <a:srgbClr val="0070C0"/>
                          </a:solidFill>
                          <a:latin typeface="+mj-ea"/>
                          <a:ea typeface="+mn-ea"/>
                          <a:cs typeface="+mn-cs"/>
                        </a:rPr>
                        <a:t>JR</a:t>
                      </a:r>
                      <a:r>
                        <a:rPr kumimoji="1" lang="ja-JP" altLang="en-US" sz="1050" kern="1200" dirty="0">
                          <a:solidFill>
                            <a:srgbClr val="0070C0"/>
                          </a:solidFill>
                          <a:latin typeface="+mj-ea"/>
                          <a:ea typeface="+mn-ea"/>
                          <a:cs typeface="+mn-cs"/>
                        </a:rPr>
                        <a:t>東日本高山本線</a:t>
                      </a:r>
                      <a:endParaRPr kumimoji="1" lang="en-US" altLang="ja-JP" sz="1050" kern="1200" dirty="0">
                        <a:solidFill>
                          <a:srgbClr val="0070C0"/>
                        </a:solidFill>
                        <a:latin typeface="+mj-ea"/>
                        <a:ea typeface="+mn-ea"/>
                        <a:cs typeface="+mn-cs"/>
                      </a:endParaRPr>
                    </a:p>
                    <a:p>
                      <a:pPr marL="171450" indent="-171450">
                        <a:buFont typeface="Wingdings" panose="05000000000000000000" pitchFamily="2" charset="2"/>
                        <a:buChar char="l"/>
                      </a:pPr>
                      <a:endParaRPr kumimoji="1" lang="en-US" altLang="ja-JP" sz="1050" kern="1200" dirty="0">
                        <a:solidFill>
                          <a:srgbClr val="0070C0"/>
                        </a:solidFill>
                        <a:latin typeface="+mj-ea"/>
                        <a:ea typeface="+mn-ea"/>
                        <a:cs typeface="+mn-cs"/>
                      </a:endParaRPr>
                    </a:p>
                    <a:p>
                      <a:pPr marL="0" indent="0">
                        <a:buFont typeface="Wingdings" panose="05000000000000000000" pitchFamily="2" charset="2"/>
                        <a:buNone/>
                      </a:pPr>
                      <a:r>
                        <a:rPr kumimoji="1" lang="ja-JP" altLang="en-US" sz="1050" kern="1200" dirty="0">
                          <a:solidFill>
                            <a:srgbClr val="0070C0"/>
                          </a:solidFill>
                          <a:latin typeface="+mj-ea"/>
                          <a:ea typeface="+mn-ea"/>
                          <a:cs typeface="+mn-cs"/>
                        </a:rPr>
                        <a:t>［</a:t>
                      </a:r>
                      <a:r>
                        <a:rPr kumimoji="1" lang="ja-JP" altLang="en-US" sz="1050" dirty="0">
                          <a:solidFill>
                            <a:srgbClr val="0070C0"/>
                          </a:solidFill>
                          <a:latin typeface="+mj-ea"/>
                          <a:ea typeface="+mj-ea"/>
                        </a:rPr>
                        <a:t>バス］</a:t>
                      </a:r>
                      <a:endParaRPr kumimoji="1" lang="en-US" altLang="ja-JP" sz="1050" dirty="0">
                        <a:solidFill>
                          <a:srgbClr val="0070C0"/>
                        </a:solidFill>
                        <a:latin typeface="+mj-ea"/>
                        <a:ea typeface="+mj-ea"/>
                      </a:endParaRPr>
                    </a:p>
                    <a:p>
                      <a:pPr marL="0" indent="0">
                        <a:buFont typeface="Wingdings" panose="05000000000000000000" pitchFamily="2" charset="2"/>
                        <a:buNone/>
                      </a:pPr>
                      <a:r>
                        <a:rPr kumimoji="1" lang="ja-JP" altLang="en-US" sz="1050" dirty="0">
                          <a:solidFill>
                            <a:srgbClr val="0070C0"/>
                          </a:solidFill>
                          <a:latin typeface="+mj-ea"/>
                          <a:ea typeface="+mj-ea"/>
                        </a:rPr>
                        <a:t>一件明細データ</a:t>
                      </a:r>
                      <a:endParaRPr kumimoji="1" lang="en-US" altLang="ja-JP" sz="1050" dirty="0">
                        <a:solidFill>
                          <a:srgbClr val="0070C0"/>
                        </a:solidFill>
                        <a:latin typeface="+mj-ea"/>
                        <a:ea typeface="+mj-ea"/>
                      </a:endParaRPr>
                    </a:p>
                    <a:p>
                      <a:pPr marL="171450" indent="-171450">
                        <a:buFont typeface="Wingdings" panose="05000000000000000000" pitchFamily="2" charset="2"/>
                        <a:buChar char="l"/>
                      </a:pPr>
                      <a:r>
                        <a:rPr kumimoji="1" lang="ja-JP" altLang="en-US" sz="1050" dirty="0">
                          <a:solidFill>
                            <a:srgbClr val="0070C0"/>
                          </a:solidFill>
                          <a:latin typeface="+mj-ea"/>
                          <a:ea typeface="+mj-ea"/>
                        </a:rPr>
                        <a:t>富山地鉄バス（市内全路線）</a:t>
                      </a:r>
                      <a:endParaRPr kumimoji="1" lang="en-US" altLang="ja-JP" sz="1050" dirty="0">
                        <a:solidFill>
                          <a:srgbClr val="0070C0"/>
                        </a:solidFill>
                        <a:latin typeface="+mj-ea"/>
                        <a:ea typeface="+mj-ea"/>
                      </a:endParaRPr>
                    </a:p>
                    <a:p>
                      <a:pPr marL="0" indent="0">
                        <a:buFont typeface="Wingdings" panose="05000000000000000000" pitchFamily="2" charset="2"/>
                        <a:buNone/>
                      </a:pPr>
                      <a:endParaRPr kumimoji="1" lang="en-US" altLang="ja-JP" sz="1050" dirty="0">
                        <a:solidFill>
                          <a:srgbClr val="0070C0"/>
                        </a:solidFill>
                        <a:latin typeface="+mj-ea"/>
                        <a:ea typeface="+mj-ea"/>
                      </a:endParaRPr>
                    </a:p>
                    <a:p>
                      <a:pPr marL="0" indent="0">
                        <a:buFont typeface="Wingdings" panose="05000000000000000000" pitchFamily="2" charset="2"/>
                        <a:buNone/>
                      </a:pPr>
                      <a:r>
                        <a:rPr kumimoji="1" lang="ja-JP" altLang="en-US" sz="1050" dirty="0">
                          <a:solidFill>
                            <a:srgbClr val="0070C0"/>
                          </a:solidFill>
                          <a:latin typeface="+mj-ea"/>
                          <a:ea typeface="+mj-ea"/>
                        </a:rPr>
                        <a:t>［デマンド交通］</a:t>
                      </a:r>
                      <a:endParaRPr kumimoji="1" lang="en-US" altLang="ja-JP" sz="1050" dirty="0">
                        <a:solidFill>
                          <a:srgbClr val="0070C0"/>
                        </a:solidFill>
                        <a:latin typeface="+mj-ea"/>
                        <a:ea typeface="+mj-ea"/>
                      </a:endParaRPr>
                    </a:p>
                    <a:p>
                      <a:pPr marL="0" indent="0">
                        <a:buFont typeface="Wingdings" panose="05000000000000000000" pitchFamily="2" charset="2"/>
                        <a:buNone/>
                      </a:pPr>
                      <a:r>
                        <a:rPr kumimoji="1" lang="ja-JP" altLang="en-US" sz="1050" dirty="0">
                          <a:solidFill>
                            <a:srgbClr val="0070C0"/>
                          </a:solidFill>
                          <a:latin typeface="+mj-ea"/>
                          <a:ea typeface="+mj-ea"/>
                        </a:rPr>
                        <a:t>運行日報</a:t>
                      </a:r>
                      <a:endParaRPr kumimoji="1" lang="en-US" altLang="ja-JP" sz="1050" dirty="0">
                        <a:solidFill>
                          <a:srgbClr val="0070C0"/>
                        </a:solidFill>
                        <a:latin typeface="+mj-ea"/>
                        <a:ea typeface="+mj-ea"/>
                      </a:endParaRPr>
                    </a:p>
                    <a:p>
                      <a:pPr marL="171450" indent="-171450">
                        <a:buFont typeface="Wingdings" panose="05000000000000000000" pitchFamily="2" charset="2"/>
                        <a:buChar char="l"/>
                      </a:pPr>
                      <a:r>
                        <a:rPr kumimoji="1" lang="ja-JP" altLang="en-US" sz="1050" dirty="0">
                          <a:solidFill>
                            <a:srgbClr val="0070C0"/>
                          </a:solidFill>
                          <a:latin typeface="+mj-ea"/>
                          <a:ea typeface="+mj-ea"/>
                        </a:rPr>
                        <a:t>あいのり大山（市営デマンドバス）</a:t>
                      </a:r>
                      <a:endParaRPr kumimoji="1" lang="en-US" altLang="ja-JP" sz="1050" dirty="0">
                        <a:solidFill>
                          <a:srgbClr val="0070C0"/>
                        </a:solidFill>
                        <a:latin typeface="+mj-ea"/>
                        <a:ea typeface="+mj-ea"/>
                      </a:endParaRPr>
                    </a:p>
                  </a:txBody>
                  <a:tcPr marL="112542" marR="112542" marT="56271" marB="5627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64430111"/>
                  </a:ext>
                </a:extLst>
              </a:tr>
            </a:tbl>
          </a:graphicData>
        </a:graphic>
      </p:graphicFrame>
      <p:sp>
        <p:nvSpPr>
          <p:cNvPr id="19" name="テキスト ボックス 18">
            <a:extLst>
              <a:ext uri="{FF2B5EF4-FFF2-40B4-BE49-F238E27FC236}">
                <a16:creationId xmlns:a16="http://schemas.microsoft.com/office/drawing/2014/main" id="{F4F6AADC-220D-BFC7-4F32-89892ED6B785}"/>
              </a:ext>
            </a:extLst>
          </p:cNvPr>
          <p:cNvSpPr txBox="1"/>
          <p:nvPr/>
        </p:nvSpPr>
        <p:spPr>
          <a:xfrm>
            <a:off x="377162" y="1505154"/>
            <a:ext cx="3695699" cy="261962"/>
          </a:xfrm>
          <a:prstGeom prst="rect">
            <a:avLst/>
          </a:prstGeom>
          <a:solidFill>
            <a:srgbClr val="636163">
              <a:lumMod val="20000"/>
              <a:lumOff val="8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000" b="0" i="0" u="none" strike="noStrike" kern="0" cap="none" spc="0" normalizeH="0" baseline="0" noProof="0">
                <a:ln>
                  <a:noFill/>
                </a:ln>
                <a:solidFill>
                  <a:srgbClr val="000000"/>
                </a:solidFill>
                <a:effectLst/>
                <a:uLnTx/>
                <a:uFillTx/>
              </a:rPr>
              <a:t>OD</a:t>
            </a:r>
            <a:r>
              <a:rPr kumimoji="0" lang="ja-JP" altLang="en-US" sz="1000" b="0" i="0" u="none" strike="noStrike" kern="0" cap="none" spc="0" normalizeH="0" baseline="0" noProof="0">
                <a:ln>
                  <a:noFill/>
                </a:ln>
                <a:solidFill>
                  <a:srgbClr val="000000"/>
                </a:solidFill>
                <a:effectLst/>
                <a:uLnTx/>
                <a:uFillTx/>
              </a:rPr>
              <a:t>データを取得する範囲</a:t>
            </a:r>
          </a:p>
        </p:txBody>
      </p:sp>
      <p:grpSp>
        <p:nvGrpSpPr>
          <p:cNvPr id="23" name="グループ化 22">
            <a:extLst>
              <a:ext uri="{FF2B5EF4-FFF2-40B4-BE49-F238E27FC236}">
                <a16:creationId xmlns:a16="http://schemas.microsoft.com/office/drawing/2014/main" id="{A07996F8-B910-E0AB-D4FD-7620B6D4FD6E}"/>
              </a:ext>
            </a:extLst>
          </p:cNvPr>
          <p:cNvGrpSpPr/>
          <p:nvPr/>
        </p:nvGrpSpPr>
        <p:grpSpPr>
          <a:xfrm>
            <a:off x="377162" y="1144962"/>
            <a:ext cx="11327639" cy="310897"/>
            <a:chOff x="609601" y="1337306"/>
            <a:chExt cx="5206999" cy="310897"/>
          </a:xfrm>
        </p:grpSpPr>
        <p:sp>
          <p:nvSpPr>
            <p:cNvPr id="24" name="正方形/長方形 23">
              <a:extLst>
                <a:ext uri="{FF2B5EF4-FFF2-40B4-BE49-F238E27FC236}">
                  <a16:creationId xmlns:a16="http://schemas.microsoft.com/office/drawing/2014/main" id="{C05D70C8-A0E4-1745-E63B-587FB5CC9386}"/>
                </a:ext>
              </a:extLst>
            </p:cNvPr>
            <p:cNvSpPr/>
            <p:nvPr/>
          </p:nvSpPr>
          <p:spPr>
            <a:xfrm>
              <a:off x="609601" y="1337306"/>
              <a:ext cx="5198587" cy="299140"/>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rgbClr val="636163"/>
                </a:solidFill>
                <a:effectLst/>
                <a:uLnTx/>
                <a:uFillTx/>
                <a:latin typeface="Noto Sans CJK JP"/>
                <a:ea typeface="BIZ UDPゴシック"/>
                <a:cs typeface="+mn-cs"/>
              </a:endParaRPr>
            </a:p>
          </p:txBody>
        </p:sp>
        <p:cxnSp>
          <p:nvCxnSpPr>
            <p:cNvPr id="25" name="直線コネクタ 24">
              <a:extLst>
                <a:ext uri="{FF2B5EF4-FFF2-40B4-BE49-F238E27FC236}">
                  <a16:creationId xmlns:a16="http://schemas.microsoft.com/office/drawing/2014/main" id="{9B8C3470-E35E-E2A6-58B9-6E0188FCF49E}"/>
                </a:ext>
              </a:extLst>
            </p:cNvPr>
            <p:cNvCxnSpPr/>
            <p:nvPr/>
          </p:nvCxnSpPr>
          <p:spPr>
            <a:xfrm>
              <a:off x="609601" y="1648203"/>
              <a:ext cx="5206999" cy="0"/>
            </a:xfrm>
            <a:prstGeom prst="line">
              <a:avLst/>
            </a:prstGeom>
            <a:noFill/>
            <a:ln w="9525" cap="flat" cmpd="sng" algn="ctr">
              <a:solidFill>
                <a:srgbClr val="636163"/>
              </a:solidFill>
              <a:prstDash val="solid"/>
            </a:ln>
            <a:effectLst/>
          </p:spPr>
        </p:cxnSp>
      </p:grpSp>
      <p:sp>
        <p:nvSpPr>
          <p:cNvPr id="11" name="正方形/長方形 10">
            <a:extLst>
              <a:ext uri="{FF2B5EF4-FFF2-40B4-BE49-F238E27FC236}">
                <a16:creationId xmlns:a16="http://schemas.microsoft.com/office/drawing/2014/main" id="{9EC54F8B-8A9F-D951-DF42-C29AA646BAF3}"/>
              </a:ext>
            </a:extLst>
          </p:cNvPr>
          <p:cNvSpPr/>
          <p:nvPr/>
        </p:nvSpPr>
        <p:spPr>
          <a:xfrm rot="18900000">
            <a:off x="6171053" y="3245500"/>
            <a:ext cx="3778202" cy="2190750"/>
          </a:xfrm>
          <a:prstGeom prst="rect">
            <a:avLst/>
          </a:prstGeom>
          <a:solidFill>
            <a:srgbClr val="0070C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ボックス 15">
            <a:extLst>
              <a:ext uri="{FF2B5EF4-FFF2-40B4-BE49-F238E27FC236}">
                <a16:creationId xmlns:a16="http://schemas.microsoft.com/office/drawing/2014/main" id="{8774A74C-23F7-F58E-1931-5CBF84622989}"/>
              </a:ext>
            </a:extLst>
          </p:cNvPr>
          <p:cNvSpPr txBox="1"/>
          <p:nvPr/>
        </p:nvSpPr>
        <p:spPr>
          <a:xfrm>
            <a:off x="9459855" y="2603804"/>
            <a:ext cx="2216924" cy="261610"/>
          </a:xfrm>
          <a:prstGeom prst="rect">
            <a:avLst/>
          </a:prstGeom>
          <a:solidFill>
            <a:srgbClr val="0070C0">
              <a:alpha val="80000"/>
            </a:srgbClr>
          </a:solidFill>
        </p:spPr>
        <p:txBody>
          <a:bodyPr wrap="square">
            <a:spAutoFit/>
          </a:bodyPr>
          <a:lstStyle/>
          <a:p>
            <a:r>
              <a:rPr lang="ja-JP" altLang="en-US" sz="1050" dirty="0">
                <a:solidFill>
                  <a:schemeClr val="bg1"/>
                </a:solidFill>
              </a:rPr>
              <a:t>●●交通（タクシー）運行区域</a:t>
            </a:r>
          </a:p>
        </p:txBody>
      </p:sp>
      <p:cxnSp>
        <p:nvCxnSpPr>
          <p:cNvPr id="18" name="直線コネクタ 17">
            <a:extLst>
              <a:ext uri="{FF2B5EF4-FFF2-40B4-BE49-F238E27FC236}">
                <a16:creationId xmlns:a16="http://schemas.microsoft.com/office/drawing/2014/main" id="{FCE67E6F-35AF-BA3A-78B3-4E82620C7DE1}"/>
              </a:ext>
            </a:extLst>
          </p:cNvPr>
          <p:cNvCxnSpPr>
            <a:cxnSpLocks/>
            <a:endCxn id="16" idx="1"/>
          </p:cNvCxnSpPr>
          <p:nvPr/>
        </p:nvCxnSpPr>
        <p:spPr>
          <a:xfrm flipV="1">
            <a:off x="9215058" y="2734609"/>
            <a:ext cx="244797" cy="130805"/>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
        <p:nvSpPr>
          <p:cNvPr id="17" name="テキスト ボックス 16">
            <a:extLst>
              <a:ext uri="{FF2B5EF4-FFF2-40B4-BE49-F238E27FC236}">
                <a16:creationId xmlns:a16="http://schemas.microsoft.com/office/drawing/2014/main" id="{159BE264-9942-E766-987F-6CA378A61798}"/>
              </a:ext>
            </a:extLst>
          </p:cNvPr>
          <p:cNvSpPr txBox="1"/>
          <p:nvPr/>
        </p:nvSpPr>
        <p:spPr>
          <a:xfrm>
            <a:off x="1588445" y="4938690"/>
            <a:ext cx="8920716" cy="107632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本プロジェクトにおいて取得するデータの対象範囲を具体的なサービス提供事業者名・路線・区間を文言及び図示によって明示してください。</a:t>
            </a: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データ取得範囲が広域の場合は、地図を複数枚用意のうえ、実施エリアや路線が分かるよう明示してください。</a:t>
            </a: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画像はサンプルです。提出時に削除してください。</a:t>
            </a:r>
            <a:endParaRPr kumimoji="0" lang="en-US" altLang="ja-JP" sz="1400" b="0" i="0" u="none" strike="noStrike" kern="0" cap="none" spc="0" normalizeH="0" baseline="0" noProof="0">
              <a:ln>
                <a:noFill/>
              </a:ln>
              <a:solidFill>
                <a:srgbClr val="FFFFFF"/>
              </a:solidFill>
              <a:effectLst/>
              <a:uLnTx/>
              <a:uFillTx/>
            </a:endParaRPr>
          </a:p>
        </p:txBody>
      </p:sp>
      <p:sp>
        <p:nvSpPr>
          <p:cNvPr id="7" name="テキスト ボックス 6">
            <a:extLst>
              <a:ext uri="{FF2B5EF4-FFF2-40B4-BE49-F238E27FC236}">
                <a16:creationId xmlns:a16="http://schemas.microsoft.com/office/drawing/2014/main" id="{4CC34C06-2770-D52E-887C-60A7718811AC}"/>
              </a:ext>
            </a:extLst>
          </p:cNvPr>
          <p:cNvSpPr txBox="1"/>
          <p:nvPr/>
        </p:nvSpPr>
        <p:spPr>
          <a:xfrm>
            <a:off x="4530056" y="3978186"/>
            <a:ext cx="2216924" cy="261610"/>
          </a:xfrm>
          <a:prstGeom prst="rect">
            <a:avLst/>
          </a:prstGeom>
          <a:solidFill>
            <a:srgbClr val="FFC000">
              <a:alpha val="80000"/>
            </a:srgbClr>
          </a:solidFill>
        </p:spPr>
        <p:txBody>
          <a:bodyPr wrap="square">
            <a:spAutoFit/>
          </a:bodyPr>
          <a:lstStyle/>
          <a:p>
            <a:r>
              <a:rPr lang="ja-JP" altLang="en-US" sz="1050">
                <a:solidFill>
                  <a:schemeClr val="bg1"/>
                </a:solidFill>
              </a:rPr>
              <a:t>●●市営デマンドバス</a:t>
            </a:r>
          </a:p>
        </p:txBody>
      </p:sp>
      <p:sp>
        <p:nvSpPr>
          <p:cNvPr id="13" name="フリーフォーム: 図形 12">
            <a:extLst>
              <a:ext uri="{FF2B5EF4-FFF2-40B4-BE49-F238E27FC236}">
                <a16:creationId xmlns:a16="http://schemas.microsoft.com/office/drawing/2014/main" id="{B43B6931-1CB3-5574-1F6D-B4058353AD33}"/>
              </a:ext>
            </a:extLst>
          </p:cNvPr>
          <p:cNvSpPr/>
          <p:nvPr/>
        </p:nvSpPr>
        <p:spPr>
          <a:xfrm>
            <a:off x="6892160" y="3788647"/>
            <a:ext cx="943276" cy="1039529"/>
          </a:xfrm>
          <a:custGeom>
            <a:avLst/>
            <a:gdLst>
              <a:gd name="connsiteX0" fmla="*/ 394636 w 943276"/>
              <a:gd name="connsiteY0" fmla="*/ 0 h 1039529"/>
              <a:gd name="connsiteX1" fmla="*/ 28876 w 943276"/>
              <a:gd name="connsiteY1" fmla="*/ 279133 h 1039529"/>
              <a:gd name="connsiteX2" fmla="*/ 28876 w 943276"/>
              <a:gd name="connsiteY2" fmla="*/ 404261 h 1039529"/>
              <a:gd name="connsiteX3" fmla="*/ 0 w 943276"/>
              <a:gd name="connsiteY3" fmla="*/ 635268 h 1039529"/>
              <a:gd name="connsiteX4" fmla="*/ 356135 w 943276"/>
              <a:gd name="connsiteY4" fmla="*/ 991402 h 1039529"/>
              <a:gd name="connsiteX5" fmla="*/ 567890 w 943276"/>
              <a:gd name="connsiteY5" fmla="*/ 1001028 h 1039529"/>
              <a:gd name="connsiteX6" fmla="*/ 731520 w 943276"/>
              <a:gd name="connsiteY6" fmla="*/ 1039529 h 1039529"/>
              <a:gd name="connsiteX7" fmla="*/ 904775 w 943276"/>
              <a:gd name="connsiteY7" fmla="*/ 827773 h 1039529"/>
              <a:gd name="connsiteX8" fmla="*/ 943276 w 943276"/>
              <a:gd name="connsiteY8" fmla="*/ 298384 h 1039529"/>
              <a:gd name="connsiteX9" fmla="*/ 837398 w 943276"/>
              <a:gd name="connsiteY9" fmla="*/ 144379 h 1039529"/>
              <a:gd name="connsiteX10" fmla="*/ 394636 w 943276"/>
              <a:gd name="connsiteY10" fmla="*/ 0 h 10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3276" h="1039529">
                <a:moveTo>
                  <a:pt x="394636" y="0"/>
                </a:moveTo>
                <a:lnTo>
                  <a:pt x="28876" y="279133"/>
                </a:lnTo>
                <a:lnTo>
                  <a:pt x="28876" y="404261"/>
                </a:lnTo>
                <a:lnTo>
                  <a:pt x="0" y="635268"/>
                </a:lnTo>
                <a:lnTo>
                  <a:pt x="356135" y="991402"/>
                </a:lnTo>
                <a:cubicBezTo>
                  <a:pt x="503611" y="1003693"/>
                  <a:pt x="433004" y="1001028"/>
                  <a:pt x="567890" y="1001028"/>
                </a:cubicBezTo>
                <a:lnTo>
                  <a:pt x="731520" y="1039529"/>
                </a:lnTo>
                <a:cubicBezTo>
                  <a:pt x="909712" y="970993"/>
                  <a:pt x="844038" y="1034274"/>
                  <a:pt x="904775" y="827773"/>
                </a:cubicBezTo>
                <a:lnTo>
                  <a:pt x="943276" y="298384"/>
                </a:lnTo>
                <a:cubicBezTo>
                  <a:pt x="842853" y="157792"/>
                  <a:pt x="871708" y="213003"/>
                  <a:pt x="837398" y="144379"/>
                </a:cubicBezTo>
                <a:lnTo>
                  <a:pt x="394636" y="0"/>
                </a:lnTo>
                <a:close/>
              </a:path>
            </a:pathLst>
          </a:custGeom>
          <a:solidFill>
            <a:srgbClr val="FFC000">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a:extLst>
              <a:ext uri="{FF2B5EF4-FFF2-40B4-BE49-F238E27FC236}">
                <a16:creationId xmlns:a16="http://schemas.microsoft.com/office/drawing/2014/main" id="{3AA73118-94F8-70C1-35F7-26CD5AF7F242}"/>
              </a:ext>
            </a:extLst>
          </p:cNvPr>
          <p:cNvCxnSpPr>
            <a:cxnSpLocks/>
            <a:endCxn id="13" idx="2"/>
          </p:cNvCxnSpPr>
          <p:nvPr/>
        </p:nvCxnSpPr>
        <p:spPr>
          <a:xfrm>
            <a:off x="6746980" y="4108991"/>
            <a:ext cx="174056" cy="83917"/>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2" name="直線コネクタ 21">
            <a:extLst>
              <a:ext uri="{FF2B5EF4-FFF2-40B4-BE49-F238E27FC236}">
                <a16:creationId xmlns:a16="http://schemas.microsoft.com/office/drawing/2014/main" id="{60A8A2C6-4E41-CBE6-4C89-599A8EF8C265}"/>
              </a:ext>
            </a:extLst>
          </p:cNvPr>
          <p:cNvCxnSpPr>
            <a:cxnSpLocks/>
          </p:cNvCxnSpPr>
          <p:nvPr/>
        </p:nvCxnSpPr>
        <p:spPr>
          <a:xfrm>
            <a:off x="6899380" y="4261391"/>
            <a:ext cx="174056" cy="83917"/>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925954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235315-9C48-DA83-F90B-A60269B5EF7B}"/>
            </a:ext>
          </a:extLst>
        </p:cNvPr>
        <p:cNvGrpSpPr/>
        <p:nvPr/>
      </p:nvGrpSpPr>
      <p:grpSpPr>
        <a:xfrm>
          <a:off x="0" y="0"/>
          <a:ext cx="0" cy="0"/>
          <a:chOff x="0" y="0"/>
          <a:chExt cx="0" cy="0"/>
        </a:xfrm>
      </p:grpSpPr>
      <p:pic>
        <p:nvPicPr>
          <p:cNvPr id="31" name="図 30">
            <a:extLst>
              <a:ext uri="{FF2B5EF4-FFF2-40B4-BE49-F238E27FC236}">
                <a16:creationId xmlns:a16="http://schemas.microsoft.com/office/drawing/2014/main" id="{16020430-00B1-287F-A924-BAA06D233495}"/>
              </a:ext>
            </a:extLst>
          </p:cNvPr>
          <p:cNvPicPr>
            <a:picLocks noChangeAspect="1"/>
          </p:cNvPicPr>
          <p:nvPr/>
        </p:nvPicPr>
        <p:blipFill>
          <a:blip r:embed="rId3"/>
          <a:stretch>
            <a:fillRect/>
          </a:stretch>
        </p:blipFill>
        <p:spPr>
          <a:xfrm>
            <a:off x="2077459" y="1489767"/>
            <a:ext cx="6519604" cy="4925102"/>
          </a:xfrm>
          <a:prstGeom prst="rect">
            <a:avLst/>
          </a:prstGeom>
        </p:spPr>
      </p:pic>
      <p:graphicFrame>
        <p:nvGraphicFramePr>
          <p:cNvPr id="5" name="オブジェクト 4" hidden="1">
            <a:extLst>
              <a:ext uri="{FF2B5EF4-FFF2-40B4-BE49-F238E27FC236}">
                <a16:creationId xmlns:a16="http://schemas.microsoft.com/office/drawing/2014/main" id="{84E354F3-1957-AAC3-B43F-BEDAC47C5BC8}"/>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84E354F3-1957-AAC3-B43F-BEDAC47C5BC8}"/>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6" name="テキスト プレースホルダー 5">
            <a:extLst>
              <a:ext uri="{FF2B5EF4-FFF2-40B4-BE49-F238E27FC236}">
                <a16:creationId xmlns:a16="http://schemas.microsoft.com/office/drawing/2014/main" id="{71206BDE-1A08-08E6-655E-57D44EBA924B}"/>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2" name="テキスト プレースホルダー 1">
            <a:extLst>
              <a:ext uri="{FF2B5EF4-FFF2-40B4-BE49-F238E27FC236}">
                <a16:creationId xmlns:a16="http://schemas.microsoft.com/office/drawing/2014/main" id="{CBF10691-58CC-75D5-EA23-B36D933D90D3}"/>
              </a:ext>
            </a:extLst>
          </p:cNvPr>
          <p:cNvSpPr>
            <a:spLocks noGrp="1"/>
          </p:cNvSpPr>
          <p:nvPr>
            <p:ph type="body" sz="quarter" idx="36"/>
          </p:nvPr>
        </p:nvSpPr>
        <p:spPr>
          <a:xfrm>
            <a:off x="300779" y="215626"/>
            <a:ext cx="11376000" cy="415498"/>
          </a:xfrm>
        </p:spPr>
        <p:txBody>
          <a:bodyPr/>
          <a:lstStyle/>
          <a:p>
            <a:r>
              <a:rPr lang="en-US" altLang="ja-JP"/>
              <a:t>Ⅲ.</a:t>
            </a:r>
            <a:r>
              <a:rPr lang="ja-JP" altLang="en-US"/>
              <a:t>モビリティデータの取得と活用</a:t>
            </a:r>
          </a:p>
        </p:txBody>
      </p:sp>
      <p:sp>
        <p:nvSpPr>
          <p:cNvPr id="9" name="タイトル 8">
            <a:extLst>
              <a:ext uri="{FF2B5EF4-FFF2-40B4-BE49-F238E27FC236}">
                <a16:creationId xmlns:a16="http://schemas.microsoft.com/office/drawing/2014/main" id="{F7DA7227-3724-60C8-1F06-5A8A2F4AF1F8}"/>
              </a:ext>
            </a:extLst>
          </p:cNvPr>
          <p:cNvSpPr>
            <a:spLocks noGrp="1"/>
          </p:cNvSpPr>
          <p:nvPr>
            <p:ph type="title"/>
          </p:nvPr>
        </p:nvSpPr>
        <p:spPr/>
        <p:txBody>
          <a:bodyPr vert="horz"/>
          <a:lstStyle/>
          <a:p>
            <a:r>
              <a:rPr lang="ja-JP" altLang="en-US"/>
              <a:t>５</a:t>
            </a:r>
            <a:r>
              <a:rPr lang="en-US" altLang="ja-JP"/>
              <a:t>.</a:t>
            </a:r>
            <a:r>
              <a:rPr lang="ja-JP" altLang="en-US"/>
              <a:t>アーキテクチャ全体図</a:t>
            </a:r>
            <a:r>
              <a:rPr lang="en-US" altLang="ja-JP" sz="2400"/>
              <a:t>-</a:t>
            </a:r>
            <a:r>
              <a:rPr lang="ja-JP" altLang="en-US" sz="2400"/>
              <a:t>システムアーキテクチャ図</a:t>
            </a:r>
            <a:r>
              <a:rPr lang="en-US" altLang="ja-JP" sz="2400"/>
              <a:t>-</a:t>
            </a:r>
            <a:endParaRPr lang="ja-JP" altLang="en-US" sz="2800"/>
          </a:p>
        </p:txBody>
      </p:sp>
      <p:sp>
        <p:nvSpPr>
          <p:cNvPr id="4" name="テキスト ボックス 3">
            <a:extLst>
              <a:ext uri="{FF2B5EF4-FFF2-40B4-BE49-F238E27FC236}">
                <a16:creationId xmlns:a16="http://schemas.microsoft.com/office/drawing/2014/main" id="{2D0F773D-7F31-6F9D-4700-F8F75C3164F8}"/>
              </a:ext>
            </a:extLst>
          </p:cNvPr>
          <p:cNvSpPr txBox="1"/>
          <p:nvPr/>
        </p:nvSpPr>
        <p:spPr>
          <a:xfrm>
            <a:off x="2920785" y="2759484"/>
            <a:ext cx="6135987" cy="2385668"/>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システム全体の構造を視覚的に示し、各コンポーネントの相互関係を明確にするため、システムアーキテクチャを記載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機能モジュールとそのインターフェスを処理フローに従って定義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要件定義を見据え、必要な機能モジュールの定義・分割と</a:t>
            </a:r>
            <a:r>
              <a:rPr kumimoji="0" lang="en-US" altLang="ja-JP" sz="1400" b="0" i="0" u="none" strike="noStrike" kern="0" cap="none" spc="0" normalizeH="0" baseline="0" noProof="0">
                <a:ln>
                  <a:noFill/>
                </a:ln>
                <a:solidFill>
                  <a:srgbClr val="FFFFFF"/>
                </a:solidFill>
                <a:effectLst/>
                <a:uLnTx/>
                <a:uFillTx/>
              </a:rPr>
              <a:t>ID</a:t>
            </a:r>
            <a:r>
              <a:rPr kumimoji="0" lang="ja-JP" altLang="en-US" sz="1400" b="0" i="0" u="none" strike="noStrike" kern="0" cap="none" spc="0" normalizeH="0" baseline="0" noProof="0">
                <a:ln>
                  <a:noFill/>
                </a:ln>
                <a:solidFill>
                  <a:srgbClr val="FFFFFF"/>
                </a:solidFill>
                <a:effectLst/>
                <a:uLnTx/>
                <a:uFillTx/>
              </a:rPr>
              <a:t>付与、フルスクラッチ、</a:t>
            </a:r>
            <a:r>
              <a:rPr kumimoji="0" lang="en-US" altLang="ja-JP" sz="1400" b="0" i="0" u="none" strike="noStrike" kern="0" cap="none" spc="0" normalizeH="0" baseline="0" noProof="0">
                <a:ln>
                  <a:noFill/>
                </a:ln>
                <a:solidFill>
                  <a:srgbClr val="FFFFFF"/>
                </a:solidFill>
                <a:effectLst/>
                <a:uLnTx/>
                <a:uFillTx/>
              </a:rPr>
              <a:t>SaaS</a:t>
            </a:r>
            <a:r>
              <a:rPr kumimoji="0" lang="ja-JP" altLang="en-US" sz="1400" b="0" i="0" u="none" strike="noStrike" kern="0" cap="none" spc="0" normalizeH="0" baseline="0" noProof="0">
                <a:ln>
                  <a:noFill/>
                </a:ln>
                <a:solidFill>
                  <a:srgbClr val="FFFFFF"/>
                </a:solidFill>
                <a:effectLst/>
                <a:uLnTx/>
                <a:uFillTx/>
              </a:rPr>
              <a:t>利用、外部</a:t>
            </a:r>
            <a:r>
              <a:rPr kumimoji="0" lang="en-US" altLang="ja-JP" sz="1400" b="0" i="0" u="none" strike="noStrike" kern="0" cap="none" spc="0" normalizeH="0" baseline="0" noProof="0">
                <a:ln>
                  <a:noFill/>
                </a:ln>
                <a:solidFill>
                  <a:srgbClr val="FFFFFF"/>
                </a:solidFill>
                <a:effectLst/>
                <a:uLnTx/>
                <a:uFillTx/>
              </a:rPr>
              <a:t>API</a:t>
            </a:r>
            <a:r>
              <a:rPr kumimoji="0" lang="ja-JP" altLang="en-US" sz="1400" b="0" i="0" u="none" strike="noStrike" kern="0" cap="none" spc="0" normalizeH="0" baseline="0" noProof="0">
                <a:ln>
                  <a:noFill/>
                </a:ln>
                <a:solidFill>
                  <a:srgbClr val="FFFFFF"/>
                </a:solidFill>
                <a:effectLst/>
                <a:uLnTx/>
                <a:uFillTx/>
              </a:rPr>
              <a:t>利用などの区別など、可能な限り詳細な粒度で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右下の凡例を参考に作成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システム利用及び開発を行わない場合は、その旨を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画像はサンプルです。提出時に削除してください。</a:t>
            </a:r>
          </a:p>
        </p:txBody>
      </p:sp>
      <p:grpSp>
        <p:nvGrpSpPr>
          <p:cNvPr id="7" name="グループ化 6">
            <a:extLst>
              <a:ext uri="{FF2B5EF4-FFF2-40B4-BE49-F238E27FC236}">
                <a16:creationId xmlns:a16="http://schemas.microsoft.com/office/drawing/2014/main" id="{52002093-DF50-FA02-BA5F-6BBF146BCA66}"/>
              </a:ext>
            </a:extLst>
          </p:cNvPr>
          <p:cNvGrpSpPr/>
          <p:nvPr/>
        </p:nvGrpSpPr>
        <p:grpSpPr>
          <a:xfrm>
            <a:off x="10081737" y="5038356"/>
            <a:ext cx="1630886" cy="1264098"/>
            <a:chOff x="10291234" y="5263193"/>
            <a:chExt cx="1530502" cy="1186290"/>
          </a:xfrm>
        </p:grpSpPr>
        <p:sp>
          <p:nvSpPr>
            <p:cNvPr id="8" name="四角形: 角を丸くする 7">
              <a:extLst>
                <a:ext uri="{FF2B5EF4-FFF2-40B4-BE49-F238E27FC236}">
                  <a16:creationId xmlns:a16="http://schemas.microsoft.com/office/drawing/2014/main" id="{FC1AB3A4-9382-A032-5903-9A510E8475E3}"/>
                </a:ext>
              </a:extLst>
            </p:cNvPr>
            <p:cNvSpPr/>
            <p:nvPr/>
          </p:nvSpPr>
          <p:spPr>
            <a:xfrm>
              <a:off x="10291234" y="5263193"/>
              <a:ext cx="1530502" cy="1186290"/>
            </a:xfrm>
            <a:prstGeom prst="roundRect">
              <a:avLst>
                <a:gd name="adj" fmla="val 3180"/>
              </a:avLst>
            </a:prstGeom>
            <a:noFill/>
            <a:ln w="12700" cap="flat" cmpd="sng" algn="ctr">
              <a:solidFill>
                <a:srgbClr val="636163"/>
              </a:solidFill>
              <a:prstDash val="solid"/>
            </a:ln>
            <a:effectLst/>
          </p:spPr>
          <p:txBody>
            <a:bodyPr rtlCol="0" anchor="ctr"/>
            <a:lstStyle/>
            <a:p>
              <a:pPr algn="ctr">
                <a:defRPr/>
              </a:pPr>
              <a:endParaRPr kumimoji="0" lang="ja-JP" altLang="en-US" sz="2400" kern="0">
                <a:solidFill>
                  <a:srgbClr val="FFFFFF"/>
                </a:solidFill>
                <a:latin typeface="Noto Sans CJK JP"/>
              </a:endParaRPr>
            </a:p>
          </p:txBody>
        </p:sp>
        <p:grpSp>
          <p:nvGrpSpPr>
            <p:cNvPr id="10" name="グループ化 9">
              <a:extLst>
                <a:ext uri="{FF2B5EF4-FFF2-40B4-BE49-F238E27FC236}">
                  <a16:creationId xmlns:a16="http://schemas.microsoft.com/office/drawing/2014/main" id="{B738998B-D1C7-4DA0-CFF5-9A123E597911}"/>
                </a:ext>
              </a:extLst>
            </p:cNvPr>
            <p:cNvGrpSpPr/>
            <p:nvPr/>
          </p:nvGrpSpPr>
          <p:grpSpPr>
            <a:xfrm>
              <a:off x="10446248" y="5791146"/>
              <a:ext cx="1327938" cy="260466"/>
              <a:chOff x="10692611" y="5304251"/>
              <a:chExt cx="1327938" cy="260466"/>
            </a:xfrm>
          </p:grpSpPr>
          <p:pic>
            <p:nvPicPr>
              <p:cNvPr id="20" name="Picture 2">
                <a:extLst>
                  <a:ext uri="{FF2B5EF4-FFF2-40B4-BE49-F238E27FC236}">
                    <a16:creationId xmlns:a16="http://schemas.microsoft.com/office/drawing/2014/main" id="{5F251E6C-56B2-4EEE-259F-0A6F4F938D4F}"/>
                  </a:ext>
                </a:extLst>
              </p:cNvPr>
              <p:cNvPicPr>
                <a:picLocks noChangeAspect="1" noChangeArrowheads="1"/>
              </p:cNvPicPr>
              <p:nvPr/>
            </p:nvPicPr>
            <p:blipFill>
              <a:blip r:embed="rId6">
                <a:extLst>
                  <a:ext uri="{96DAC541-7B7A-43D3-8B79-37D633B846F1}">
                    <asvg:svgBlip xmlns:asvg="http://schemas.microsoft.com/office/drawing/2016/SVG/main" r:embed="rId7"/>
                  </a:ext>
                </a:extLst>
              </a:blip>
              <a:srcRect l="271" r="271"/>
              <a:stretch/>
            </p:blipFill>
            <p:spPr bwMode="auto">
              <a:xfrm>
                <a:off x="10692611" y="5304251"/>
                <a:ext cx="259054" cy="260466"/>
              </a:xfrm>
              <a:prstGeom prst="rect">
                <a:avLst/>
              </a:prstGeom>
              <a:noFill/>
            </p:spPr>
          </p:pic>
          <p:sp>
            <p:nvSpPr>
              <p:cNvPr id="21" name="テキスト ボックス 20">
                <a:extLst>
                  <a:ext uri="{FF2B5EF4-FFF2-40B4-BE49-F238E27FC236}">
                    <a16:creationId xmlns:a16="http://schemas.microsoft.com/office/drawing/2014/main" id="{2795B796-42AA-2A86-F5EC-F78EB5494350}"/>
                  </a:ext>
                </a:extLst>
              </p:cNvPr>
              <p:cNvSpPr txBox="1"/>
              <p:nvPr/>
            </p:nvSpPr>
            <p:spPr>
              <a:xfrm>
                <a:off x="11006912" y="5350898"/>
                <a:ext cx="1013637" cy="175245"/>
              </a:xfrm>
              <a:prstGeom prst="rect">
                <a:avLst/>
              </a:prstGeom>
              <a:noFill/>
            </p:spPr>
            <p:txBody>
              <a:bodyPr wrap="square" lIns="36000" tIns="0" rIns="36000" bIns="0" rtlCol="0" anchor="ctr">
                <a:noAutofit/>
              </a:bodyPr>
              <a:lstStyle/>
              <a:p>
                <a:pPr>
                  <a:defRPr/>
                </a:pPr>
                <a:r>
                  <a:rPr kumimoji="0" lang="ja-JP" altLang="en-US" sz="800" kern="0">
                    <a:solidFill>
                      <a:srgbClr val="000000"/>
                    </a:solidFill>
                    <a:latin typeface="Noto Sans CJK JP"/>
                  </a:rPr>
                  <a:t>システム</a:t>
                </a:r>
                <a:r>
                  <a:rPr kumimoji="0" lang="en-US" altLang="ja-JP" sz="800" kern="0">
                    <a:solidFill>
                      <a:srgbClr val="000000"/>
                    </a:solidFill>
                    <a:latin typeface="Noto Sans CJK JP"/>
                  </a:rPr>
                  <a:t>/</a:t>
                </a:r>
                <a:r>
                  <a:rPr kumimoji="0" lang="ja-JP" altLang="en-US" sz="800" kern="0">
                    <a:solidFill>
                      <a:srgbClr val="000000"/>
                    </a:solidFill>
                    <a:latin typeface="Noto Sans CJK JP"/>
                  </a:rPr>
                  <a:t>ライブラリ</a:t>
                </a:r>
                <a:r>
                  <a:rPr kumimoji="0" lang="en-US" altLang="ja-JP" sz="800" kern="0">
                    <a:solidFill>
                      <a:srgbClr val="000000"/>
                    </a:solidFill>
                    <a:latin typeface="Noto Sans CJK JP"/>
                  </a:rPr>
                  <a:t>/SaaS</a:t>
                </a:r>
              </a:p>
            </p:txBody>
          </p:sp>
        </p:grpSp>
        <p:grpSp>
          <p:nvGrpSpPr>
            <p:cNvPr id="11" name="グループ化 10">
              <a:extLst>
                <a:ext uri="{FF2B5EF4-FFF2-40B4-BE49-F238E27FC236}">
                  <a16:creationId xmlns:a16="http://schemas.microsoft.com/office/drawing/2014/main" id="{F9A3E8B6-D4F7-9975-8B59-D2F396C06F28}"/>
                </a:ext>
              </a:extLst>
            </p:cNvPr>
            <p:cNvGrpSpPr/>
            <p:nvPr/>
          </p:nvGrpSpPr>
          <p:grpSpPr>
            <a:xfrm>
              <a:off x="10446248" y="6114053"/>
              <a:ext cx="1145906" cy="260466"/>
              <a:chOff x="10692611" y="5591252"/>
              <a:chExt cx="1145906" cy="260466"/>
            </a:xfrm>
          </p:grpSpPr>
          <p:pic>
            <p:nvPicPr>
              <p:cNvPr id="18" name="Picture 2">
                <a:extLst>
                  <a:ext uri="{FF2B5EF4-FFF2-40B4-BE49-F238E27FC236}">
                    <a16:creationId xmlns:a16="http://schemas.microsoft.com/office/drawing/2014/main" id="{2507B095-8B76-5E1D-3144-5AC3E998E4FB}"/>
                  </a:ext>
                </a:extLst>
              </p:cNvPr>
              <p:cNvPicPr>
                <a:picLocks noChangeAspect="1" noChangeArrowheads="1"/>
              </p:cNvPicPr>
              <p:nvPr/>
            </p:nvPicPr>
            <p:blipFill>
              <a:blip r:embed="rId8">
                <a:extLst>
                  <a:ext uri="{96DAC541-7B7A-43D3-8B79-37D633B846F1}">
                    <asvg:svgBlip xmlns:asvg="http://schemas.microsoft.com/office/drawing/2016/SVG/main" r:embed="rId9"/>
                  </a:ext>
                </a:extLst>
              </a:blip>
              <a:srcRect l="271" r="271"/>
              <a:stretch/>
            </p:blipFill>
            <p:spPr bwMode="auto">
              <a:xfrm>
                <a:off x="10692611" y="5591252"/>
                <a:ext cx="259054" cy="260466"/>
              </a:xfrm>
              <a:prstGeom prst="rect">
                <a:avLst/>
              </a:prstGeom>
              <a:noFill/>
              <a:extLst>
                <a:ext uri="{909E8E84-426E-40DD-AFC4-6F175D3DCCD1}">
                  <a14:hiddenFill xmlns:a14="http://schemas.microsoft.com/office/drawing/2010/main">
                    <a:solidFill>
                      <a:srgbClr val="FFFFFF"/>
                    </a:solidFill>
                  </a14:hiddenFill>
                </a:ext>
              </a:extLst>
            </p:spPr>
          </p:pic>
          <p:sp>
            <p:nvSpPr>
              <p:cNvPr id="19" name="テキスト ボックス 18">
                <a:extLst>
                  <a:ext uri="{FF2B5EF4-FFF2-40B4-BE49-F238E27FC236}">
                    <a16:creationId xmlns:a16="http://schemas.microsoft.com/office/drawing/2014/main" id="{46CA9831-E830-18A4-36D3-B1CB18F4532A}"/>
                  </a:ext>
                </a:extLst>
              </p:cNvPr>
              <p:cNvSpPr txBox="1"/>
              <p:nvPr/>
            </p:nvSpPr>
            <p:spPr>
              <a:xfrm>
                <a:off x="11006913" y="5637899"/>
                <a:ext cx="831604" cy="175245"/>
              </a:xfrm>
              <a:prstGeom prst="rect">
                <a:avLst/>
              </a:prstGeom>
              <a:noFill/>
            </p:spPr>
            <p:txBody>
              <a:bodyPr wrap="square" lIns="36000" tIns="0" rIns="36000" bIns="0" rtlCol="0" anchor="ctr">
                <a:noAutofit/>
              </a:bodyPr>
              <a:lstStyle/>
              <a:p>
                <a:pPr>
                  <a:defRPr/>
                </a:pPr>
                <a:r>
                  <a:rPr kumimoji="0" lang="ja-JP" altLang="en-US" sz="800" kern="0">
                    <a:solidFill>
                      <a:srgbClr val="000000"/>
                    </a:solidFill>
                    <a:latin typeface="Noto Sans CJK JP"/>
                  </a:rPr>
                  <a:t>アルゴリズム</a:t>
                </a:r>
                <a:endParaRPr kumimoji="0" lang="en-US" altLang="ja-JP" sz="800" kern="0">
                  <a:solidFill>
                    <a:srgbClr val="000000"/>
                  </a:solidFill>
                  <a:latin typeface="Noto Sans CJK JP"/>
                </a:endParaRPr>
              </a:p>
            </p:txBody>
          </p:sp>
        </p:grpSp>
        <p:grpSp>
          <p:nvGrpSpPr>
            <p:cNvPr id="12" name="グループ化 11">
              <a:extLst>
                <a:ext uri="{FF2B5EF4-FFF2-40B4-BE49-F238E27FC236}">
                  <a16:creationId xmlns:a16="http://schemas.microsoft.com/office/drawing/2014/main" id="{F1638528-25FC-34FB-615D-AC43812FAD07}"/>
                </a:ext>
              </a:extLst>
            </p:cNvPr>
            <p:cNvGrpSpPr/>
            <p:nvPr/>
          </p:nvGrpSpPr>
          <p:grpSpPr>
            <a:xfrm>
              <a:off x="10451931" y="5553460"/>
              <a:ext cx="1336838" cy="175245"/>
              <a:chOff x="10698295" y="5102471"/>
              <a:chExt cx="1604126" cy="175245"/>
            </a:xfrm>
          </p:grpSpPr>
          <p:sp>
            <p:nvSpPr>
              <p:cNvPr id="16" name="テキスト ボックス 15">
                <a:extLst>
                  <a:ext uri="{FF2B5EF4-FFF2-40B4-BE49-F238E27FC236}">
                    <a16:creationId xmlns:a16="http://schemas.microsoft.com/office/drawing/2014/main" id="{47DA8D64-CEC9-1F56-B9E9-35C546FFCD9E}"/>
                  </a:ext>
                </a:extLst>
              </p:cNvPr>
              <p:cNvSpPr txBox="1"/>
              <p:nvPr/>
            </p:nvSpPr>
            <p:spPr>
              <a:xfrm>
                <a:off x="11098283" y="5102471"/>
                <a:ext cx="1204138" cy="175245"/>
              </a:xfrm>
              <a:prstGeom prst="rect">
                <a:avLst/>
              </a:prstGeom>
              <a:noFill/>
            </p:spPr>
            <p:txBody>
              <a:bodyPr wrap="square" lIns="36000" tIns="0" rIns="36000" bIns="0" rtlCol="0" anchor="ctr">
                <a:noAutofit/>
              </a:bodyPr>
              <a:lstStyle/>
              <a:p>
                <a:pPr>
                  <a:defRPr/>
                </a:pPr>
                <a:r>
                  <a:rPr kumimoji="0" lang="ja-JP" altLang="en-US" sz="800" kern="0">
                    <a:solidFill>
                      <a:srgbClr val="7EBE9A"/>
                    </a:solidFill>
                    <a:latin typeface="Noto Sans CJK JP"/>
                  </a:rPr>
                  <a:t>フルスクラッチ開発</a:t>
                </a:r>
                <a:endParaRPr kumimoji="0" lang="en-US" altLang="ja-JP" sz="800" kern="0">
                  <a:solidFill>
                    <a:srgbClr val="7EBE9A"/>
                  </a:solidFill>
                  <a:latin typeface="Noto Sans CJK JP"/>
                </a:endParaRPr>
              </a:p>
            </p:txBody>
          </p:sp>
          <p:sp>
            <p:nvSpPr>
              <p:cNvPr id="17" name="四角形: 角を丸くする 16">
                <a:extLst>
                  <a:ext uri="{FF2B5EF4-FFF2-40B4-BE49-F238E27FC236}">
                    <a16:creationId xmlns:a16="http://schemas.microsoft.com/office/drawing/2014/main" id="{2C56FA59-6C77-7FC1-AD1B-BBB66647627D}"/>
                  </a:ext>
                </a:extLst>
              </p:cNvPr>
              <p:cNvSpPr/>
              <p:nvPr/>
            </p:nvSpPr>
            <p:spPr>
              <a:xfrm>
                <a:off x="10698295" y="5164955"/>
                <a:ext cx="247686" cy="75595"/>
              </a:xfrm>
              <a:prstGeom prst="roundRect">
                <a:avLst/>
              </a:prstGeom>
              <a:solidFill>
                <a:srgbClr val="7EBE9A"/>
              </a:solidFill>
              <a:ln w="25400" cap="flat" cmpd="sng" algn="ctr">
                <a:noFill/>
                <a:prstDash val="solid"/>
              </a:ln>
              <a:effectLst/>
            </p:spPr>
            <p:txBody>
              <a:bodyPr rtlCol="0" anchor="ctr"/>
              <a:lstStyle/>
              <a:p>
                <a:pPr algn="ctr">
                  <a:defRPr/>
                </a:pPr>
                <a:endParaRPr kumimoji="0" lang="ja-JP" altLang="en-US" sz="2400" kern="0">
                  <a:solidFill>
                    <a:srgbClr val="FFFFFF"/>
                  </a:solidFill>
                  <a:latin typeface="Noto Sans CJK JP"/>
                </a:endParaRPr>
              </a:p>
            </p:txBody>
          </p:sp>
        </p:grpSp>
        <p:grpSp>
          <p:nvGrpSpPr>
            <p:cNvPr id="13" name="グループ化 12">
              <a:extLst>
                <a:ext uri="{FF2B5EF4-FFF2-40B4-BE49-F238E27FC236}">
                  <a16:creationId xmlns:a16="http://schemas.microsoft.com/office/drawing/2014/main" id="{0C48BC36-F017-A7FD-EFE5-3DD062E75EDB}"/>
                </a:ext>
              </a:extLst>
            </p:cNvPr>
            <p:cNvGrpSpPr/>
            <p:nvPr/>
          </p:nvGrpSpPr>
          <p:grpSpPr>
            <a:xfrm>
              <a:off x="10451932" y="5315774"/>
              <a:ext cx="1317183" cy="175245"/>
              <a:chOff x="10698295" y="4792973"/>
              <a:chExt cx="1580541" cy="175245"/>
            </a:xfrm>
          </p:grpSpPr>
          <p:sp>
            <p:nvSpPr>
              <p:cNvPr id="14" name="テキスト ボックス 13">
                <a:extLst>
                  <a:ext uri="{FF2B5EF4-FFF2-40B4-BE49-F238E27FC236}">
                    <a16:creationId xmlns:a16="http://schemas.microsoft.com/office/drawing/2014/main" id="{5C0D0E8C-3811-F6B0-69BB-69EE7E33FC74}"/>
                  </a:ext>
                </a:extLst>
              </p:cNvPr>
              <p:cNvSpPr txBox="1"/>
              <p:nvPr/>
            </p:nvSpPr>
            <p:spPr>
              <a:xfrm>
                <a:off x="11074698" y="4792973"/>
                <a:ext cx="1204138" cy="175245"/>
              </a:xfrm>
              <a:prstGeom prst="rect">
                <a:avLst/>
              </a:prstGeom>
              <a:noFill/>
            </p:spPr>
            <p:txBody>
              <a:bodyPr wrap="square" lIns="36000" tIns="0" rIns="36000" bIns="0" rtlCol="0" anchor="ctr">
                <a:noAutofit/>
              </a:bodyPr>
              <a:lstStyle/>
              <a:p>
                <a:pPr>
                  <a:defRPr/>
                </a:pPr>
                <a:r>
                  <a:rPr kumimoji="0" lang="ja-JP" altLang="en-US" sz="800" kern="0">
                    <a:solidFill>
                      <a:srgbClr val="F3817B"/>
                    </a:solidFill>
                    <a:latin typeface="Noto Sans CJK JP"/>
                  </a:rPr>
                  <a:t>既存モジュールの改修</a:t>
                </a:r>
                <a:endParaRPr kumimoji="0" lang="en-US" altLang="ja-JP" sz="800" kern="0">
                  <a:solidFill>
                    <a:srgbClr val="F3817B"/>
                  </a:solidFill>
                  <a:latin typeface="Noto Sans CJK JP"/>
                </a:endParaRPr>
              </a:p>
            </p:txBody>
          </p:sp>
          <p:sp>
            <p:nvSpPr>
              <p:cNvPr id="15" name="四角形: 角を丸くする 14">
                <a:extLst>
                  <a:ext uri="{FF2B5EF4-FFF2-40B4-BE49-F238E27FC236}">
                    <a16:creationId xmlns:a16="http://schemas.microsoft.com/office/drawing/2014/main" id="{96FB319F-2503-4EE3-8CBC-47A4CDE48CA8}"/>
                  </a:ext>
                </a:extLst>
              </p:cNvPr>
              <p:cNvSpPr/>
              <p:nvPr/>
            </p:nvSpPr>
            <p:spPr>
              <a:xfrm>
                <a:off x="10698295" y="4848448"/>
                <a:ext cx="247686" cy="75595"/>
              </a:xfrm>
              <a:prstGeom prst="roundRect">
                <a:avLst/>
              </a:prstGeom>
              <a:solidFill>
                <a:srgbClr val="F3817B"/>
              </a:solidFill>
              <a:ln w="25400" cap="flat" cmpd="sng" algn="ctr">
                <a:noFill/>
                <a:prstDash val="solid"/>
              </a:ln>
              <a:effectLst/>
            </p:spPr>
            <p:txBody>
              <a:bodyPr rtlCol="0" anchor="ctr"/>
              <a:lstStyle/>
              <a:p>
                <a:pPr algn="ctr">
                  <a:defRPr/>
                </a:pPr>
                <a:endParaRPr kumimoji="0" lang="ja-JP" altLang="en-US" sz="2400" kern="0">
                  <a:solidFill>
                    <a:srgbClr val="FFFFFF"/>
                  </a:solidFill>
                  <a:latin typeface="Noto Sans CJK JP"/>
                </a:endParaRPr>
              </a:p>
            </p:txBody>
          </p:sp>
        </p:grpSp>
      </p:grpSp>
    </p:spTree>
    <p:extLst>
      <p:ext uri="{BB962C8B-B14F-4D97-AF65-F5344CB8AC3E}">
        <p14:creationId xmlns:p14="http://schemas.microsoft.com/office/powerpoint/2010/main" val="164142468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235315-9C48-DA83-F90B-A60269B5EF7B}"/>
            </a:ext>
          </a:extLst>
        </p:cNvPr>
        <p:cNvGrpSpPr/>
        <p:nvPr/>
      </p:nvGrpSpPr>
      <p:grpSpPr>
        <a:xfrm>
          <a:off x="0" y="0"/>
          <a:ext cx="0" cy="0"/>
          <a:chOff x="0" y="0"/>
          <a:chExt cx="0" cy="0"/>
        </a:xfrm>
      </p:grpSpPr>
      <p:pic>
        <p:nvPicPr>
          <p:cNvPr id="14" name="図 13">
            <a:extLst>
              <a:ext uri="{FF2B5EF4-FFF2-40B4-BE49-F238E27FC236}">
                <a16:creationId xmlns:a16="http://schemas.microsoft.com/office/drawing/2014/main" id="{14F881AA-A9DD-5D4C-6B41-DC64E37C5F31}"/>
              </a:ext>
            </a:extLst>
          </p:cNvPr>
          <p:cNvPicPr>
            <a:picLocks noChangeAspect="1"/>
          </p:cNvPicPr>
          <p:nvPr/>
        </p:nvPicPr>
        <p:blipFill>
          <a:blip r:embed="rId3"/>
          <a:stretch>
            <a:fillRect/>
          </a:stretch>
        </p:blipFill>
        <p:spPr>
          <a:xfrm>
            <a:off x="1527382" y="1582517"/>
            <a:ext cx="9137236" cy="3692966"/>
          </a:xfrm>
          <a:prstGeom prst="rect">
            <a:avLst/>
          </a:prstGeom>
        </p:spPr>
      </p:pic>
      <p:graphicFrame>
        <p:nvGraphicFramePr>
          <p:cNvPr id="5" name="オブジェクト 4" hidden="1">
            <a:extLst>
              <a:ext uri="{FF2B5EF4-FFF2-40B4-BE49-F238E27FC236}">
                <a16:creationId xmlns:a16="http://schemas.microsoft.com/office/drawing/2014/main" id="{84E354F3-1957-AAC3-B43F-BEDAC47C5BC8}"/>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84E354F3-1957-AAC3-B43F-BEDAC47C5BC8}"/>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6" name="テキスト プレースホルダー 5">
            <a:extLst>
              <a:ext uri="{FF2B5EF4-FFF2-40B4-BE49-F238E27FC236}">
                <a16:creationId xmlns:a16="http://schemas.microsoft.com/office/drawing/2014/main" id="{71206BDE-1A08-08E6-655E-57D44EBA924B}"/>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2" name="テキスト プレースホルダー 1">
            <a:extLst>
              <a:ext uri="{FF2B5EF4-FFF2-40B4-BE49-F238E27FC236}">
                <a16:creationId xmlns:a16="http://schemas.microsoft.com/office/drawing/2014/main" id="{CBF10691-58CC-75D5-EA23-B36D933D90D3}"/>
              </a:ext>
            </a:extLst>
          </p:cNvPr>
          <p:cNvSpPr>
            <a:spLocks noGrp="1"/>
          </p:cNvSpPr>
          <p:nvPr>
            <p:ph type="body" sz="quarter" idx="36"/>
          </p:nvPr>
        </p:nvSpPr>
        <p:spPr/>
        <p:txBody>
          <a:bodyPr/>
          <a:lstStyle/>
          <a:p>
            <a:r>
              <a:rPr lang="en-US" altLang="ja-JP" dirty="0"/>
              <a:t>Ⅲ.</a:t>
            </a:r>
            <a:r>
              <a:rPr lang="ja-JP" altLang="en-US" dirty="0"/>
              <a:t>モビリティデータの取得と活用</a:t>
            </a:r>
          </a:p>
        </p:txBody>
      </p:sp>
      <p:sp>
        <p:nvSpPr>
          <p:cNvPr id="9" name="タイトル 8">
            <a:extLst>
              <a:ext uri="{FF2B5EF4-FFF2-40B4-BE49-F238E27FC236}">
                <a16:creationId xmlns:a16="http://schemas.microsoft.com/office/drawing/2014/main" id="{F7DA7227-3724-60C8-1F06-5A8A2F4AF1F8}"/>
              </a:ext>
            </a:extLst>
          </p:cNvPr>
          <p:cNvSpPr>
            <a:spLocks noGrp="1"/>
          </p:cNvSpPr>
          <p:nvPr>
            <p:ph type="title"/>
          </p:nvPr>
        </p:nvSpPr>
        <p:spPr/>
        <p:txBody>
          <a:bodyPr vert="horz"/>
          <a:lstStyle/>
          <a:p>
            <a:r>
              <a:rPr lang="ja-JP" altLang="en-US" dirty="0"/>
              <a:t>６</a:t>
            </a:r>
            <a:r>
              <a:rPr lang="en-US" altLang="ja-JP" dirty="0"/>
              <a:t>.</a:t>
            </a:r>
            <a:r>
              <a:rPr lang="ja-JP" altLang="en-US" dirty="0"/>
              <a:t>ハードウェアアーキテクチャ</a:t>
            </a:r>
            <a:endParaRPr lang="ja-JP" altLang="en-US" sz="2800" dirty="0"/>
          </a:p>
        </p:txBody>
      </p:sp>
      <p:sp>
        <p:nvSpPr>
          <p:cNvPr id="7" name="テキスト ボックス 6">
            <a:extLst>
              <a:ext uri="{FF2B5EF4-FFF2-40B4-BE49-F238E27FC236}">
                <a16:creationId xmlns:a16="http://schemas.microsoft.com/office/drawing/2014/main" id="{753EDDE2-9BD8-2942-AFF5-CB0966A2B583}"/>
              </a:ext>
            </a:extLst>
          </p:cNvPr>
          <p:cNvSpPr txBox="1"/>
          <p:nvPr/>
        </p:nvSpPr>
        <p:spPr>
          <a:xfrm>
            <a:off x="3083206" y="2820813"/>
            <a:ext cx="6135987" cy="2385668"/>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システム全体において稼働するデバイスやインフラを把握するため、ハードウェアアーキテクチャを記載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特に</a:t>
            </a:r>
            <a:r>
              <a:rPr kumimoji="0" lang="en-US" altLang="ja-JP" sz="1400" b="0" i="0" u="none" strike="noStrike" kern="0" cap="none" spc="0" normalizeH="0" baseline="0" noProof="0">
                <a:ln>
                  <a:noFill/>
                </a:ln>
                <a:solidFill>
                  <a:srgbClr val="FFFFFF"/>
                </a:solidFill>
                <a:effectLst/>
                <a:uLnTx/>
                <a:uFillTx/>
              </a:rPr>
              <a:t>IaaS</a:t>
            </a:r>
            <a:r>
              <a:rPr kumimoji="0" lang="ja-JP" altLang="en-US" sz="1400" b="0" i="0" u="none" strike="noStrike" kern="0" cap="none" spc="0" normalizeH="0" baseline="0" noProof="0">
                <a:ln>
                  <a:noFill/>
                </a:ln>
                <a:solidFill>
                  <a:srgbClr val="FFFFFF"/>
                </a:solidFill>
                <a:effectLst/>
                <a:uLnTx/>
                <a:uFillTx/>
              </a:rPr>
              <a:t>や</a:t>
            </a:r>
            <a:r>
              <a:rPr kumimoji="0" lang="en-US" altLang="ja-JP" sz="1400" b="0" i="0" u="none" strike="noStrike" kern="0" cap="none" spc="0" normalizeH="0" baseline="0" noProof="0">
                <a:ln>
                  <a:noFill/>
                </a:ln>
                <a:solidFill>
                  <a:srgbClr val="FFFFFF"/>
                </a:solidFill>
                <a:effectLst/>
                <a:uLnTx/>
                <a:uFillTx/>
              </a:rPr>
              <a:t>PaaS</a:t>
            </a:r>
            <a:r>
              <a:rPr kumimoji="0" lang="ja-JP" altLang="en-US" sz="1400" b="0" i="0" u="none" strike="noStrike" kern="0" cap="none" spc="0" normalizeH="0" baseline="0" noProof="0">
                <a:ln>
                  <a:noFill/>
                </a:ln>
                <a:solidFill>
                  <a:srgbClr val="FFFFFF"/>
                </a:solidFill>
                <a:effectLst/>
                <a:uLnTx/>
                <a:uFillTx/>
              </a:rPr>
              <a:t>など外部クラウドサーバを利用する場合、利用するコンポーネント名を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外部デバイス（改札機や認証端末など）と接続する場合などは、デバイスの製品名を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また画像はサンプルです。提出時に削除してください。</a:t>
            </a:r>
          </a:p>
        </p:txBody>
      </p:sp>
    </p:spTree>
    <p:extLst>
      <p:ext uri="{BB962C8B-B14F-4D97-AF65-F5344CB8AC3E}">
        <p14:creationId xmlns:p14="http://schemas.microsoft.com/office/powerpoint/2010/main" val="351619202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6" name="テキスト プレースホルダー 5">
            <a:extLst>
              <a:ext uri="{FF2B5EF4-FFF2-40B4-BE49-F238E27FC236}">
                <a16:creationId xmlns:a16="http://schemas.microsoft.com/office/drawing/2014/main" id="{85E02E86-1857-0430-484E-BB6E2039FE47}"/>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2" name="テキスト プレースホルダー 1">
            <a:extLst>
              <a:ext uri="{FF2B5EF4-FFF2-40B4-BE49-F238E27FC236}">
                <a16:creationId xmlns:a16="http://schemas.microsoft.com/office/drawing/2014/main" id="{A45FDDD5-9A42-423D-9ED3-F19DD3567786}"/>
              </a:ext>
            </a:extLst>
          </p:cNvPr>
          <p:cNvSpPr>
            <a:spLocks noGrp="1"/>
          </p:cNvSpPr>
          <p:nvPr>
            <p:ph type="body" sz="quarter" idx="36"/>
          </p:nvPr>
        </p:nvSpPr>
        <p:spPr/>
        <p:txBody>
          <a:bodyPr/>
          <a:lstStyle/>
          <a:p>
            <a:r>
              <a:rPr lang="en-US" altLang="ja-JP"/>
              <a:t>Ⅲ.</a:t>
            </a:r>
            <a:r>
              <a:rPr lang="ja-JP" altLang="en-US"/>
              <a:t>モビリティデータの取得と活用</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７</a:t>
            </a:r>
            <a:r>
              <a:rPr lang="en-US" altLang="ja-JP"/>
              <a:t>.</a:t>
            </a:r>
            <a:r>
              <a:rPr lang="ja-JP" altLang="en-US"/>
              <a:t>利用する技術要素</a:t>
            </a:r>
          </a:p>
        </p:txBody>
      </p:sp>
      <p:graphicFrame>
        <p:nvGraphicFramePr>
          <p:cNvPr id="7" name="表 6">
            <a:extLst>
              <a:ext uri="{FF2B5EF4-FFF2-40B4-BE49-F238E27FC236}">
                <a16:creationId xmlns:a16="http://schemas.microsoft.com/office/drawing/2014/main" id="{DF489A6D-BF99-D7E8-91F8-DEC0AF51B58C}"/>
              </a:ext>
            </a:extLst>
          </p:cNvPr>
          <p:cNvGraphicFramePr>
            <a:graphicFrameLocks noGrp="1"/>
          </p:cNvGraphicFramePr>
          <p:nvPr>
            <p:extLst>
              <p:ext uri="{D42A27DB-BD31-4B8C-83A1-F6EECF244321}">
                <p14:modId xmlns:p14="http://schemas.microsoft.com/office/powerpoint/2010/main" val="2175817655"/>
              </p:ext>
            </p:extLst>
          </p:nvPr>
        </p:nvGraphicFramePr>
        <p:xfrm>
          <a:off x="300777" y="2050275"/>
          <a:ext cx="11595948" cy="2731151"/>
        </p:xfrm>
        <a:graphic>
          <a:graphicData uri="http://schemas.openxmlformats.org/drawingml/2006/table">
            <a:tbl>
              <a:tblPr firstRow="1">
                <a:tableStyleId>{5940675A-B579-460E-94D1-54222C63F5DA}</a:tableStyleId>
              </a:tblPr>
              <a:tblGrid>
                <a:gridCol w="2239223">
                  <a:extLst>
                    <a:ext uri="{9D8B030D-6E8A-4147-A177-3AD203B41FA5}">
                      <a16:colId xmlns:a16="http://schemas.microsoft.com/office/drawing/2014/main" val="3505984062"/>
                    </a:ext>
                  </a:extLst>
                </a:gridCol>
                <a:gridCol w="2917825">
                  <a:extLst>
                    <a:ext uri="{9D8B030D-6E8A-4147-A177-3AD203B41FA5}">
                      <a16:colId xmlns:a16="http://schemas.microsoft.com/office/drawing/2014/main" val="1183473455"/>
                    </a:ext>
                  </a:extLst>
                </a:gridCol>
                <a:gridCol w="6438900">
                  <a:extLst>
                    <a:ext uri="{9D8B030D-6E8A-4147-A177-3AD203B41FA5}">
                      <a16:colId xmlns:a16="http://schemas.microsoft.com/office/drawing/2014/main" val="1554345629"/>
                    </a:ext>
                  </a:extLst>
                </a:gridCol>
              </a:tblGrid>
              <a:tr h="252938">
                <a:tc>
                  <a:txBody>
                    <a:bodyPr/>
                    <a:lstStyle/>
                    <a:p>
                      <a:pPr algn="l"/>
                      <a:r>
                        <a:rPr lang="ja-JP" sz="1400" b="1" kern="100">
                          <a:effectLst/>
                          <a:latin typeface="+mn-ea"/>
                          <a:ea typeface="+mn-ea"/>
                        </a:rPr>
                        <a:t>項目</a:t>
                      </a:r>
                      <a:endParaRPr lang="ja-JP" sz="1400" b="1" kern="100">
                        <a:effectLst/>
                        <a:latin typeface="+mn-ea"/>
                        <a:ea typeface="+mn-ea"/>
                        <a:cs typeface="Meiryo UI" panose="020B0604030504040204" pitchFamily="50" charset="-128"/>
                      </a:endParaRPr>
                    </a:p>
                  </a:txBody>
                  <a:tcPr marL="36195" marR="36195" marT="46800" marB="46800">
                    <a:solidFill>
                      <a:schemeClr val="bg1">
                        <a:lumMod val="75000"/>
                      </a:schemeClr>
                    </a:solidFill>
                  </a:tcPr>
                </a:tc>
                <a:tc>
                  <a:txBody>
                    <a:bodyPr/>
                    <a:lstStyle/>
                    <a:p>
                      <a:pPr algn="l"/>
                      <a:r>
                        <a:rPr lang="ja-JP" altLang="en-US" sz="1400" b="1" kern="100">
                          <a:effectLst/>
                          <a:latin typeface="+mn-ea"/>
                          <a:ea typeface="+mn-ea"/>
                          <a:cs typeface="Meiryo UI" panose="020B0604030504040204" pitchFamily="50" charset="-128"/>
                        </a:rPr>
                        <a:t>名称</a:t>
                      </a:r>
                      <a:endParaRPr lang="ja-JP" sz="1400" b="1" kern="100">
                        <a:effectLst/>
                        <a:latin typeface="+mn-ea"/>
                        <a:ea typeface="+mn-ea"/>
                        <a:cs typeface="Meiryo UI" panose="020B0604030504040204" pitchFamily="50" charset="-128"/>
                      </a:endParaRPr>
                    </a:p>
                  </a:txBody>
                  <a:tcPr marL="36195" marR="36195" marT="46800" marB="46800">
                    <a:solidFill>
                      <a:schemeClr val="bg1">
                        <a:lumMod val="75000"/>
                      </a:schemeClr>
                    </a:solidFill>
                  </a:tcPr>
                </a:tc>
                <a:tc>
                  <a:txBody>
                    <a:bodyPr/>
                    <a:lstStyle/>
                    <a:p>
                      <a:pPr algn="l"/>
                      <a:endParaRPr lang="ja-JP" sz="1400" b="1" kern="100">
                        <a:effectLst/>
                        <a:latin typeface="+mn-ea"/>
                        <a:ea typeface="+mn-ea"/>
                        <a:cs typeface="Meiryo UI" panose="020B0604030504040204" pitchFamily="50" charset="-128"/>
                      </a:endParaRPr>
                    </a:p>
                  </a:txBody>
                  <a:tcPr marL="36195" marR="36195" marT="46800" marB="46800">
                    <a:solidFill>
                      <a:schemeClr val="bg1">
                        <a:lumMod val="75000"/>
                      </a:schemeClr>
                    </a:solidFill>
                  </a:tcPr>
                </a:tc>
                <a:extLst>
                  <a:ext uri="{0D108BD9-81ED-4DB2-BD59-A6C34878D82A}">
                    <a16:rowId xmlns:a16="http://schemas.microsoft.com/office/drawing/2014/main" val="2329924580"/>
                  </a:ext>
                </a:extLst>
              </a:tr>
              <a:tr h="338114">
                <a:tc>
                  <a:txBody>
                    <a:bodyPr/>
                    <a:lstStyle/>
                    <a:p>
                      <a:pPr algn="just"/>
                      <a:r>
                        <a:rPr lang="ja-JP" altLang="en-US" sz="1400" kern="100">
                          <a:solidFill>
                            <a:srgbClr val="0070C0"/>
                          </a:solidFill>
                          <a:effectLst/>
                          <a:latin typeface="+mn-ea"/>
                          <a:ea typeface="+mn-ea"/>
                          <a:cs typeface="Meiryo UI" panose="020B0604030504040204" pitchFamily="50" charset="-128"/>
                        </a:rPr>
                        <a:t>プログラミング言語</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ja-JP" altLang="en-US" sz="1400">
                          <a:solidFill>
                            <a:srgbClr val="0070C0"/>
                          </a:solidFill>
                          <a:latin typeface="+mn-ea"/>
                          <a:ea typeface="+mn-ea"/>
                        </a:rPr>
                        <a:t>Python, JavaScript</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XXXXXX</a:t>
                      </a:r>
                      <a:endParaRPr lang="ja-JP"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3614498428"/>
                  </a:ext>
                </a:extLst>
              </a:tr>
              <a:tr h="338114">
                <a:tc>
                  <a:txBody>
                    <a:bodyPr/>
                    <a:lstStyle/>
                    <a:p>
                      <a:pPr marL="0" marR="0" lvl="0" indent="0" algn="just" defTabSz="742950" rtl="0" eaLnBrk="1" fontAlgn="auto" latinLnBrk="0" hangingPunct="1">
                        <a:lnSpc>
                          <a:spcPct val="100000"/>
                        </a:lnSpc>
                        <a:spcBef>
                          <a:spcPts val="0"/>
                        </a:spcBef>
                        <a:spcAft>
                          <a:spcPts val="0"/>
                        </a:spcAft>
                        <a:buClrTx/>
                        <a:buSzTx/>
                        <a:buFontTx/>
                        <a:buNone/>
                        <a:tabLst/>
                        <a:defRPr/>
                      </a:pPr>
                      <a:r>
                        <a:rPr lang="en-US" altLang="ja-JP" sz="1400" kern="100">
                          <a:solidFill>
                            <a:srgbClr val="0070C0"/>
                          </a:solidFill>
                          <a:effectLst/>
                          <a:latin typeface="+mn-ea"/>
                          <a:ea typeface="+mn-ea"/>
                          <a:cs typeface="Meiryo UI" panose="020B0604030504040204" pitchFamily="50" charset="-128"/>
                        </a:rPr>
                        <a:t>RDBMS</a:t>
                      </a:r>
                      <a:endParaRPr lang="ja-JP" alt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Amazon RDS for PostgreSQL</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XXXXXX</a:t>
                      </a:r>
                      <a:endParaRPr lang="ja-JP"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2270619158"/>
                  </a:ext>
                </a:extLst>
              </a:tr>
              <a:tr h="338114">
                <a:tc>
                  <a:txBody>
                    <a:bodyPr/>
                    <a:lstStyle/>
                    <a:p>
                      <a:pPr marL="0" marR="0" lvl="0" indent="0" algn="just" defTabSz="742950" rtl="0" eaLnBrk="1" fontAlgn="auto" latinLnBrk="0" hangingPunct="1">
                        <a:lnSpc>
                          <a:spcPct val="100000"/>
                        </a:lnSpc>
                        <a:spcBef>
                          <a:spcPts val="0"/>
                        </a:spcBef>
                        <a:spcAft>
                          <a:spcPts val="0"/>
                        </a:spcAft>
                        <a:buClrTx/>
                        <a:buSzTx/>
                        <a:buFontTx/>
                        <a:buNone/>
                        <a:tabLst/>
                        <a:defRPr/>
                      </a:pPr>
                      <a:r>
                        <a:rPr lang="en-US" altLang="ja-JP" sz="1400" kern="100">
                          <a:solidFill>
                            <a:srgbClr val="0070C0"/>
                          </a:solidFill>
                          <a:effectLst/>
                          <a:latin typeface="+mn-ea"/>
                          <a:ea typeface="+mn-ea"/>
                          <a:cs typeface="Meiryo UI" panose="020B0604030504040204" pitchFamily="50" charset="-128"/>
                        </a:rPr>
                        <a:t>NoSQL</a:t>
                      </a:r>
                      <a:endParaRPr lang="ja-JP" alt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MongoDB Atlas</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endParaRPr lang="ja-JP"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1352402600"/>
                  </a:ext>
                </a:extLst>
              </a:tr>
              <a:tr h="395507">
                <a:tc>
                  <a:txBody>
                    <a:bodyPr/>
                    <a:lstStyle/>
                    <a:p>
                      <a:pPr algn="just"/>
                      <a:r>
                        <a:rPr lang="en-US" altLang="ja-JP" sz="1400" kern="100">
                          <a:solidFill>
                            <a:srgbClr val="0070C0"/>
                          </a:solidFill>
                          <a:effectLst/>
                          <a:latin typeface="+mn-ea"/>
                          <a:ea typeface="+mn-ea"/>
                          <a:cs typeface="Meiryo UI" panose="020B0604030504040204" pitchFamily="50" charset="-128"/>
                        </a:rPr>
                        <a:t>WebGIS</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Mapribre, Deck.gl</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XXXXXX</a:t>
                      </a:r>
                      <a:endParaRPr lang="ja-JP"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2173848345"/>
                  </a:ext>
                </a:extLst>
              </a:tr>
              <a:tr h="338114">
                <a:tc>
                  <a:txBody>
                    <a:bodyPr/>
                    <a:lstStyle/>
                    <a:p>
                      <a:pPr algn="just"/>
                      <a:r>
                        <a:rPr lang="en-US" altLang="ja-JP" sz="1400" kern="100">
                          <a:solidFill>
                            <a:srgbClr val="0070C0"/>
                          </a:solidFill>
                          <a:effectLst/>
                          <a:latin typeface="+mn-ea"/>
                          <a:ea typeface="+mn-ea"/>
                          <a:cs typeface="Meiryo UI" panose="020B0604030504040204" pitchFamily="50" charset="-128"/>
                        </a:rPr>
                        <a:t>BI</a:t>
                      </a:r>
                      <a:r>
                        <a:rPr lang="ja-JP" altLang="en-US" sz="1400" kern="100">
                          <a:solidFill>
                            <a:srgbClr val="0070C0"/>
                          </a:solidFill>
                          <a:effectLst/>
                          <a:latin typeface="+mn-ea"/>
                          <a:ea typeface="+mn-ea"/>
                          <a:cs typeface="Meiryo UI" panose="020B0604030504040204" pitchFamily="50" charset="-128"/>
                        </a:rPr>
                        <a:t>ツール</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a:solidFill>
                            <a:srgbClr val="0070C0"/>
                          </a:solidFill>
                          <a:latin typeface="+mn-ea"/>
                          <a:ea typeface="+mn-ea"/>
                        </a:rPr>
                        <a:t>Tableau</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XXXXXX</a:t>
                      </a:r>
                      <a:endParaRPr lang="ja-JP"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3231779892"/>
                  </a:ext>
                </a:extLst>
              </a:tr>
              <a:tr h="338114">
                <a:tc>
                  <a:txBody>
                    <a:bodyPr/>
                    <a:lstStyle/>
                    <a:p>
                      <a:pPr algn="just"/>
                      <a:r>
                        <a:rPr lang="ja-JP" altLang="en-US" sz="1400" kern="100">
                          <a:solidFill>
                            <a:srgbClr val="0070C0"/>
                          </a:solidFill>
                          <a:effectLst/>
                          <a:latin typeface="+mn-ea"/>
                          <a:ea typeface="+mn-ea"/>
                          <a:cs typeface="Meiryo UI" panose="020B0604030504040204" pitchFamily="50" charset="-128"/>
                        </a:rPr>
                        <a:t>経路検索</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Mixway API</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endParaRPr lang="ja-JP" altLang="en-US"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3668803341"/>
                  </a:ext>
                </a:extLst>
              </a:tr>
              <a:tr h="338114">
                <a:tc>
                  <a:txBody>
                    <a:bodyPr/>
                    <a:lstStyle/>
                    <a:p>
                      <a:pPr algn="just"/>
                      <a:r>
                        <a:rPr lang="en-US" altLang="ja-JP" sz="1400" kern="100">
                          <a:solidFill>
                            <a:srgbClr val="0070C0"/>
                          </a:solidFill>
                          <a:effectLst/>
                          <a:latin typeface="+mn-ea"/>
                          <a:ea typeface="+mn-ea"/>
                          <a:cs typeface="Meiryo UI" panose="020B0604030504040204" pitchFamily="50" charset="-128"/>
                        </a:rPr>
                        <a:t>NW</a:t>
                      </a:r>
                      <a:r>
                        <a:rPr lang="ja-JP" altLang="en-US" sz="1400" kern="100">
                          <a:solidFill>
                            <a:srgbClr val="0070C0"/>
                          </a:solidFill>
                          <a:effectLst/>
                          <a:latin typeface="+mn-ea"/>
                          <a:ea typeface="+mn-ea"/>
                          <a:cs typeface="Meiryo UI" panose="020B0604030504040204" pitchFamily="50" charset="-128"/>
                        </a:rPr>
                        <a:t>検索</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NAVITIME API</a:t>
                      </a:r>
                    </a:p>
                  </a:txBody>
                  <a:tcPr marL="36195" marR="36195" marT="46800" marB="46800"/>
                </a:tc>
                <a:tc>
                  <a:txBody>
                    <a:bodyPr/>
                    <a:lstStyle/>
                    <a:p>
                      <a:pPr algn="just"/>
                      <a:endParaRPr lang="ja-JP" altLang="en-US"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430931605"/>
                  </a:ext>
                </a:extLst>
              </a:tr>
            </a:tbl>
          </a:graphicData>
        </a:graphic>
      </p:graphicFrame>
      <p:sp>
        <p:nvSpPr>
          <p:cNvPr id="4" name="テキスト ボックス 3">
            <a:extLst>
              <a:ext uri="{FF2B5EF4-FFF2-40B4-BE49-F238E27FC236}">
                <a16:creationId xmlns:a16="http://schemas.microsoft.com/office/drawing/2014/main" id="{137E167F-967C-A788-F2FB-6E0ACA20040F}"/>
              </a:ext>
            </a:extLst>
          </p:cNvPr>
          <p:cNvSpPr txBox="1"/>
          <p:nvPr/>
        </p:nvSpPr>
        <p:spPr>
          <a:xfrm>
            <a:off x="3028006" y="3816975"/>
            <a:ext cx="6135987" cy="2385668"/>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システム開発において、使用する技術スタックやツールを明示し、それらの機能を説明してください。</a:t>
            </a:r>
          </a:p>
        </p:txBody>
      </p:sp>
    </p:spTree>
    <p:extLst>
      <p:ext uri="{BB962C8B-B14F-4D97-AF65-F5344CB8AC3E}">
        <p14:creationId xmlns:p14="http://schemas.microsoft.com/office/powerpoint/2010/main" val="31427881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6" name="テキスト プレースホルダー 5">
            <a:extLst>
              <a:ext uri="{FF2B5EF4-FFF2-40B4-BE49-F238E27FC236}">
                <a16:creationId xmlns:a16="http://schemas.microsoft.com/office/drawing/2014/main" id="{B8A4D455-177B-0F48-C20A-E9924256F15C}"/>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2" name="テキスト プレースホルダー 1">
            <a:extLst>
              <a:ext uri="{FF2B5EF4-FFF2-40B4-BE49-F238E27FC236}">
                <a16:creationId xmlns:a16="http://schemas.microsoft.com/office/drawing/2014/main" id="{A45FDDD5-9A42-423D-9ED3-F19DD3567786}"/>
              </a:ext>
            </a:extLst>
          </p:cNvPr>
          <p:cNvSpPr>
            <a:spLocks noGrp="1"/>
          </p:cNvSpPr>
          <p:nvPr>
            <p:ph type="body" sz="quarter" idx="36"/>
          </p:nvPr>
        </p:nvSpPr>
        <p:spPr/>
        <p:txBody>
          <a:bodyPr/>
          <a:lstStyle/>
          <a:p>
            <a:r>
              <a:rPr lang="en-US" altLang="ja-JP"/>
              <a:t>Ⅲ.</a:t>
            </a:r>
            <a:r>
              <a:rPr lang="ja-JP" altLang="en-US"/>
              <a:t>モビリティデータの取得と活用</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８</a:t>
            </a:r>
            <a:r>
              <a:rPr lang="en-US" altLang="ja-JP"/>
              <a:t>.</a:t>
            </a:r>
            <a:r>
              <a:rPr lang="ja-JP" altLang="en-US"/>
              <a:t>利用するデータ一覧</a:t>
            </a:r>
          </a:p>
        </p:txBody>
      </p:sp>
      <p:graphicFrame>
        <p:nvGraphicFramePr>
          <p:cNvPr id="3" name="表 7">
            <a:extLst>
              <a:ext uri="{FF2B5EF4-FFF2-40B4-BE49-F238E27FC236}">
                <a16:creationId xmlns:a16="http://schemas.microsoft.com/office/drawing/2014/main" id="{B77AD93B-2184-6E7E-991B-6FFF513314DB}"/>
              </a:ext>
            </a:extLst>
          </p:cNvPr>
          <p:cNvGraphicFramePr>
            <a:graphicFrameLocks noGrp="1"/>
          </p:cNvGraphicFramePr>
          <p:nvPr>
            <p:extLst>
              <p:ext uri="{D42A27DB-BD31-4B8C-83A1-F6EECF244321}">
                <p14:modId xmlns:p14="http://schemas.microsoft.com/office/powerpoint/2010/main" val="1629424657"/>
              </p:ext>
            </p:extLst>
          </p:nvPr>
        </p:nvGraphicFramePr>
        <p:xfrm>
          <a:off x="384985" y="1693963"/>
          <a:ext cx="11439466" cy="4687223"/>
        </p:xfrm>
        <a:graphic>
          <a:graphicData uri="http://schemas.openxmlformats.org/drawingml/2006/table">
            <a:tbl>
              <a:tblPr/>
              <a:tblGrid>
                <a:gridCol w="1399748">
                  <a:extLst>
                    <a:ext uri="{9D8B030D-6E8A-4147-A177-3AD203B41FA5}">
                      <a16:colId xmlns:a16="http://schemas.microsoft.com/office/drawing/2014/main" val="564283603"/>
                    </a:ext>
                  </a:extLst>
                </a:gridCol>
                <a:gridCol w="1729648">
                  <a:extLst>
                    <a:ext uri="{9D8B030D-6E8A-4147-A177-3AD203B41FA5}">
                      <a16:colId xmlns:a16="http://schemas.microsoft.com/office/drawing/2014/main" val="1942113200"/>
                    </a:ext>
                  </a:extLst>
                </a:gridCol>
                <a:gridCol w="2688115">
                  <a:extLst>
                    <a:ext uri="{9D8B030D-6E8A-4147-A177-3AD203B41FA5}">
                      <a16:colId xmlns:a16="http://schemas.microsoft.com/office/drawing/2014/main" val="1885849142"/>
                    </a:ext>
                  </a:extLst>
                </a:gridCol>
                <a:gridCol w="5621955">
                  <a:extLst>
                    <a:ext uri="{9D8B030D-6E8A-4147-A177-3AD203B41FA5}">
                      <a16:colId xmlns:a16="http://schemas.microsoft.com/office/drawing/2014/main" val="115040276"/>
                    </a:ext>
                  </a:extLst>
                </a:gridCol>
              </a:tblGrid>
              <a:tr h="292264">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ja-JP" altLang="en-US" sz="1050" b="1">
                          <a:latin typeface="+mn-ea"/>
                          <a:ea typeface="+mn-ea"/>
                        </a:rPr>
                        <a:t>利用するデータ</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ja-JP" altLang="en-US" sz="1050" b="1">
                          <a:latin typeface="+mn-ea"/>
                          <a:ea typeface="+mn-ea"/>
                        </a:rPr>
                        <a:t>交通モード</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ja-JP" altLang="en-US" sz="1050" b="1">
                          <a:latin typeface="+mn-ea"/>
                          <a:ea typeface="+mn-ea"/>
                        </a:rPr>
                        <a:t>データの種類</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ja-JP" altLang="en-US" sz="1050" b="1">
                          <a:latin typeface="+mn-ea"/>
                          <a:ea typeface="+mn-ea"/>
                        </a:rPr>
                        <a:t>取得の方法</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419378519"/>
                  </a:ext>
                </a:extLst>
              </a:tr>
              <a:tr h="292264">
                <a:tc rowSpan="9">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ja-JP" altLang="en-US" sz="1050">
                          <a:solidFill>
                            <a:srgbClr val="0070C0"/>
                          </a:solidFill>
                          <a:latin typeface="+mn-ea"/>
                          <a:ea typeface="+mn-ea"/>
                        </a:rPr>
                        <a:t>モビリティデータ</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ja-JP" altLang="en-US" sz="1050">
                          <a:solidFill>
                            <a:srgbClr val="0070C0"/>
                          </a:solidFill>
                          <a:latin typeface="+mn-ea"/>
                          <a:ea typeface="+mn-ea"/>
                        </a:rPr>
                        <a:t>○○電鉄</a:t>
                      </a:r>
                      <a:endParaRPr kumimoji="1" lang="en-US" altLang="ja-JP"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1050">
                          <a:solidFill>
                            <a:srgbClr val="0070C0"/>
                          </a:solidFill>
                          <a:latin typeface="+mn-ea"/>
                          <a:ea typeface="+mn-ea"/>
                        </a:rPr>
                        <a:t>IC</a:t>
                      </a:r>
                      <a:r>
                        <a:rPr kumimoji="1" lang="ja-JP" altLang="en-US" sz="1050">
                          <a:solidFill>
                            <a:srgbClr val="0070C0"/>
                          </a:solidFill>
                          <a:latin typeface="+mn-ea"/>
                          <a:ea typeface="+mn-ea"/>
                        </a:rPr>
                        <a:t>カード利用実績データ</a:t>
                      </a:r>
                      <a:endParaRPr kumimoji="1" lang="en-US" altLang="ja-JP"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lang="en-US" altLang="ja-JP" sz="1050">
                          <a:solidFill>
                            <a:srgbClr val="0070C0"/>
                          </a:solidFill>
                          <a:latin typeface="BIZ UDPゴシック"/>
                          <a:ea typeface="+mn-ea"/>
                        </a:rPr>
                        <a:t>XX</a:t>
                      </a:r>
                      <a:r>
                        <a:rPr lang="ja-JP" altLang="en-US" sz="1050">
                          <a:solidFill>
                            <a:srgbClr val="0070C0"/>
                          </a:solidFill>
                          <a:latin typeface="BIZ UDPゴシック"/>
                          <a:ea typeface="+mn-ea"/>
                        </a:rPr>
                        <a:t>交通が運用する</a:t>
                      </a:r>
                      <a:r>
                        <a:rPr lang="en-US" altLang="ja-JP" sz="1050">
                          <a:solidFill>
                            <a:srgbClr val="0070C0"/>
                          </a:solidFill>
                          <a:latin typeface="BIZ UDPゴシック"/>
                          <a:ea typeface="+mn-ea"/>
                        </a:rPr>
                        <a:t>IC</a:t>
                      </a:r>
                      <a:r>
                        <a:rPr lang="ja-JP" altLang="en-US" sz="1050">
                          <a:solidFill>
                            <a:srgbClr val="0070C0"/>
                          </a:solidFill>
                          <a:latin typeface="BIZ UDPゴシック"/>
                          <a:ea typeface="+mn-ea"/>
                        </a:rPr>
                        <a:t>カード管理システムから取得（手作業）</a:t>
                      </a:r>
                      <a:endParaRPr kumimoji="1" lang="en-US" altLang="ja-JP"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94776207"/>
                  </a:ext>
                </a:extLst>
              </a:tr>
              <a:tr h="292264">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ja-JP" altLang="en-US" sz="1050">
                          <a:solidFill>
                            <a:srgbClr val="0070C0"/>
                          </a:solidFill>
                          <a:latin typeface="+mn-ea"/>
                          <a:ea typeface="+mn-ea"/>
                        </a:rPr>
                        <a:t>オンデマンドバス</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ja-JP" altLang="en-US" sz="1050">
                          <a:solidFill>
                            <a:srgbClr val="0070C0"/>
                          </a:solidFill>
                          <a:latin typeface="+mn-ea"/>
                          <a:ea typeface="+mn-ea"/>
                        </a:rPr>
                        <a:t>運行日報（乗降実績）</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lang="en-US" altLang="ja-JP" sz="1050">
                          <a:solidFill>
                            <a:srgbClr val="0070C0"/>
                          </a:solidFill>
                          <a:latin typeface="BIZ UDPゴシック"/>
                          <a:ea typeface="+mn-ea"/>
                        </a:rPr>
                        <a:t>YY</a:t>
                      </a:r>
                      <a:r>
                        <a:rPr lang="ja-JP" altLang="en-US" sz="1050">
                          <a:solidFill>
                            <a:srgbClr val="0070C0"/>
                          </a:solidFill>
                          <a:latin typeface="BIZ UDPゴシック"/>
                          <a:ea typeface="+mn-ea"/>
                        </a:rPr>
                        <a:t>デマンドを運行する</a:t>
                      </a:r>
                      <a:r>
                        <a:rPr lang="en-US" altLang="ja-JP" sz="1050">
                          <a:solidFill>
                            <a:srgbClr val="0070C0"/>
                          </a:solidFill>
                          <a:latin typeface="BIZ UDPゴシック"/>
                          <a:ea typeface="+mn-ea"/>
                        </a:rPr>
                        <a:t>YY</a:t>
                      </a:r>
                      <a:r>
                        <a:rPr lang="ja-JP" altLang="en-US" sz="1050">
                          <a:solidFill>
                            <a:srgbClr val="0070C0"/>
                          </a:solidFill>
                          <a:latin typeface="BIZ UDPゴシック"/>
                          <a:ea typeface="+mn-ea"/>
                        </a:rPr>
                        <a:t>市からメールでスキャンデータを入手</a:t>
                      </a:r>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44902017"/>
                  </a:ext>
                </a:extLst>
              </a:tr>
              <a:tr h="292264">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1050">
                          <a:solidFill>
                            <a:srgbClr val="0070C0"/>
                          </a:solidFill>
                          <a:latin typeface="+mn-ea"/>
                          <a:ea typeface="+mn-ea"/>
                        </a:rPr>
                        <a:t>YY</a:t>
                      </a:r>
                      <a:r>
                        <a:rPr kumimoji="1" lang="ja-JP" altLang="en-US" sz="1050">
                          <a:solidFill>
                            <a:srgbClr val="0070C0"/>
                          </a:solidFill>
                          <a:latin typeface="+mn-ea"/>
                          <a:ea typeface="+mn-ea"/>
                        </a:rPr>
                        <a:t>バス</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ja-JP" altLang="en-US" sz="1050">
                          <a:solidFill>
                            <a:srgbClr val="0070C0"/>
                          </a:solidFill>
                          <a:latin typeface="+mn-ea"/>
                          <a:ea typeface="+mn-ea"/>
                        </a:rPr>
                        <a:t>一件明細データ（車載器より取得）</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lang="en-US" altLang="ja-JP" sz="1050">
                          <a:solidFill>
                            <a:srgbClr val="0070C0"/>
                          </a:solidFill>
                          <a:latin typeface="BIZ UDPゴシック"/>
                          <a:ea typeface="+mn-ea"/>
                        </a:rPr>
                        <a:t>YY</a:t>
                      </a:r>
                      <a:r>
                        <a:rPr lang="ja-JP" altLang="en-US" sz="1050">
                          <a:solidFill>
                            <a:srgbClr val="0070C0"/>
                          </a:solidFill>
                          <a:latin typeface="BIZ UDPゴシック"/>
                          <a:ea typeface="+mn-ea"/>
                        </a:rPr>
                        <a:t>バスが運行するデータ管理システムと</a:t>
                      </a:r>
                      <a:r>
                        <a:rPr lang="en-US" altLang="ja-JP" sz="1050">
                          <a:solidFill>
                            <a:srgbClr val="0070C0"/>
                          </a:solidFill>
                          <a:latin typeface="BIZ UDPゴシック"/>
                          <a:ea typeface="+mn-ea"/>
                        </a:rPr>
                        <a:t>YY</a:t>
                      </a:r>
                      <a:r>
                        <a:rPr lang="ja-JP" altLang="en-US" sz="1050">
                          <a:solidFill>
                            <a:srgbClr val="0070C0"/>
                          </a:solidFill>
                          <a:latin typeface="BIZ UDPゴシック"/>
                          <a:ea typeface="+mn-ea"/>
                        </a:rPr>
                        <a:t>データ分析システムを</a:t>
                      </a:r>
                      <a:r>
                        <a:rPr lang="en-US" altLang="ja-JP" sz="1050">
                          <a:solidFill>
                            <a:srgbClr val="0070C0"/>
                          </a:solidFill>
                          <a:latin typeface="BIZ UDPゴシック"/>
                          <a:ea typeface="+mn-ea"/>
                        </a:rPr>
                        <a:t>API</a:t>
                      </a:r>
                      <a:r>
                        <a:rPr lang="ja-JP" altLang="en-US" sz="1050">
                          <a:solidFill>
                            <a:srgbClr val="0070C0"/>
                          </a:solidFill>
                          <a:latin typeface="BIZ UDPゴシック"/>
                          <a:ea typeface="+mn-ea"/>
                        </a:rPr>
                        <a:t>連携し、毎日</a:t>
                      </a:r>
                      <a:r>
                        <a:rPr lang="en-US" altLang="ja-JP" sz="1050">
                          <a:solidFill>
                            <a:srgbClr val="0070C0"/>
                          </a:solidFill>
                          <a:latin typeface="BIZ UDPゴシック"/>
                          <a:ea typeface="+mn-ea"/>
                        </a:rPr>
                        <a:t>1</a:t>
                      </a:r>
                      <a:r>
                        <a:rPr lang="ja-JP" altLang="en-US" sz="1050">
                          <a:solidFill>
                            <a:srgbClr val="0070C0"/>
                          </a:solidFill>
                          <a:latin typeface="BIZ UDPゴシック"/>
                          <a:ea typeface="+mn-ea"/>
                        </a:rPr>
                        <a:t>回取得</a:t>
                      </a:r>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16460124"/>
                  </a:ext>
                </a:extLst>
              </a:tr>
              <a:tr h="292264">
                <a:tc vMerge="1">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1050">
                          <a:solidFill>
                            <a:srgbClr val="0070C0"/>
                          </a:solidFill>
                          <a:latin typeface="+mn-ea"/>
                          <a:ea typeface="+mn-ea"/>
                        </a:rPr>
                        <a:t>XX</a:t>
                      </a:r>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1050">
                          <a:solidFill>
                            <a:srgbClr val="0070C0"/>
                          </a:solidFill>
                          <a:latin typeface="+mn-ea"/>
                          <a:ea typeface="+mn-ea"/>
                        </a:rPr>
                        <a:t>XX</a:t>
                      </a:r>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1050">
                          <a:solidFill>
                            <a:srgbClr val="0070C0"/>
                          </a:solidFill>
                          <a:latin typeface="+mn-ea"/>
                          <a:ea typeface="+mn-ea"/>
                        </a:rPr>
                        <a:t>XXXXX</a:t>
                      </a:r>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93169486"/>
                  </a:ext>
                </a:extLst>
              </a:tr>
              <a:tr h="292264">
                <a:tc vMerge="1">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1050">
                          <a:solidFill>
                            <a:srgbClr val="0070C0"/>
                          </a:solidFill>
                          <a:latin typeface="+mn-ea"/>
                          <a:ea typeface="+mn-ea"/>
                        </a:rPr>
                        <a:t>XX</a:t>
                      </a:r>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1050">
                          <a:solidFill>
                            <a:srgbClr val="0070C0"/>
                          </a:solidFill>
                          <a:latin typeface="+mn-ea"/>
                          <a:ea typeface="+mn-ea"/>
                        </a:rPr>
                        <a:t>XX</a:t>
                      </a:r>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1050">
                          <a:solidFill>
                            <a:srgbClr val="0070C0"/>
                          </a:solidFill>
                          <a:latin typeface="+mn-ea"/>
                          <a:ea typeface="+mn-ea"/>
                        </a:rPr>
                        <a:t>XXXX</a:t>
                      </a:r>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73881322"/>
                  </a:ext>
                </a:extLst>
              </a:tr>
              <a:tr h="292264">
                <a:tc vMerge="1">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59306483"/>
                  </a:ext>
                </a:extLst>
              </a:tr>
              <a:tr h="292264">
                <a:tc vMerge="1">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37425624"/>
                  </a:ext>
                </a:extLst>
              </a:tr>
              <a:tr h="292264">
                <a:tc vMerge="1">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68969708"/>
                  </a:ext>
                </a:extLst>
              </a:tr>
              <a:tr h="292264">
                <a:tc vMerge="1">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01375934"/>
                  </a:ext>
                </a:extLst>
              </a:tr>
              <a:tr h="292264">
                <a:tc rowSpan="6">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ja-JP" altLang="en-US" sz="1050">
                          <a:solidFill>
                            <a:srgbClr val="0070C0"/>
                          </a:solidFill>
                          <a:latin typeface="+mn-ea"/>
                          <a:ea typeface="+mn-ea"/>
                        </a:rPr>
                        <a:t>その他</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1050">
                          <a:solidFill>
                            <a:srgbClr val="0070C0"/>
                          </a:solidFill>
                          <a:latin typeface="+mn-ea"/>
                          <a:ea typeface="+mn-ea"/>
                        </a:rPr>
                        <a:t>-</a:t>
                      </a:r>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ja-JP" altLang="en-US" sz="1050">
                          <a:solidFill>
                            <a:srgbClr val="0070C0"/>
                          </a:solidFill>
                          <a:latin typeface="+mn-ea"/>
                          <a:ea typeface="+mn-ea"/>
                        </a:rPr>
                        <a:t>人流データ</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ja-JP" altLang="en-US" sz="1050">
                          <a:solidFill>
                            <a:srgbClr val="0070C0"/>
                          </a:solidFill>
                          <a:latin typeface="+mn-ea"/>
                          <a:ea typeface="+mn-ea"/>
                        </a:rPr>
                        <a:t>ＧＰＳ</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37371140"/>
                  </a:ext>
                </a:extLst>
              </a:tr>
              <a:tr h="292264">
                <a:tc vMerge="1">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1050">
                          <a:solidFill>
                            <a:srgbClr val="0070C0"/>
                          </a:solidFill>
                          <a:latin typeface="+mn-ea"/>
                          <a:ea typeface="+mn-ea"/>
                        </a:rPr>
                        <a:t>-</a:t>
                      </a:r>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ja-JP" altLang="en-US" sz="1050">
                          <a:solidFill>
                            <a:srgbClr val="0070C0"/>
                          </a:solidFill>
                          <a:latin typeface="+mn-ea"/>
                          <a:ea typeface="+mn-ea"/>
                        </a:rPr>
                        <a:t>アプリ利用者の観光消費データ</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ja-JP" altLang="en-US" sz="1050">
                          <a:solidFill>
                            <a:srgbClr val="0070C0"/>
                          </a:solidFill>
                          <a:latin typeface="+mn-ea"/>
                          <a:ea typeface="+mn-ea"/>
                        </a:rPr>
                        <a:t>アプリ上で購入されたデジタルチケットのクーポン使用履歴より入手</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9121443"/>
                  </a:ext>
                </a:extLst>
              </a:tr>
              <a:tr h="303263">
                <a:tc vMerge="1">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1050">
                          <a:solidFill>
                            <a:srgbClr val="0070C0"/>
                          </a:solidFill>
                          <a:latin typeface="+mn-ea"/>
                          <a:ea typeface="+mn-ea"/>
                        </a:rPr>
                        <a:t>-</a:t>
                      </a:r>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32076460"/>
                  </a:ext>
                </a:extLst>
              </a:tr>
              <a:tr h="292264">
                <a:tc vMerge="1">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1050">
                          <a:solidFill>
                            <a:srgbClr val="0070C0"/>
                          </a:solidFill>
                          <a:latin typeface="+mn-ea"/>
                          <a:ea typeface="+mn-ea"/>
                        </a:rPr>
                        <a:t>-</a:t>
                      </a:r>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42927184"/>
                  </a:ext>
                </a:extLst>
              </a:tr>
              <a:tr h="292264">
                <a:tc vMerge="1">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1050">
                          <a:solidFill>
                            <a:srgbClr val="0070C0"/>
                          </a:solidFill>
                          <a:latin typeface="+mn-ea"/>
                          <a:ea typeface="+mn-ea"/>
                        </a:rPr>
                        <a:t>-</a:t>
                      </a:r>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93254437"/>
                  </a:ext>
                </a:extLst>
              </a:tr>
              <a:tr h="292264">
                <a:tc vMerge="1">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1050">
                          <a:solidFill>
                            <a:srgbClr val="0070C0"/>
                          </a:solidFill>
                          <a:latin typeface="+mn-ea"/>
                          <a:ea typeface="+mn-ea"/>
                        </a:rPr>
                        <a:t>-</a:t>
                      </a:r>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804760456"/>
                  </a:ext>
                </a:extLst>
              </a:tr>
            </a:tbl>
          </a:graphicData>
        </a:graphic>
      </p:graphicFrame>
      <p:sp>
        <p:nvSpPr>
          <p:cNvPr id="4" name="テキスト ボックス 3">
            <a:extLst>
              <a:ext uri="{FF2B5EF4-FFF2-40B4-BE49-F238E27FC236}">
                <a16:creationId xmlns:a16="http://schemas.microsoft.com/office/drawing/2014/main" id="{9C70D182-E3ED-833A-2988-C7FDBE46B5C2}"/>
              </a:ext>
            </a:extLst>
          </p:cNvPr>
          <p:cNvSpPr txBox="1"/>
          <p:nvPr/>
        </p:nvSpPr>
        <p:spPr>
          <a:xfrm>
            <a:off x="3028006" y="3816975"/>
            <a:ext cx="6135987" cy="2385668"/>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データ分析において利用するデータの一覧を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kern="0">
                <a:solidFill>
                  <a:srgbClr val="FFFFFF"/>
                </a:solidFill>
              </a:rPr>
              <a:t>取得方法（キャッシュ列端末、ユーザー管理システム、目視カウント等）を明記するとともに、データ分析システムへの投入方法（手作業によるインポート、</a:t>
            </a:r>
            <a:r>
              <a:rPr kumimoji="0" lang="en-US" altLang="ja-JP" sz="1400" kern="0">
                <a:solidFill>
                  <a:srgbClr val="FFFFFF"/>
                </a:solidFill>
              </a:rPr>
              <a:t>API</a:t>
            </a:r>
            <a:r>
              <a:rPr kumimoji="0" lang="ja-JP" altLang="en-US" sz="1400" kern="0">
                <a:solidFill>
                  <a:srgbClr val="FFFFFF"/>
                </a:solidFill>
              </a:rPr>
              <a:t>等のインターフェースによる自動取得など）を明確にしてください。</a:t>
            </a:r>
            <a:endParaRPr kumimoji="0" lang="ja-JP" altLang="en-US"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327810650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6" name="テキスト プレースホルダー 5">
            <a:extLst>
              <a:ext uri="{FF2B5EF4-FFF2-40B4-BE49-F238E27FC236}">
                <a16:creationId xmlns:a16="http://schemas.microsoft.com/office/drawing/2014/main" id="{B8A4D455-177B-0F48-C20A-E9924256F15C}"/>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2" name="テキスト プレースホルダー 1">
            <a:extLst>
              <a:ext uri="{FF2B5EF4-FFF2-40B4-BE49-F238E27FC236}">
                <a16:creationId xmlns:a16="http://schemas.microsoft.com/office/drawing/2014/main" id="{A45FDDD5-9A42-423D-9ED3-F19DD3567786}"/>
              </a:ext>
            </a:extLst>
          </p:cNvPr>
          <p:cNvSpPr>
            <a:spLocks noGrp="1"/>
          </p:cNvSpPr>
          <p:nvPr>
            <p:ph type="body" sz="quarter" idx="36"/>
          </p:nvPr>
        </p:nvSpPr>
        <p:spPr/>
        <p:txBody>
          <a:bodyPr/>
          <a:lstStyle/>
          <a:p>
            <a:r>
              <a:rPr lang="en-US" altLang="ja-JP"/>
              <a:t>Ⅲ.</a:t>
            </a:r>
            <a:r>
              <a:rPr lang="ja-JP" altLang="en-US"/>
              <a:t>モビリティデータの取得と活用</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８</a:t>
            </a:r>
            <a:r>
              <a:rPr lang="en-US" altLang="ja-JP"/>
              <a:t>.</a:t>
            </a:r>
            <a:r>
              <a:rPr lang="ja-JP" altLang="en-US"/>
              <a:t>利用するデータ一覧 │ 各データ仕様</a:t>
            </a:r>
          </a:p>
        </p:txBody>
      </p:sp>
      <p:graphicFrame>
        <p:nvGraphicFramePr>
          <p:cNvPr id="3" name="表 7">
            <a:extLst>
              <a:ext uri="{FF2B5EF4-FFF2-40B4-BE49-F238E27FC236}">
                <a16:creationId xmlns:a16="http://schemas.microsoft.com/office/drawing/2014/main" id="{B77AD93B-2184-6E7E-991B-6FFF513314DB}"/>
              </a:ext>
            </a:extLst>
          </p:cNvPr>
          <p:cNvGraphicFramePr>
            <a:graphicFrameLocks noGrp="1"/>
          </p:cNvGraphicFramePr>
          <p:nvPr>
            <p:extLst>
              <p:ext uri="{D42A27DB-BD31-4B8C-83A1-F6EECF244321}">
                <p14:modId xmlns:p14="http://schemas.microsoft.com/office/powerpoint/2010/main" val="1028354955"/>
              </p:ext>
            </p:extLst>
          </p:nvPr>
        </p:nvGraphicFramePr>
        <p:xfrm>
          <a:off x="300779" y="2086229"/>
          <a:ext cx="3789959" cy="3169920"/>
        </p:xfrm>
        <a:graphic>
          <a:graphicData uri="http://schemas.openxmlformats.org/drawingml/2006/table">
            <a:tbl>
              <a:tblPr/>
              <a:tblGrid>
                <a:gridCol w="360217">
                  <a:extLst>
                    <a:ext uri="{9D8B030D-6E8A-4147-A177-3AD203B41FA5}">
                      <a16:colId xmlns:a16="http://schemas.microsoft.com/office/drawing/2014/main" val="1885849142"/>
                    </a:ext>
                  </a:extLst>
                </a:gridCol>
                <a:gridCol w="686543">
                  <a:extLst>
                    <a:ext uri="{9D8B030D-6E8A-4147-A177-3AD203B41FA5}">
                      <a16:colId xmlns:a16="http://schemas.microsoft.com/office/drawing/2014/main" val="385655003"/>
                    </a:ext>
                  </a:extLst>
                </a:gridCol>
                <a:gridCol w="686543">
                  <a:extLst>
                    <a:ext uri="{9D8B030D-6E8A-4147-A177-3AD203B41FA5}">
                      <a16:colId xmlns:a16="http://schemas.microsoft.com/office/drawing/2014/main" val="3553083660"/>
                    </a:ext>
                  </a:extLst>
                </a:gridCol>
                <a:gridCol w="686543">
                  <a:extLst>
                    <a:ext uri="{9D8B030D-6E8A-4147-A177-3AD203B41FA5}">
                      <a16:colId xmlns:a16="http://schemas.microsoft.com/office/drawing/2014/main" val="1499113489"/>
                    </a:ext>
                  </a:extLst>
                </a:gridCol>
                <a:gridCol w="686543">
                  <a:extLst>
                    <a:ext uri="{9D8B030D-6E8A-4147-A177-3AD203B41FA5}">
                      <a16:colId xmlns:a16="http://schemas.microsoft.com/office/drawing/2014/main" val="304277677"/>
                    </a:ext>
                  </a:extLst>
                </a:gridCol>
                <a:gridCol w="341785">
                  <a:extLst>
                    <a:ext uri="{9D8B030D-6E8A-4147-A177-3AD203B41FA5}">
                      <a16:colId xmlns:a16="http://schemas.microsoft.com/office/drawing/2014/main" val="3064648371"/>
                    </a:ext>
                  </a:extLst>
                </a:gridCol>
                <a:gridCol w="341785">
                  <a:extLst>
                    <a:ext uri="{9D8B030D-6E8A-4147-A177-3AD203B41FA5}">
                      <a16:colId xmlns:a16="http://schemas.microsoft.com/office/drawing/2014/main" val="1797962041"/>
                    </a:ext>
                  </a:extLst>
                </a:gridCol>
              </a:tblGrid>
              <a:tr h="0">
                <a:tc gridSpan="7">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kern="1200">
                          <a:solidFill>
                            <a:srgbClr val="0070C0"/>
                          </a:solidFill>
                          <a:latin typeface="+mn-ea"/>
                          <a:ea typeface="BIZ UDPゴシック"/>
                          <a:cs typeface="+mn-cs"/>
                        </a:rPr>
                        <a:t>IC</a:t>
                      </a:r>
                      <a:r>
                        <a:rPr kumimoji="1" lang="ja-JP" altLang="en-US" sz="700" kern="1200">
                          <a:solidFill>
                            <a:srgbClr val="0070C0"/>
                          </a:solidFill>
                          <a:latin typeface="+mn-ea"/>
                          <a:ea typeface="BIZ UDPゴシック"/>
                          <a:cs typeface="+mn-cs"/>
                        </a:rPr>
                        <a:t>カード利用実績データ</a:t>
                      </a:r>
                      <a:endParaRPr kumimoji="1" lang="en-US" altLang="ja-JP" sz="700" kern="1200">
                        <a:solidFill>
                          <a:srgbClr val="0070C0"/>
                        </a:solidFill>
                        <a:latin typeface="+mn-ea"/>
                        <a:ea typeface="BIZ UDPゴシック"/>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hMerge="1">
                  <a:txBody>
                    <a:bodyPr/>
                    <a:lstStyle/>
                    <a:p>
                      <a:endParaRPr kumimoji="1" lang="en-US" altLang="ja-JP" sz="1050" kern="1200">
                        <a:solidFill>
                          <a:srgbClr val="0070C0"/>
                        </a:solidFill>
                        <a:latin typeface="+mn-ea"/>
                        <a:ea typeface="BIZ UDPゴシック"/>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hMerge="1">
                  <a:txBody>
                    <a:bodyPr/>
                    <a:lstStyle/>
                    <a:p>
                      <a:endParaRPr kumimoji="1" lang="en-US" altLang="ja-JP" sz="1050" kern="1200">
                        <a:solidFill>
                          <a:srgbClr val="0070C0"/>
                        </a:solidFill>
                        <a:latin typeface="+mn-ea"/>
                        <a:ea typeface="BIZ UDPゴシック"/>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en-US" altLang="ja-JP" sz="1050" kern="1200">
                        <a:solidFill>
                          <a:srgbClr val="0070C0"/>
                        </a:solidFill>
                        <a:latin typeface="+mn-ea"/>
                        <a:ea typeface="BIZ UDPゴシック"/>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hMerge="1">
                  <a:txBody>
                    <a:bodyPr/>
                    <a:lstStyle/>
                    <a:p>
                      <a:endParaRPr kumimoji="1" lang="en-US" altLang="ja-JP" sz="700" kern="1200">
                        <a:solidFill>
                          <a:srgbClr val="0070C0"/>
                        </a:solidFill>
                        <a:latin typeface="+mn-ea"/>
                        <a:ea typeface="BIZ UDPゴシック"/>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419378519"/>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ja-JP" altLang="en-US" sz="700">
                          <a:solidFill>
                            <a:srgbClr val="0070C0"/>
                          </a:solidFill>
                          <a:latin typeface="+mn-ea"/>
                          <a:ea typeface="+mn-ea"/>
                        </a:rPr>
                        <a:t>論理名</a:t>
                      </a:r>
                      <a:endParaRPr kumimoji="1" lang="en-US" altLang="ja-JP"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ja-JP" altLang="en-US" sz="700">
                          <a:solidFill>
                            <a:srgbClr val="0070C0"/>
                          </a:solidFill>
                          <a:latin typeface="+mn-ea"/>
                          <a:ea typeface="+mn-ea"/>
                        </a:rPr>
                        <a:t>物理名</a:t>
                      </a:r>
                      <a:endParaRPr kumimoji="1" lang="en-US" altLang="ja-JP"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ja-JP" altLang="en-US" sz="700">
                          <a:solidFill>
                            <a:srgbClr val="0070C0"/>
                          </a:solidFill>
                          <a:latin typeface="+mn-ea"/>
                          <a:ea typeface="+mn-ea"/>
                        </a:rPr>
                        <a:t>データ型</a:t>
                      </a:r>
                      <a:endParaRPr kumimoji="1" lang="en-US" altLang="ja-JP"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en-US" altLang="ja-JP" sz="700">
                          <a:solidFill>
                            <a:srgbClr val="0070C0"/>
                          </a:solidFill>
                          <a:latin typeface="+mn-ea"/>
                          <a:ea typeface="+mn-ea"/>
                        </a:rPr>
                        <a:t>NOTNULL</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en-US" altLang="ja-JP" sz="700">
                          <a:solidFill>
                            <a:srgbClr val="0070C0"/>
                          </a:solidFill>
                          <a:latin typeface="+mn-ea"/>
                          <a:ea typeface="+mn-ea"/>
                        </a:rPr>
                        <a:t>PK</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en-US" altLang="ja-JP" sz="700">
                          <a:solidFill>
                            <a:srgbClr val="0070C0"/>
                          </a:solidFill>
                          <a:latin typeface="+mn-ea"/>
                          <a:ea typeface="+mn-ea"/>
                        </a:rPr>
                        <a:t>FK</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extLst>
                  <a:ext uri="{0D108BD9-81ED-4DB2-BD59-A6C34878D82A}">
                    <a16:rowId xmlns:a16="http://schemas.microsoft.com/office/drawing/2014/main" val="2894776207"/>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1</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ユーザー</a:t>
                      </a:r>
                      <a:r>
                        <a:rPr kumimoji="1" lang="en-US" altLang="ja-JP" sz="700">
                          <a:solidFill>
                            <a:srgbClr val="0070C0"/>
                          </a:solidFill>
                          <a:latin typeface="+mn-ea"/>
                          <a:ea typeface="+mn-ea"/>
                        </a:rPr>
                        <a: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u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STRING</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〇</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〇</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44902017"/>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2</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年月日</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date</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DATE</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16460124"/>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3</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カードタイプ</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type</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93169486"/>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4</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乗車駅</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getst</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STRING</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73881322"/>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5</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乗車駅</a:t>
                      </a:r>
                      <a:r>
                        <a:rPr kumimoji="1" lang="en-US" altLang="ja-JP" sz="700">
                          <a:solidFill>
                            <a:srgbClr val="0070C0"/>
                          </a:solidFill>
                          <a:latin typeface="+mn-ea"/>
                          <a:ea typeface="+mn-ea"/>
                        </a:rPr>
                        <a: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gests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59306483"/>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6</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降車駅</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getoff</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STRING</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37425624"/>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7</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降車駅</a:t>
                      </a:r>
                      <a:r>
                        <a:rPr kumimoji="1" lang="en-US" altLang="ja-JP" sz="700">
                          <a:solidFill>
                            <a:srgbClr val="0070C0"/>
                          </a:solidFill>
                          <a:latin typeface="+mn-ea"/>
                          <a:ea typeface="+mn-ea"/>
                        </a:rPr>
                        <a: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getoff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68969708"/>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8</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系統</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trip</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STRING</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01375934"/>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9</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系統</a:t>
                      </a:r>
                      <a:r>
                        <a:rPr kumimoji="1" lang="en-US" altLang="ja-JP" sz="700">
                          <a:solidFill>
                            <a:srgbClr val="0070C0"/>
                          </a:solidFill>
                          <a:latin typeface="+mn-ea"/>
                          <a:ea typeface="+mn-ea"/>
                        </a:rPr>
                        <a: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trip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37371140"/>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10</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車両</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bus</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9121443"/>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11</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車両</a:t>
                      </a:r>
                      <a:r>
                        <a:rPr kumimoji="1" lang="en-US" altLang="ja-JP" sz="700">
                          <a:solidFill>
                            <a:srgbClr val="0070C0"/>
                          </a:solidFill>
                          <a:latin typeface="+mn-ea"/>
                          <a:ea typeface="+mn-ea"/>
                        </a:rPr>
                        <a: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bus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32076460"/>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12</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定期券</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pass</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BOOLEAN</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42927184"/>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13</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引去り額</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amount</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FLOAT</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93254437"/>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804760456"/>
                  </a:ext>
                </a:extLst>
              </a:tr>
            </a:tbl>
          </a:graphicData>
        </a:graphic>
      </p:graphicFrame>
      <p:graphicFrame>
        <p:nvGraphicFramePr>
          <p:cNvPr id="10" name="表 7">
            <a:extLst>
              <a:ext uri="{FF2B5EF4-FFF2-40B4-BE49-F238E27FC236}">
                <a16:creationId xmlns:a16="http://schemas.microsoft.com/office/drawing/2014/main" id="{C5F6DA09-76D6-B10B-361F-04956F79EDE5}"/>
              </a:ext>
            </a:extLst>
          </p:cNvPr>
          <p:cNvGraphicFramePr>
            <a:graphicFrameLocks noGrp="1"/>
          </p:cNvGraphicFramePr>
          <p:nvPr>
            <p:extLst>
              <p:ext uri="{D42A27DB-BD31-4B8C-83A1-F6EECF244321}">
                <p14:modId xmlns:p14="http://schemas.microsoft.com/office/powerpoint/2010/main" val="3608060427"/>
              </p:ext>
            </p:extLst>
          </p:nvPr>
        </p:nvGraphicFramePr>
        <p:xfrm>
          <a:off x="4201019" y="2086229"/>
          <a:ext cx="3789959" cy="3169920"/>
        </p:xfrm>
        <a:graphic>
          <a:graphicData uri="http://schemas.openxmlformats.org/drawingml/2006/table">
            <a:tbl>
              <a:tblPr/>
              <a:tblGrid>
                <a:gridCol w="360217">
                  <a:extLst>
                    <a:ext uri="{9D8B030D-6E8A-4147-A177-3AD203B41FA5}">
                      <a16:colId xmlns:a16="http://schemas.microsoft.com/office/drawing/2014/main" val="1885849142"/>
                    </a:ext>
                  </a:extLst>
                </a:gridCol>
                <a:gridCol w="686543">
                  <a:extLst>
                    <a:ext uri="{9D8B030D-6E8A-4147-A177-3AD203B41FA5}">
                      <a16:colId xmlns:a16="http://schemas.microsoft.com/office/drawing/2014/main" val="385655003"/>
                    </a:ext>
                  </a:extLst>
                </a:gridCol>
                <a:gridCol w="686543">
                  <a:extLst>
                    <a:ext uri="{9D8B030D-6E8A-4147-A177-3AD203B41FA5}">
                      <a16:colId xmlns:a16="http://schemas.microsoft.com/office/drawing/2014/main" val="3553083660"/>
                    </a:ext>
                  </a:extLst>
                </a:gridCol>
                <a:gridCol w="686543">
                  <a:extLst>
                    <a:ext uri="{9D8B030D-6E8A-4147-A177-3AD203B41FA5}">
                      <a16:colId xmlns:a16="http://schemas.microsoft.com/office/drawing/2014/main" val="1499113489"/>
                    </a:ext>
                  </a:extLst>
                </a:gridCol>
                <a:gridCol w="686543">
                  <a:extLst>
                    <a:ext uri="{9D8B030D-6E8A-4147-A177-3AD203B41FA5}">
                      <a16:colId xmlns:a16="http://schemas.microsoft.com/office/drawing/2014/main" val="304277677"/>
                    </a:ext>
                  </a:extLst>
                </a:gridCol>
                <a:gridCol w="341785">
                  <a:extLst>
                    <a:ext uri="{9D8B030D-6E8A-4147-A177-3AD203B41FA5}">
                      <a16:colId xmlns:a16="http://schemas.microsoft.com/office/drawing/2014/main" val="3064648371"/>
                    </a:ext>
                  </a:extLst>
                </a:gridCol>
                <a:gridCol w="341785">
                  <a:extLst>
                    <a:ext uri="{9D8B030D-6E8A-4147-A177-3AD203B41FA5}">
                      <a16:colId xmlns:a16="http://schemas.microsoft.com/office/drawing/2014/main" val="1797962041"/>
                    </a:ext>
                  </a:extLst>
                </a:gridCol>
              </a:tblGrid>
              <a:tr h="0">
                <a:tc gridSpan="7">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kern="1200">
                          <a:solidFill>
                            <a:srgbClr val="0070C0"/>
                          </a:solidFill>
                          <a:latin typeface="+mn-ea"/>
                          <a:ea typeface="BIZ UDPゴシック"/>
                          <a:cs typeface="+mn-cs"/>
                        </a:rPr>
                        <a:t>IC</a:t>
                      </a:r>
                      <a:r>
                        <a:rPr kumimoji="1" lang="ja-JP" altLang="en-US" sz="700" kern="1200">
                          <a:solidFill>
                            <a:srgbClr val="0070C0"/>
                          </a:solidFill>
                          <a:latin typeface="+mn-ea"/>
                          <a:ea typeface="BIZ UDPゴシック"/>
                          <a:cs typeface="+mn-cs"/>
                        </a:rPr>
                        <a:t>カード利用実績データ</a:t>
                      </a:r>
                      <a:endParaRPr kumimoji="1" lang="en-US" altLang="ja-JP" sz="700" kern="1200">
                        <a:solidFill>
                          <a:srgbClr val="0070C0"/>
                        </a:solidFill>
                        <a:latin typeface="+mn-ea"/>
                        <a:ea typeface="BIZ UDPゴシック"/>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hMerge="1">
                  <a:txBody>
                    <a:bodyPr/>
                    <a:lstStyle/>
                    <a:p>
                      <a:endParaRPr kumimoji="1" lang="en-US" altLang="ja-JP" sz="1050" kern="1200">
                        <a:solidFill>
                          <a:srgbClr val="0070C0"/>
                        </a:solidFill>
                        <a:latin typeface="+mn-ea"/>
                        <a:ea typeface="BIZ UDPゴシック"/>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hMerge="1">
                  <a:txBody>
                    <a:bodyPr/>
                    <a:lstStyle/>
                    <a:p>
                      <a:endParaRPr kumimoji="1" lang="en-US" altLang="ja-JP" sz="1050" kern="1200">
                        <a:solidFill>
                          <a:srgbClr val="0070C0"/>
                        </a:solidFill>
                        <a:latin typeface="+mn-ea"/>
                        <a:ea typeface="BIZ UDPゴシック"/>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en-US" altLang="ja-JP" sz="1050" kern="1200">
                        <a:solidFill>
                          <a:srgbClr val="0070C0"/>
                        </a:solidFill>
                        <a:latin typeface="+mn-ea"/>
                        <a:ea typeface="BIZ UDPゴシック"/>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hMerge="1">
                  <a:txBody>
                    <a:bodyPr/>
                    <a:lstStyle/>
                    <a:p>
                      <a:endParaRPr kumimoji="1" lang="en-US" altLang="ja-JP" sz="700" kern="1200">
                        <a:solidFill>
                          <a:srgbClr val="0070C0"/>
                        </a:solidFill>
                        <a:latin typeface="+mn-ea"/>
                        <a:ea typeface="BIZ UDPゴシック"/>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419378519"/>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ja-JP" altLang="en-US" sz="700">
                          <a:solidFill>
                            <a:srgbClr val="0070C0"/>
                          </a:solidFill>
                          <a:latin typeface="+mn-ea"/>
                          <a:ea typeface="+mn-ea"/>
                        </a:rPr>
                        <a:t>論理名</a:t>
                      </a:r>
                      <a:endParaRPr kumimoji="1" lang="en-US" altLang="ja-JP"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ja-JP" altLang="en-US" sz="700">
                          <a:solidFill>
                            <a:srgbClr val="0070C0"/>
                          </a:solidFill>
                          <a:latin typeface="+mn-ea"/>
                          <a:ea typeface="+mn-ea"/>
                        </a:rPr>
                        <a:t>物理名</a:t>
                      </a:r>
                      <a:endParaRPr kumimoji="1" lang="en-US" altLang="ja-JP"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ja-JP" altLang="en-US" sz="700">
                          <a:solidFill>
                            <a:srgbClr val="0070C0"/>
                          </a:solidFill>
                          <a:latin typeface="+mn-ea"/>
                          <a:ea typeface="+mn-ea"/>
                        </a:rPr>
                        <a:t>データ型</a:t>
                      </a:r>
                      <a:endParaRPr kumimoji="1" lang="en-US" altLang="ja-JP"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en-US" altLang="ja-JP" sz="700">
                          <a:solidFill>
                            <a:srgbClr val="0070C0"/>
                          </a:solidFill>
                          <a:latin typeface="+mn-ea"/>
                          <a:ea typeface="+mn-ea"/>
                        </a:rPr>
                        <a:t>NOTNULL</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en-US" altLang="ja-JP" sz="700">
                          <a:solidFill>
                            <a:srgbClr val="0070C0"/>
                          </a:solidFill>
                          <a:latin typeface="+mn-ea"/>
                          <a:ea typeface="+mn-ea"/>
                        </a:rPr>
                        <a:t>PK</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en-US" altLang="ja-JP" sz="700">
                          <a:solidFill>
                            <a:srgbClr val="0070C0"/>
                          </a:solidFill>
                          <a:latin typeface="+mn-ea"/>
                          <a:ea typeface="+mn-ea"/>
                        </a:rPr>
                        <a:t>FK</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extLst>
                  <a:ext uri="{0D108BD9-81ED-4DB2-BD59-A6C34878D82A}">
                    <a16:rowId xmlns:a16="http://schemas.microsoft.com/office/drawing/2014/main" val="2894776207"/>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1</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ユーザー</a:t>
                      </a:r>
                      <a:r>
                        <a:rPr kumimoji="1" lang="en-US" altLang="ja-JP" sz="700">
                          <a:solidFill>
                            <a:srgbClr val="0070C0"/>
                          </a:solidFill>
                          <a:latin typeface="+mn-ea"/>
                          <a:ea typeface="+mn-ea"/>
                        </a:rPr>
                        <a: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u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STRING</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〇</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〇</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44902017"/>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2</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年月日</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date</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DATE</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16460124"/>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3</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カードタイプ</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type</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93169486"/>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4</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乗車駅</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getst</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STRING</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73881322"/>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5</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乗車駅</a:t>
                      </a:r>
                      <a:r>
                        <a:rPr kumimoji="1" lang="en-US" altLang="ja-JP" sz="700">
                          <a:solidFill>
                            <a:srgbClr val="0070C0"/>
                          </a:solidFill>
                          <a:latin typeface="+mn-ea"/>
                          <a:ea typeface="+mn-ea"/>
                        </a:rPr>
                        <a: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gests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59306483"/>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6</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降車駅</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getoff</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STRING</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37425624"/>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7</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降車駅</a:t>
                      </a:r>
                      <a:r>
                        <a:rPr kumimoji="1" lang="en-US" altLang="ja-JP" sz="700">
                          <a:solidFill>
                            <a:srgbClr val="0070C0"/>
                          </a:solidFill>
                          <a:latin typeface="+mn-ea"/>
                          <a:ea typeface="+mn-ea"/>
                        </a:rPr>
                        <a: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getoff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68969708"/>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8</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系統</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trip</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STRING</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01375934"/>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9</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系統</a:t>
                      </a:r>
                      <a:r>
                        <a:rPr kumimoji="1" lang="en-US" altLang="ja-JP" sz="700">
                          <a:solidFill>
                            <a:srgbClr val="0070C0"/>
                          </a:solidFill>
                          <a:latin typeface="+mn-ea"/>
                          <a:ea typeface="+mn-ea"/>
                        </a:rPr>
                        <a: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trip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37371140"/>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10</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車両</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bus</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9121443"/>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11</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車両</a:t>
                      </a:r>
                      <a:r>
                        <a:rPr kumimoji="1" lang="en-US" altLang="ja-JP" sz="700">
                          <a:solidFill>
                            <a:srgbClr val="0070C0"/>
                          </a:solidFill>
                          <a:latin typeface="+mn-ea"/>
                          <a:ea typeface="+mn-ea"/>
                        </a:rPr>
                        <a: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bus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32076460"/>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12</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定期券</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pass</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BOOLEAN</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42927184"/>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13</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引去り額</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amount</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FLOAT</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93254437"/>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804760456"/>
                  </a:ext>
                </a:extLst>
              </a:tr>
            </a:tbl>
          </a:graphicData>
        </a:graphic>
      </p:graphicFrame>
      <p:graphicFrame>
        <p:nvGraphicFramePr>
          <p:cNvPr id="11" name="表 7">
            <a:extLst>
              <a:ext uri="{FF2B5EF4-FFF2-40B4-BE49-F238E27FC236}">
                <a16:creationId xmlns:a16="http://schemas.microsoft.com/office/drawing/2014/main" id="{3F5ED731-1608-9D49-AA5B-4D22F31A1F6F}"/>
              </a:ext>
            </a:extLst>
          </p:cNvPr>
          <p:cNvGraphicFramePr>
            <a:graphicFrameLocks noGrp="1"/>
          </p:cNvGraphicFramePr>
          <p:nvPr>
            <p:extLst>
              <p:ext uri="{D42A27DB-BD31-4B8C-83A1-F6EECF244321}">
                <p14:modId xmlns:p14="http://schemas.microsoft.com/office/powerpoint/2010/main" val="3608060427"/>
              </p:ext>
            </p:extLst>
          </p:nvPr>
        </p:nvGraphicFramePr>
        <p:xfrm>
          <a:off x="8101259" y="2086229"/>
          <a:ext cx="3789959" cy="3169920"/>
        </p:xfrm>
        <a:graphic>
          <a:graphicData uri="http://schemas.openxmlformats.org/drawingml/2006/table">
            <a:tbl>
              <a:tblPr/>
              <a:tblGrid>
                <a:gridCol w="360217">
                  <a:extLst>
                    <a:ext uri="{9D8B030D-6E8A-4147-A177-3AD203B41FA5}">
                      <a16:colId xmlns:a16="http://schemas.microsoft.com/office/drawing/2014/main" val="1885849142"/>
                    </a:ext>
                  </a:extLst>
                </a:gridCol>
                <a:gridCol w="686543">
                  <a:extLst>
                    <a:ext uri="{9D8B030D-6E8A-4147-A177-3AD203B41FA5}">
                      <a16:colId xmlns:a16="http://schemas.microsoft.com/office/drawing/2014/main" val="385655003"/>
                    </a:ext>
                  </a:extLst>
                </a:gridCol>
                <a:gridCol w="686543">
                  <a:extLst>
                    <a:ext uri="{9D8B030D-6E8A-4147-A177-3AD203B41FA5}">
                      <a16:colId xmlns:a16="http://schemas.microsoft.com/office/drawing/2014/main" val="3553083660"/>
                    </a:ext>
                  </a:extLst>
                </a:gridCol>
                <a:gridCol w="686543">
                  <a:extLst>
                    <a:ext uri="{9D8B030D-6E8A-4147-A177-3AD203B41FA5}">
                      <a16:colId xmlns:a16="http://schemas.microsoft.com/office/drawing/2014/main" val="1499113489"/>
                    </a:ext>
                  </a:extLst>
                </a:gridCol>
                <a:gridCol w="686543">
                  <a:extLst>
                    <a:ext uri="{9D8B030D-6E8A-4147-A177-3AD203B41FA5}">
                      <a16:colId xmlns:a16="http://schemas.microsoft.com/office/drawing/2014/main" val="304277677"/>
                    </a:ext>
                  </a:extLst>
                </a:gridCol>
                <a:gridCol w="341785">
                  <a:extLst>
                    <a:ext uri="{9D8B030D-6E8A-4147-A177-3AD203B41FA5}">
                      <a16:colId xmlns:a16="http://schemas.microsoft.com/office/drawing/2014/main" val="3064648371"/>
                    </a:ext>
                  </a:extLst>
                </a:gridCol>
                <a:gridCol w="341785">
                  <a:extLst>
                    <a:ext uri="{9D8B030D-6E8A-4147-A177-3AD203B41FA5}">
                      <a16:colId xmlns:a16="http://schemas.microsoft.com/office/drawing/2014/main" val="1797962041"/>
                    </a:ext>
                  </a:extLst>
                </a:gridCol>
              </a:tblGrid>
              <a:tr h="0">
                <a:tc gridSpan="7">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kern="1200">
                          <a:solidFill>
                            <a:srgbClr val="0070C0"/>
                          </a:solidFill>
                          <a:latin typeface="+mn-ea"/>
                          <a:ea typeface="BIZ UDPゴシック"/>
                          <a:cs typeface="+mn-cs"/>
                        </a:rPr>
                        <a:t>IC</a:t>
                      </a:r>
                      <a:r>
                        <a:rPr kumimoji="1" lang="ja-JP" altLang="en-US" sz="700" kern="1200">
                          <a:solidFill>
                            <a:srgbClr val="0070C0"/>
                          </a:solidFill>
                          <a:latin typeface="+mn-ea"/>
                          <a:ea typeface="BIZ UDPゴシック"/>
                          <a:cs typeface="+mn-cs"/>
                        </a:rPr>
                        <a:t>カード利用実績データ</a:t>
                      </a:r>
                      <a:endParaRPr kumimoji="1" lang="en-US" altLang="ja-JP" sz="700" kern="1200">
                        <a:solidFill>
                          <a:srgbClr val="0070C0"/>
                        </a:solidFill>
                        <a:latin typeface="+mn-ea"/>
                        <a:ea typeface="BIZ UDPゴシック"/>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hMerge="1">
                  <a:txBody>
                    <a:bodyPr/>
                    <a:lstStyle/>
                    <a:p>
                      <a:endParaRPr kumimoji="1" lang="en-US" altLang="ja-JP" sz="1050" kern="1200">
                        <a:solidFill>
                          <a:srgbClr val="0070C0"/>
                        </a:solidFill>
                        <a:latin typeface="+mn-ea"/>
                        <a:ea typeface="BIZ UDPゴシック"/>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hMerge="1">
                  <a:txBody>
                    <a:bodyPr/>
                    <a:lstStyle/>
                    <a:p>
                      <a:endParaRPr kumimoji="1" lang="en-US" altLang="ja-JP" sz="1050" kern="1200">
                        <a:solidFill>
                          <a:srgbClr val="0070C0"/>
                        </a:solidFill>
                        <a:latin typeface="+mn-ea"/>
                        <a:ea typeface="BIZ UDPゴシック"/>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en-US" altLang="ja-JP" sz="1050" kern="1200">
                        <a:solidFill>
                          <a:srgbClr val="0070C0"/>
                        </a:solidFill>
                        <a:latin typeface="+mn-ea"/>
                        <a:ea typeface="BIZ UDPゴシック"/>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hMerge="1">
                  <a:txBody>
                    <a:bodyPr/>
                    <a:lstStyle/>
                    <a:p>
                      <a:endParaRPr kumimoji="1" lang="en-US" altLang="ja-JP" sz="700" kern="1200">
                        <a:solidFill>
                          <a:srgbClr val="0070C0"/>
                        </a:solidFill>
                        <a:latin typeface="+mn-ea"/>
                        <a:ea typeface="BIZ UDPゴシック"/>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419378519"/>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ja-JP" altLang="en-US" sz="700">
                          <a:solidFill>
                            <a:srgbClr val="0070C0"/>
                          </a:solidFill>
                          <a:latin typeface="+mn-ea"/>
                          <a:ea typeface="+mn-ea"/>
                        </a:rPr>
                        <a:t>論理名</a:t>
                      </a:r>
                      <a:endParaRPr kumimoji="1" lang="en-US" altLang="ja-JP"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ja-JP" altLang="en-US" sz="700">
                          <a:solidFill>
                            <a:srgbClr val="0070C0"/>
                          </a:solidFill>
                          <a:latin typeface="+mn-ea"/>
                          <a:ea typeface="+mn-ea"/>
                        </a:rPr>
                        <a:t>物理名</a:t>
                      </a:r>
                      <a:endParaRPr kumimoji="1" lang="en-US" altLang="ja-JP"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ja-JP" altLang="en-US" sz="700">
                          <a:solidFill>
                            <a:srgbClr val="0070C0"/>
                          </a:solidFill>
                          <a:latin typeface="+mn-ea"/>
                          <a:ea typeface="+mn-ea"/>
                        </a:rPr>
                        <a:t>データ型</a:t>
                      </a:r>
                      <a:endParaRPr kumimoji="1" lang="en-US" altLang="ja-JP"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en-US" altLang="ja-JP" sz="700">
                          <a:solidFill>
                            <a:srgbClr val="0070C0"/>
                          </a:solidFill>
                          <a:latin typeface="+mn-ea"/>
                          <a:ea typeface="+mn-ea"/>
                        </a:rPr>
                        <a:t>NOTNULL</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en-US" altLang="ja-JP" sz="700">
                          <a:solidFill>
                            <a:srgbClr val="0070C0"/>
                          </a:solidFill>
                          <a:latin typeface="+mn-ea"/>
                          <a:ea typeface="+mn-ea"/>
                        </a:rPr>
                        <a:t>PK</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en-US" altLang="ja-JP" sz="700">
                          <a:solidFill>
                            <a:srgbClr val="0070C0"/>
                          </a:solidFill>
                          <a:latin typeface="+mn-ea"/>
                          <a:ea typeface="+mn-ea"/>
                        </a:rPr>
                        <a:t>FK</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extLst>
                  <a:ext uri="{0D108BD9-81ED-4DB2-BD59-A6C34878D82A}">
                    <a16:rowId xmlns:a16="http://schemas.microsoft.com/office/drawing/2014/main" val="2894776207"/>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1</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ユーザー</a:t>
                      </a:r>
                      <a:r>
                        <a:rPr kumimoji="1" lang="en-US" altLang="ja-JP" sz="700">
                          <a:solidFill>
                            <a:srgbClr val="0070C0"/>
                          </a:solidFill>
                          <a:latin typeface="+mn-ea"/>
                          <a:ea typeface="+mn-ea"/>
                        </a:rPr>
                        <a: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u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STRING</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〇</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〇</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44902017"/>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2</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年月日</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date</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DATE</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16460124"/>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3</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カードタイプ</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type</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93169486"/>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4</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乗車駅</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getst</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STRING</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73881322"/>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5</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乗車駅</a:t>
                      </a:r>
                      <a:r>
                        <a:rPr kumimoji="1" lang="en-US" altLang="ja-JP" sz="700">
                          <a:solidFill>
                            <a:srgbClr val="0070C0"/>
                          </a:solidFill>
                          <a:latin typeface="+mn-ea"/>
                          <a:ea typeface="+mn-ea"/>
                        </a:rPr>
                        <a: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gests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59306483"/>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6</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降車駅</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getoff</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STRING</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37425624"/>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7</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降車駅</a:t>
                      </a:r>
                      <a:r>
                        <a:rPr kumimoji="1" lang="en-US" altLang="ja-JP" sz="700">
                          <a:solidFill>
                            <a:srgbClr val="0070C0"/>
                          </a:solidFill>
                          <a:latin typeface="+mn-ea"/>
                          <a:ea typeface="+mn-ea"/>
                        </a:rPr>
                        <a: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getoff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68969708"/>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8</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系統</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trip</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STRING</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01375934"/>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9</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系統</a:t>
                      </a:r>
                      <a:r>
                        <a:rPr kumimoji="1" lang="en-US" altLang="ja-JP" sz="700">
                          <a:solidFill>
                            <a:srgbClr val="0070C0"/>
                          </a:solidFill>
                          <a:latin typeface="+mn-ea"/>
                          <a:ea typeface="+mn-ea"/>
                        </a:rPr>
                        <a: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trip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37371140"/>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10</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車両</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bus</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9121443"/>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11</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車両</a:t>
                      </a:r>
                      <a:r>
                        <a:rPr kumimoji="1" lang="en-US" altLang="ja-JP" sz="700">
                          <a:solidFill>
                            <a:srgbClr val="0070C0"/>
                          </a:solidFill>
                          <a:latin typeface="+mn-ea"/>
                          <a:ea typeface="+mn-ea"/>
                        </a:rPr>
                        <a: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bus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32076460"/>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12</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定期券</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pass</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BOOLEAN</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42927184"/>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13</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引去り額</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amount</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FLOAT</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93254437"/>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804760456"/>
                  </a:ext>
                </a:extLst>
              </a:tr>
            </a:tbl>
          </a:graphicData>
        </a:graphic>
      </p:graphicFrame>
      <p:sp>
        <p:nvSpPr>
          <p:cNvPr id="8" name="テキスト ボックス 7">
            <a:extLst>
              <a:ext uri="{FF2B5EF4-FFF2-40B4-BE49-F238E27FC236}">
                <a16:creationId xmlns:a16="http://schemas.microsoft.com/office/drawing/2014/main" id="{7C8E84C0-1CFB-1220-AA61-2E66130F5B32}"/>
              </a:ext>
            </a:extLst>
          </p:cNvPr>
          <p:cNvSpPr txBox="1"/>
          <p:nvPr/>
        </p:nvSpPr>
        <p:spPr>
          <a:xfrm>
            <a:off x="3028006" y="3816975"/>
            <a:ext cx="6135987" cy="2385668"/>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データ分析において利用するデータの仕様を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kern="0">
                <a:solidFill>
                  <a:srgbClr val="FFFFFF"/>
                </a:solidFill>
              </a:rPr>
              <a:t>RDB</a:t>
            </a:r>
            <a:r>
              <a:rPr kumimoji="0" lang="ja-JP" altLang="en-US" sz="1400" kern="0">
                <a:solidFill>
                  <a:srgbClr val="FFFFFF"/>
                </a:solidFill>
              </a:rPr>
              <a:t>を用いる場合はリレーションを表現するキーを記載してください。</a:t>
            </a:r>
            <a:endParaRPr kumimoji="0" lang="ja-JP" altLang="en-US"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219225141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920D49B5-780A-0B0E-081E-8188B35BACC6}"/>
              </a:ext>
            </a:extLst>
          </p:cNvPr>
          <p:cNvPicPr>
            <a:picLocks noChangeAspect="1"/>
          </p:cNvPicPr>
          <p:nvPr/>
        </p:nvPicPr>
        <p:blipFill>
          <a:blip r:embed="rId3"/>
          <a:stretch>
            <a:fillRect/>
          </a:stretch>
        </p:blipFill>
        <p:spPr>
          <a:xfrm>
            <a:off x="883308" y="1338394"/>
            <a:ext cx="9797121" cy="5303980"/>
          </a:xfrm>
          <a:prstGeom prst="rect">
            <a:avLst/>
          </a:prstGeom>
        </p:spPr>
      </p:pic>
      <p:graphicFrame>
        <p:nvGraphicFramePr>
          <p:cNvPr id="6" name="think-cell data - do not delete" hidden="1">
            <a:extLst>
              <a:ext uri="{FF2B5EF4-FFF2-40B4-BE49-F238E27FC236}">
                <a16:creationId xmlns:a16="http://schemas.microsoft.com/office/drawing/2014/main" id="{474E5002-D1F2-D774-C181-0B3C4AA38F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08" imgH="608" progId="TCLayout.ActiveDocument.1">
                  <p:embed/>
                </p:oleObj>
              </mc:Choice>
              <mc:Fallback>
                <p:oleObj name="think-cell スライド" r:id="rId4" imgW="608" imgH="608" progId="TCLayout.ActiveDocument.1">
                  <p:embed/>
                  <p:pic>
                    <p:nvPicPr>
                      <p:cNvPr id="6" name="think-cell data - do not delete" hidden="1">
                        <a:extLst>
                          <a:ext uri="{FF2B5EF4-FFF2-40B4-BE49-F238E27FC236}">
                            <a16:creationId xmlns:a16="http://schemas.microsoft.com/office/drawing/2014/main" id="{474E5002-D1F2-D774-C181-0B3C4AA38F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0E5D0AD9-2BA7-E85C-4211-2AC064C1CB7E}"/>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kumimoji="1" lang="ja-JP" altLang="en-US"/>
          </a:p>
        </p:txBody>
      </p:sp>
      <p:sp>
        <p:nvSpPr>
          <p:cNvPr id="3" name="テキスト プレースホルダー 2">
            <a:extLst>
              <a:ext uri="{FF2B5EF4-FFF2-40B4-BE49-F238E27FC236}">
                <a16:creationId xmlns:a16="http://schemas.microsoft.com/office/drawing/2014/main" id="{417A18CA-0059-03EF-FE57-D2DBA870D210}"/>
              </a:ext>
            </a:extLst>
          </p:cNvPr>
          <p:cNvSpPr>
            <a:spLocks noGrp="1"/>
          </p:cNvSpPr>
          <p:nvPr>
            <p:ph type="body" sz="quarter" idx="36"/>
          </p:nvPr>
        </p:nvSpPr>
        <p:spPr>
          <a:xfrm>
            <a:off x="300779" y="215626"/>
            <a:ext cx="11376000" cy="415498"/>
          </a:xfrm>
        </p:spPr>
        <p:txBody>
          <a:bodyPr/>
          <a:lstStyle/>
          <a:p>
            <a:r>
              <a:rPr lang="en-US" altLang="ja-JP"/>
              <a:t>Ⅲ.</a:t>
            </a:r>
            <a:r>
              <a:rPr lang="ja-JP" altLang="en-US"/>
              <a:t>モビリティデータの取得と活用</a:t>
            </a:r>
          </a:p>
        </p:txBody>
      </p:sp>
      <p:sp>
        <p:nvSpPr>
          <p:cNvPr id="4" name="タイトル 3">
            <a:extLst>
              <a:ext uri="{FF2B5EF4-FFF2-40B4-BE49-F238E27FC236}">
                <a16:creationId xmlns:a16="http://schemas.microsoft.com/office/drawing/2014/main" id="{4F1B8C31-A2AA-E8B5-6842-B8CA68666E37}"/>
              </a:ext>
            </a:extLst>
          </p:cNvPr>
          <p:cNvSpPr>
            <a:spLocks noGrp="1"/>
          </p:cNvSpPr>
          <p:nvPr>
            <p:ph type="title"/>
          </p:nvPr>
        </p:nvSpPr>
        <p:spPr/>
        <p:txBody>
          <a:bodyPr vert="horz"/>
          <a:lstStyle/>
          <a:p>
            <a:r>
              <a:rPr kumimoji="1" lang="ja-JP" altLang="en-US"/>
              <a:t>９</a:t>
            </a:r>
            <a:r>
              <a:rPr kumimoji="1" lang="en-US" altLang="ja-JP"/>
              <a:t>.</a:t>
            </a:r>
            <a:r>
              <a:rPr kumimoji="1" lang="ja-JP" altLang="en-US"/>
              <a:t>ユーザインタフェース｜全体</a:t>
            </a:r>
            <a:r>
              <a:rPr lang="en-US" altLang="ja-JP"/>
              <a:t>UI/UX</a:t>
            </a:r>
            <a:r>
              <a:rPr lang="ja-JP" altLang="en-US"/>
              <a:t>、画面遷移図</a:t>
            </a:r>
            <a:endParaRPr kumimoji="1" lang="ja-JP" altLang="en-US"/>
          </a:p>
        </p:txBody>
      </p:sp>
      <p:sp>
        <p:nvSpPr>
          <p:cNvPr id="7" name="テキスト ボックス 6">
            <a:extLst>
              <a:ext uri="{FF2B5EF4-FFF2-40B4-BE49-F238E27FC236}">
                <a16:creationId xmlns:a16="http://schemas.microsoft.com/office/drawing/2014/main" id="{BFEF2AAF-C7FE-A74C-9228-F5BBA7BB817E}"/>
              </a:ext>
            </a:extLst>
          </p:cNvPr>
          <p:cNvSpPr txBox="1"/>
          <p:nvPr/>
        </p:nvSpPr>
        <p:spPr>
          <a:xfrm>
            <a:off x="2290774" y="2797550"/>
            <a:ext cx="6982188" cy="2385668"/>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エンドユーザー（コンシューマ）とシステム管理者等（交通事業者や自治体）の両面からユーザーインターフェースを定義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予定を含む基本的な設計方針と構成要素でも構いません。​</a:t>
            </a:r>
          </a:p>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UI</a:t>
            </a:r>
            <a:r>
              <a:rPr kumimoji="0" lang="ja-JP" altLang="en-US" sz="1400" b="0" i="0" u="none" strike="noStrike" kern="0" cap="none" spc="0" normalizeH="0" baseline="0" noProof="0">
                <a:ln>
                  <a:noFill/>
                </a:ln>
                <a:solidFill>
                  <a:srgbClr val="FFFFFF"/>
                </a:solidFill>
                <a:effectLst/>
                <a:uLnTx/>
                <a:uFillTx/>
              </a:rPr>
              <a:t>設計には、画面遷移図、主要な</a:t>
            </a:r>
            <a:r>
              <a:rPr kumimoji="0" lang="en-US" altLang="ja-JP" sz="1400" b="0" i="0" u="none" strike="noStrike" kern="0" cap="none" spc="0" normalizeH="0" baseline="0" noProof="0">
                <a:ln>
                  <a:noFill/>
                </a:ln>
                <a:solidFill>
                  <a:srgbClr val="FFFFFF"/>
                </a:solidFill>
                <a:effectLst/>
                <a:uLnTx/>
                <a:uFillTx/>
              </a:rPr>
              <a:t>UI</a:t>
            </a:r>
            <a:r>
              <a:rPr kumimoji="0" lang="ja-JP" altLang="en-US" sz="1400" b="0" i="0" u="none" strike="noStrike" kern="0" cap="none" spc="0" normalizeH="0" baseline="0" noProof="0">
                <a:ln>
                  <a:noFill/>
                </a:ln>
                <a:solidFill>
                  <a:srgbClr val="FFFFFF"/>
                </a:solidFill>
                <a:effectLst/>
                <a:uLnTx/>
                <a:uFillTx/>
              </a:rPr>
              <a:t>コンポーネント、ユーザーフローを含めてください。</a:t>
            </a:r>
            <a:endParaRPr kumimoji="0" lang="en-US" altLang="ja-JP" sz="1400" b="0" i="0" u="none" strike="noStrike" kern="0" cap="none" spc="0" normalizeH="0" baseline="0" noProof="0">
              <a:ln>
                <a:noFill/>
              </a:ln>
              <a:solidFill>
                <a:srgbClr val="FFFFFF"/>
              </a:solidFill>
              <a:effectLst/>
              <a:uLnTx/>
              <a:uFillTx/>
            </a:endParaRPr>
          </a:p>
          <a:p>
            <a:pPr>
              <a:spcBef>
                <a:spcPts val="300"/>
              </a:spcBef>
              <a:defRPr/>
            </a:pPr>
            <a:r>
              <a:rPr kumimoji="1" lang="ja-JP" altLang="en-US" sz="1400" b="0" i="0" u="none" strike="noStrike" kern="1200" cap="none" spc="0" normalizeH="0" baseline="0" noProof="0">
                <a:ln>
                  <a:noFill/>
                </a:ln>
                <a:solidFill>
                  <a:schemeClr val="bg1"/>
                </a:solidFill>
                <a:effectLst/>
                <a:uLnTx/>
                <a:uFillTx/>
                <a:latin typeface="BIZ UDPゴシック"/>
                <a:ea typeface="BIZ UDPゴシック"/>
                <a:cs typeface="+mn-cs"/>
              </a:rPr>
              <a:t>画像はサンプルです。提出時に削除してください。</a:t>
            </a:r>
            <a:r>
              <a:rPr kumimoji="0" lang="ja-JP" altLang="en-US" sz="1400" b="0" i="0" u="none" strike="noStrike" kern="0" cap="none" spc="0" normalizeH="0" baseline="0" noProof="0">
                <a:ln>
                  <a:noFill/>
                </a:ln>
                <a:solidFill>
                  <a:srgbClr val="FFFFFF"/>
                </a:solidFill>
                <a:effectLst/>
                <a:uLnTx/>
                <a:uFillTx/>
              </a:rPr>
              <a:t>​</a:t>
            </a:r>
          </a:p>
        </p:txBody>
      </p:sp>
    </p:spTree>
    <p:extLst>
      <p:ext uri="{BB962C8B-B14F-4D97-AF65-F5344CB8AC3E}">
        <p14:creationId xmlns:p14="http://schemas.microsoft.com/office/powerpoint/2010/main" val="11228563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74E5002-D1F2-D774-C181-0B3C4AA38F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08" imgH="608" progId="TCLayout.ActiveDocument.1">
                  <p:embed/>
                </p:oleObj>
              </mc:Choice>
              <mc:Fallback>
                <p:oleObj name="think-cell スライド" r:id="rId3" imgW="608" imgH="608" progId="TCLayout.ActiveDocument.1">
                  <p:embed/>
                  <p:pic>
                    <p:nvPicPr>
                      <p:cNvPr id="6" name="think-cell data - do not delete" hidden="1">
                        <a:extLst>
                          <a:ext uri="{FF2B5EF4-FFF2-40B4-BE49-F238E27FC236}">
                            <a16:creationId xmlns:a16="http://schemas.microsoft.com/office/drawing/2014/main" id="{474E5002-D1F2-D774-C181-0B3C4AA38F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0E5D0AD9-2BA7-E85C-4211-2AC064C1CB7E}"/>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kumimoji="1" lang="ja-JP" altLang="en-US"/>
          </a:p>
        </p:txBody>
      </p:sp>
      <p:sp>
        <p:nvSpPr>
          <p:cNvPr id="3" name="テキスト プレースホルダー 2">
            <a:extLst>
              <a:ext uri="{FF2B5EF4-FFF2-40B4-BE49-F238E27FC236}">
                <a16:creationId xmlns:a16="http://schemas.microsoft.com/office/drawing/2014/main" id="{417A18CA-0059-03EF-FE57-D2DBA870D210}"/>
              </a:ext>
            </a:extLst>
          </p:cNvPr>
          <p:cNvSpPr>
            <a:spLocks noGrp="1"/>
          </p:cNvSpPr>
          <p:nvPr>
            <p:ph type="body" sz="quarter" idx="36"/>
          </p:nvPr>
        </p:nvSpPr>
        <p:spPr>
          <a:xfrm>
            <a:off x="300779" y="215626"/>
            <a:ext cx="11376000" cy="415498"/>
          </a:xfrm>
        </p:spPr>
        <p:txBody>
          <a:bodyPr/>
          <a:lstStyle/>
          <a:p>
            <a:r>
              <a:rPr lang="en-US" altLang="ja-JP"/>
              <a:t>Ⅲ.</a:t>
            </a:r>
            <a:r>
              <a:rPr lang="ja-JP" altLang="en-US"/>
              <a:t>モビリティデータの取得と活用</a:t>
            </a:r>
          </a:p>
        </p:txBody>
      </p:sp>
      <p:sp>
        <p:nvSpPr>
          <p:cNvPr id="4" name="タイトル 3">
            <a:extLst>
              <a:ext uri="{FF2B5EF4-FFF2-40B4-BE49-F238E27FC236}">
                <a16:creationId xmlns:a16="http://schemas.microsoft.com/office/drawing/2014/main" id="{4F1B8C31-A2AA-E8B5-6842-B8CA68666E37}"/>
              </a:ext>
            </a:extLst>
          </p:cNvPr>
          <p:cNvSpPr>
            <a:spLocks noGrp="1"/>
          </p:cNvSpPr>
          <p:nvPr>
            <p:ph type="title"/>
          </p:nvPr>
        </p:nvSpPr>
        <p:spPr/>
        <p:txBody>
          <a:bodyPr vert="horz"/>
          <a:lstStyle/>
          <a:p>
            <a:r>
              <a:rPr kumimoji="1" lang="ja-JP" altLang="en-US"/>
              <a:t>９</a:t>
            </a:r>
            <a:r>
              <a:rPr kumimoji="1" lang="en-US" altLang="ja-JP"/>
              <a:t>.</a:t>
            </a:r>
            <a:r>
              <a:rPr kumimoji="1" lang="ja-JP" altLang="en-US"/>
              <a:t>ユーザインタフェース｜画面ごとの機能一覧</a:t>
            </a:r>
          </a:p>
        </p:txBody>
      </p:sp>
      <p:graphicFrame>
        <p:nvGraphicFramePr>
          <p:cNvPr id="8" name="表 7">
            <a:extLst>
              <a:ext uri="{FF2B5EF4-FFF2-40B4-BE49-F238E27FC236}">
                <a16:creationId xmlns:a16="http://schemas.microsoft.com/office/drawing/2014/main" id="{1E5897B3-2F6F-760C-55F3-ADE995C99D64}"/>
              </a:ext>
            </a:extLst>
          </p:cNvPr>
          <p:cNvGraphicFramePr>
            <a:graphicFrameLocks noGrp="1"/>
          </p:cNvGraphicFramePr>
          <p:nvPr>
            <p:extLst>
              <p:ext uri="{D42A27DB-BD31-4B8C-83A1-F6EECF244321}">
                <p14:modId xmlns:p14="http://schemas.microsoft.com/office/powerpoint/2010/main" val="82627898"/>
              </p:ext>
            </p:extLst>
          </p:nvPr>
        </p:nvGraphicFramePr>
        <p:xfrm>
          <a:off x="300779" y="2071102"/>
          <a:ext cx="11591184" cy="2796749"/>
        </p:xfrm>
        <a:graphic>
          <a:graphicData uri="http://schemas.openxmlformats.org/drawingml/2006/table">
            <a:tbl>
              <a:tblPr firstRow="1" firstCol="1" bandRow="1">
                <a:tableStyleId>{5C22544A-7EE6-4342-B048-85BDC9FD1C3A}</a:tableStyleId>
              </a:tblPr>
              <a:tblGrid>
                <a:gridCol w="1713172">
                  <a:extLst>
                    <a:ext uri="{9D8B030D-6E8A-4147-A177-3AD203B41FA5}">
                      <a16:colId xmlns:a16="http://schemas.microsoft.com/office/drawing/2014/main" val="816785244"/>
                    </a:ext>
                  </a:extLst>
                </a:gridCol>
                <a:gridCol w="2792382">
                  <a:extLst>
                    <a:ext uri="{9D8B030D-6E8A-4147-A177-3AD203B41FA5}">
                      <a16:colId xmlns:a16="http://schemas.microsoft.com/office/drawing/2014/main" val="3259469306"/>
                    </a:ext>
                  </a:extLst>
                </a:gridCol>
                <a:gridCol w="7085630">
                  <a:extLst>
                    <a:ext uri="{9D8B030D-6E8A-4147-A177-3AD203B41FA5}">
                      <a16:colId xmlns:a16="http://schemas.microsoft.com/office/drawing/2014/main" val="1071912486"/>
                    </a:ext>
                  </a:extLst>
                </a:gridCol>
              </a:tblGrid>
              <a:tr h="356134">
                <a:tc>
                  <a:txBody>
                    <a:bodyPr/>
                    <a:lstStyle/>
                    <a:p>
                      <a:pPr algn="just"/>
                      <a:r>
                        <a:rPr lang="en-US" sz="1400" b="0" kern="100">
                          <a:solidFill>
                            <a:schemeClr val="tx1"/>
                          </a:solidFill>
                          <a:effectLst/>
                        </a:rPr>
                        <a:t>ID</a:t>
                      </a:r>
                      <a:endParaRPr lang="ja-JP" sz="1400" b="0" kern="100">
                        <a:solidFill>
                          <a:schemeClr val="tx1"/>
                        </a:solidFill>
                        <a:effectLst/>
                        <a:latin typeface="游ゴシック Medium" panose="020B0500000000000000" pitchFamily="50" charset="-128"/>
                        <a:ea typeface="游ゴシック Medium" panose="020B0500000000000000" pitchFamily="50" charset="-128"/>
                        <a:cs typeface="Meiryo UI" panose="020B0604030504040204" pitchFamily="50" charset="-128"/>
                      </a:endParaRPr>
                    </a:p>
                  </a:txBody>
                  <a:tcPr marL="90000" marR="90000" marT="46800" marB="468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algn="just"/>
                      <a:r>
                        <a:rPr lang="ja-JP" sz="1400" b="0" kern="100">
                          <a:solidFill>
                            <a:schemeClr val="tx1"/>
                          </a:solidFill>
                          <a:effectLst/>
                        </a:rPr>
                        <a:t>画面名</a:t>
                      </a:r>
                      <a:endParaRPr lang="ja-JP" sz="1400" b="0" kern="100">
                        <a:solidFill>
                          <a:schemeClr val="tx1"/>
                        </a:solidFill>
                        <a:effectLst/>
                        <a:latin typeface="游ゴシック Medium" panose="020B0500000000000000" pitchFamily="50" charset="-128"/>
                        <a:ea typeface="游ゴシック Medium" panose="020B0500000000000000" pitchFamily="50" charset="-128"/>
                        <a:cs typeface="Meiryo UI" panose="020B0604030504040204" pitchFamily="50" charset="-128"/>
                      </a:endParaRPr>
                    </a:p>
                  </a:txBody>
                  <a:tcPr marL="90000" marR="90000" marT="46800" marB="468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algn="just"/>
                      <a:r>
                        <a:rPr lang="ja-JP" sz="1400" b="0" kern="100">
                          <a:solidFill>
                            <a:schemeClr val="tx1"/>
                          </a:solidFill>
                          <a:effectLst/>
                        </a:rPr>
                        <a:t>画面説明</a:t>
                      </a:r>
                      <a:endParaRPr lang="ja-JP" sz="1400" b="0" kern="100">
                        <a:solidFill>
                          <a:schemeClr val="tx1"/>
                        </a:solidFill>
                        <a:effectLst/>
                        <a:latin typeface="游ゴシック Medium" panose="020B0500000000000000" pitchFamily="50" charset="-128"/>
                        <a:ea typeface="游ゴシック Medium" panose="020B0500000000000000" pitchFamily="50" charset="-128"/>
                        <a:cs typeface="Meiryo UI" panose="020B0604030504040204" pitchFamily="50" charset="-128"/>
                      </a:endParaRPr>
                    </a:p>
                  </a:txBody>
                  <a:tcPr marL="90000" marR="90000" marT="46800" marB="468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972877939"/>
                  </a:ext>
                </a:extLst>
              </a:tr>
              <a:tr h="356134">
                <a:tc>
                  <a:txBody>
                    <a:bodyPr/>
                    <a:lstStyle/>
                    <a:p>
                      <a:pPr algn="l"/>
                      <a:r>
                        <a:rPr lang="en-US" sz="1400" b="0" kern="100">
                          <a:solidFill>
                            <a:srgbClr val="0070C0"/>
                          </a:solidFill>
                          <a:effectLst/>
                          <a:latin typeface="+mn-ea"/>
                          <a:ea typeface="+mn-ea"/>
                        </a:rPr>
                        <a:t>SC001</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ja-JP" sz="1400" b="0" kern="100">
                          <a:solidFill>
                            <a:srgbClr val="0070C0"/>
                          </a:solidFill>
                          <a:effectLst/>
                          <a:latin typeface="+mn-ea"/>
                          <a:ea typeface="+mn-ea"/>
                        </a:rPr>
                        <a:t>認証画面</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42900" lvl="0" indent="-342900" algn="just">
                        <a:buFont typeface="Wingdings" panose="05000000000000000000" pitchFamily="2" charset="2"/>
                        <a:buChar char=""/>
                      </a:pPr>
                      <a:r>
                        <a:rPr lang="ja-JP" altLang="en-US" sz="1400" b="0" kern="100">
                          <a:solidFill>
                            <a:srgbClr val="0070C0"/>
                          </a:solidFill>
                          <a:effectLst/>
                          <a:latin typeface="+mn-ea"/>
                          <a:ea typeface="+mn-ea"/>
                          <a:cs typeface="Meiryo UI" panose="020B0604030504040204" pitchFamily="50" charset="-128"/>
                        </a:rPr>
                        <a:t>メールアカウントとパスワードで認証する。</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03418220"/>
                  </a:ext>
                </a:extLst>
              </a:tr>
              <a:tr h="687707">
                <a:tc>
                  <a:txBody>
                    <a:bodyPr/>
                    <a:lstStyle/>
                    <a:p>
                      <a:pPr algn="l"/>
                      <a:r>
                        <a:rPr lang="en-US" sz="1400" b="0" kern="100">
                          <a:solidFill>
                            <a:srgbClr val="0070C0"/>
                          </a:solidFill>
                          <a:effectLst/>
                          <a:latin typeface="+mn-ea"/>
                          <a:ea typeface="+mn-ea"/>
                        </a:rPr>
                        <a:t>SC002</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ja-JP" sz="1400" b="0" kern="100">
                          <a:solidFill>
                            <a:srgbClr val="0070C0"/>
                          </a:solidFill>
                          <a:effectLst/>
                          <a:latin typeface="+mn-ea"/>
                          <a:ea typeface="+mn-ea"/>
                        </a:rPr>
                        <a:t>メインビュー</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42900" lvl="0" indent="-342900" algn="just">
                        <a:buFont typeface="Wingdings" panose="05000000000000000000" pitchFamily="2" charset="2"/>
                        <a:buChar char=""/>
                      </a:pPr>
                      <a:r>
                        <a:rPr lang="ja-JP" altLang="en-US" sz="1400" b="0" kern="100">
                          <a:solidFill>
                            <a:srgbClr val="0070C0"/>
                          </a:solidFill>
                          <a:effectLst/>
                          <a:latin typeface="+mn-ea"/>
                          <a:ea typeface="+mn-ea"/>
                          <a:cs typeface="Meiryo UI" panose="020B0604030504040204" pitchFamily="50" charset="-128"/>
                        </a:rPr>
                        <a:t>各種データを用いて、該当エリアの公共交通の状態を評価する指標を提示する。</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78847348"/>
                  </a:ext>
                </a:extLst>
              </a:tr>
              <a:tr h="487716">
                <a:tc>
                  <a:txBody>
                    <a:bodyPr/>
                    <a:lstStyle/>
                    <a:p>
                      <a:pPr algn="l"/>
                      <a:r>
                        <a:rPr lang="en-US" sz="1400" b="0" kern="100">
                          <a:solidFill>
                            <a:srgbClr val="0070C0"/>
                          </a:solidFill>
                          <a:effectLst/>
                          <a:latin typeface="+mn-ea"/>
                          <a:ea typeface="+mn-ea"/>
                        </a:rPr>
                        <a:t>SC003</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ja-JP" altLang="en-US" sz="1400" b="0" kern="100">
                          <a:solidFill>
                            <a:srgbClr val="0070C0"/>
                          </a:solidFill>
                          <a:effectLst/>
                          <a:latin typeface="+mn-ea"/>
                          <a:ea typeface="+mn-ea"/>
                          <a:cs typeface="Meiryo UI" panose="020B0604030504040204" pitchFamily="50" charset="-128"/>
                        </a:rPr>
                        <a:t>自治体職員向け設定画面</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42900" marR="0" lvl="0" indent="-342900" algn="just" defTabSz="74295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ja-JP" altLang="en-US" sz="1400" b="0" kern="100">
                          <a:solidFill>
                            <a:srgbClr val="0070C0"/>
                          </a:solidFill>
                          <a:effectLst/>
                          <a:latin typeface="+mn-ea"/>
                          <a:ea typeface="+mn-ea"/>
                          <a:cs typeface="Meiryo UI" panose="020B0604030504040204" pitchFamily="50" charset="-128"/>
                        </a:rPr>
                        <a:t>職員がデータ分析における各指標の目標値を設定する画面。</a:t>
                      </a:r>
                      <a:endParaRPr lang="ja-JP" altLang="ja-JP" sz="1400" b="0" kern="100">
                        <a:solidFill>
                          <a:srgbClr val="0070C0"/>
                        </a:solidFill>
                        <a:effectLst/>
                        <a:latin typeface="+mn-ea"/>
                        <a:ea typeface="+mn-ea"/>
                        <a:cs typeface="Meiryo UI" panose="020B0604030504040204" pitchFamily="50" charset="-128"/>
                      </a:endParaRPr>
                    </a:p>
                    <a:p>
                      <a:pPr marL="342900" lvl="0" indent="-342900" algn="just">
                        <a:buFont typeface="Wingdings" panose="05000000000000000000" pitchFamily="2" charset="2"/>
                        <a:buChar char=""/>
                      </a:pP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10099281"/>
                  </a:ext>
                </a:extLst>
              </a:tr>
              <a:tr h="356134">
                <a:tc>
                  <a:txBody>
                    <a:bodyPr/>
                    <a:lstStyle/>
                    <a:p>
                      <a:pPr algn="l"/>
                      <a:r>
                        <a:rPr lang="en-US" sz="1400" b="0" kern="100">
                          <a:solidFill>
                            <a:srgbClr val="0070C0"/>
                          </a:solidFill>
                          <a:effectLst/>
                          <a:latin typeface="+mn-ea"/>
                          <a:ea typeface="+mn-ea"/>
                        </a:rPr>
                        <a:t>SC004</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ja-JP" altLang="en-US" sz="1400" b="0" kern="100">
                          <a:solidFill>
                            <a:srgbClr val="0070C0"/>
                          </a:solidFill>
                          <a:effectLst/>
                          <a:latin typeface="+mn-ea"/>
                          <a:ea typeface="+mn-ea"/>
                          <a:cs typeface="Meiryo UI" panose="020B0604030504040204" pitchFamily="50" charset="-128"/>
                        </a:rPr>
                        <a:t>ユーザー管理画面</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42900" lvl="0" indent="-342900" algn="just">
                        <a:buFont typeface="Wingdings" panose="05000000000000000000" pitchFamily="2" charset="2"/>
                        <a:buChar char=""/>
                      </a:pPr>
                      <a:r>
                        <a:rPr lang="ja-JP" altLang="en-US" sz="1400" b="0" kern="100">
                          <a:solidFill>
                            <a:srgbClr val="0070C0"/>
                          </a:solidFill>
                          <a:effectLst/>
                          <a:latin typeface="+mn-ea"/>
                          <a:ea typeface="+mn-ea"/>
                          <a:cs typeface="Meiryo UI" panose="020B0604030504040204" pitchFamily="50" charset="-128"/>
                        </a:rPr>
                        <a:t>ユーザーに応じた権限付与を実施する画面</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480707"/>
                  </a:ext>
                </a:extLst>
              </a:tr>
              <a:tr h="356134">
                <a:tc>
                  <a:txBody>
                    <a:bodyPr/>
                    <a:lstStyle/>
                    <a:p>
                      <a:pPr algn="l"/>
                      <a:r>
                        <a:rPr lang="en-US" sz="1400" b="0" kern="100">
                          <a:solidFill>
                            <a:srgbClr val="0070C0"/>
                          </a:solidFill>
                          <a:effectLst/>
                          <a:latin typeface="+mn-ea"/>
                          <a:ea typeface="+mn-ea"/>
                        </a:rPr>
                        <a:t>SC005</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en-US" altLang="ja-JP" sz="1400" b="0" kern="100">
                          <a:solidFill>
                            <a:srgbClr val="0070C0"/>
                          </a:solidFill>
                          <a:effectLst/>
                          <a:latin typeface="+mn-ea"/>
                          <a:ea typeface="+mn-ea"/>
                          <a:cs typeface="Meiryo UI" panose="020B0604030504040204" pitchFamily="50" charset="-128"/>
                        </a:rPr>
                        <a:t>XXXXXXXXX</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42900" marR="0" lvl="0" indent="-342900" algn="just" defTabSz="74295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altLang="ja-JP" sz="1400" b="0" kern="100">
                          <a:solidFill>
                            <a:srgbClr val="0070C0"/>
                          </a:solidFill>
                          <a:effectLst/>
                          <a:latin typeface="+mn-ea"/>
                          <a:ea typeface="+mn-ea"/>
                          <a:cs typeface="Meiryo UI" panose="020B0604030504040204" pitchFamily="50" charset="-128"/>
                        </a:rPr>
                        <a:t>XXXXXXXXXX</a:t>
                      </a:r>
                      <a:endParaRPr lang="ja-JP" altLang="ja-JP" sz="1400" b="0" kern="100">
                        <a:solidFill>
                          <a:srgbClr val="0070C0"/>
                        </a:solidFill>
                        <a:effectLst/>
                        <a:latin typeface="+mn-ea"/>
                        <a:ea typeface="+mn-ea"/>
                        <a:cs typeface="Meiryo UI" panose="020B0604030504040204" pitchFamily="50" charset="-128"/>
                      </a:endParaRPr>
                    </a:p>
                    <a:p>
                      <a:pPr marL="342900" lvl="0" indent="-342900" algn="just">
                        <a:buFont typeface="Wingdings" panose="05000000000000000000" pitchFamily="2" charset="2"/>
                        <a:buChar char=""/>
                      </a:pP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8800064"/>
                  </a:ext>
                </a:extLst>
              </a:tr>
            </a:tbl>
          </a:graphicData>
        </a:graphic>
      </p:graphicFrame>
      <p:sp>
        <p:nvSpPr>
          <p:cNvPr id="5" name="テキスト ボックス 4">
            <a:extLst>
              <a:ext uri="{FF2B5EF4-FFF2-40B4-BE49-F238E27FC236}">
                <a16:creationId xmlns:a16="http://schemas.microsoft.com/office/drawing/2014/main" id="{21EA35D0-DCC8-BFE4-AD90-F5D44368584E}"/>
              </a:ext>
            </a:extLst>
          </p:cNvPr>
          <p:cNvSpPr txBox="1"/>
          <p:nvPr/>
        </p:nvSpPr>
        <p:spPr>
          <a:xfrm>
            <a:off x="2920785" y="3675017"/>
            <a:ext cx="6135987" cy="2385668"/>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前項で定義した画面設計に従い、各画面が提供する機能について記載してください。</a:t>
            </a:r>
          </a:p>
        </p:txBody>
      </p:sp>
    </p:spTree>
    <p:extLst>
      <p:ext uri="{BB962C8B-B14F-4D97-AF65-F5344CB8AC3E}">
        <p14:creationId xmlns:p14="http://schemas.microsoft.com/office/powerpoint/2010/main" val="13343074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7A908D4C-AB64-4D6C-A9D7-43C0FEFAFC61}"/>
              </a:ext>
            </a:extLst>
          </p:cNvPr>
          <p:cNvSpPr/>
          <p:nvPr/>
        </p:nvSpPr>
        <p:spPr>
          <a:xfrm>
            <a:off x="118188" y="1095901"/>
            <a:ext cx="3639912" cy="184868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endParaRPr kumimoji="1" lang="ja-JP" altLang="en-US" sz="1600">
              <a:solidFill>
                <a:schemeClr val="tx1"/>
              </a:solidFill>
            </a:endParaRPr>
          </a:p>
        </p:txBody>
      </p:sp>
      <p:sp>
        <p:nvSpPr>
          <p:cNvPr id="10" name="正方形/長方形 9">
            <a:extLst>
              <a:ext uri="{FF2B5EF4-FFF2-40B4-BE49-F238E27FC236}">
                <a16:creationId xmlns:a16="http://schemas.microsoft.com/office/drawing/2014/main" id="{80E6EF29-A9F8-46B2-8DDE-5092A65E485F}"/>
              </a:ext>
            </a:extLst>
          </p:cNvPr>
          <p:cNvSpPr/>
          <p:nvPr/>
        </p:nvSpPr>
        <p:spPr>
          <a:xfrm>
            <a:off x="157615" y="1101036"/>
            <a:ext cx="11876770" cy="5541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numCol="3" rtlCol="0" anchor="t"/>
          <a:lstStyle/>
          <a:p>
            <a:pPr marL="342900" indent="-342900">
              <a:buFont typeface="+mj-lt"/>
              <a:buAutoNum type="romanU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プロジェクトのビジョン</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解決すべき社会課題</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創出価値</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課題解決のアプローチ</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en-US" altLang="ja-JP" sz="1600" dirty="0">
                <a:solidFill>
                  <a:srgbClr val="000000"/>
                </a:solidFill>
                <a:latin typeface="BIZ UDPゴシック"/>
                <a:ea typeface="BIZ UDPゴシック"/>
              </a:rPr>
              <a:t>KPI</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想定事業機会</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中長期的な展開</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交通サービスの高度化</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サービス全体像</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lang="ja-JP" altLang="en-US" sz="1600" dirty="0">
                <a:solidFill>
                  <a:srgbClr val="000000"/>
                </a:solidFill>
                <a:latin typeface="BIZ UDPゴシック"/>
                <a:ea typeface="BIZ UDPゴシック"/>
              </a:rPr>
              <a:t>実証仮説</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lang="ja-JP" altLang="en-US" sz="1600" dirty="0">
                <a:solidFill>
                  <a:srgbClr val="000000"/>
                </a:solidFill>
                <a:latin typeface="BIZ UDPゴシック"/>
                <a:ea typeface="BIZ UDPゴシック"/>
              </a:rPr>
              <a:t>スコープ詳細　</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プロジェクト実施エリア</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利用する技術要素</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ユーザインタフェース</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事業の推進体制</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lvl="1">
              <a:defRPr/>
            </a:pPr>
            <a:endParaRPr lang="en-US" altLang="ja-JP" sz="1600" dirty="0">
              <a:solidFill>
                <a:srgbClr val="000000"/>
              </a:solidFill>
              <a:latin typeface="BIZ UDPゴシック"/>
              <a:ea typeface="BIZ UDPゴシック"/>
            </a:endParaRPr>
          </a:p>
          <a:p>
            <a:pPr lvl="1">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lvl="1">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lvl="1">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モビリティデータの取得と活用</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lang="ja-JP" altLang="en-US" sz="1600" dirty="0">
                <a:solidFill>
                  <a:srgbClr val="000000"/>
                </a:solidFill>
                <a:latin typeface="BIZ UDPゴシック"/>
                <a:ea typeface="BIZ UDPゴシック"/>
              </a:rPr>
              <a:t>データ活用の</a:t>
            </a: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全体像</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実証仮説</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スコープ詳細</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データ活用実施エリア</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利用する技術要素</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利用するデータ一覧</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ユーザインターフェース</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事業の推進体制</a:t>
            </a:r>
            <a:endParaRPr lang="en-US" altLang="ja-JP" sz="1600" dirty="0">
              <a:solidFill>
                <a:srgbClr val="000000"/>
              </a:solidFill>
              <a:latin typeface="BIZ UDPゴシック"/>
              <a:ea typeface="BIZ UDPゴシック"/>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US" altLang="ja-JP" sz="1600" dirty="0">
              <a:solidFill>
                <a:srgbClr val="000000"/>
              </a:solidFill>
              <a:latin typeface="BIZ UDPゴシック"/>
              <a:ea typeface="BIZ UDPゴシック"/>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エンドコンテンツとの連携</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サービス全体像</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lang="ja-JP" altLang="en-US" sz="1600" dirty="0">
                <a:solidFill>
                  <a:srgbClr val="000000"/>
                </a:solidFill>
                <a:latin typeface="BIZ UDPゴシック"/>
                <a:ea typeface="BIZ UDPゴシック"/>
              </a:rPr>
              <a:t>実証仮説</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lang="ja-JP" altLang="en-US" sz="1600" dirty="0">
                <a:solidFill>
                  <a:srgbClr val="000000"/>
                </a:solidFill>
                <a:latin typeface="BIZ UDPゴシック"/>
                <a:ea typeface="BIZ UDPゴシック"/>
              </a:rPr>
              <a:t>スコープ詳細　</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プロジェクト実施エリア</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利用する技術要素</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ユーザインタフェース</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事業の推進体制</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スケジュール</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スケジュール（</a:t>
            </a:r>
            <a:r>
              <a:rPr lang="en-US" altLang="ja-JP" sz="1600" dirty="0">
                <a:solidFill>
                  <a:srgbClr val="000000"/>
                </a:solidFill>
                <a:latin typeface="BIZ UDPゴシック"/>
                <a:ea typeface="BIZ UDPゴシック"/>
              </a:rPr>
              <a:t>WBS</a:t>
            </a:r>
            <a:r>
              <a:rPr lang="ja-JP" altLang="en-US" sz="1600" dirty="0">
                <a:solidFill>
                  <a:srgbClr val="000000"/>
                </a:solidFill>
                <a:latin typeface="BIZ UDPゴシック"/>
                <a:ea typeface="BIZ UDPゴシック"/>
              </a:rPr>
              <a:t>ガントチャート）</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プロジェクトのフロー</a:t>
            </a:r>
            <a:endParaRPr lang="en-US" altLang="ja-JP" sz="1600" dirty="0">
              <a:solidFill>
                <a:srgbClr val="000000"/>
              </a:solidFill>
              <a:latin typeface="BIZ UDPゴシック"/>
              <a:ea typeface="BIZ UDPゴシック"/>
            </a:endParaRPr>
          </a:p>
          <a:p>
            <a:pPr marL="800100" lvl="1" indent="-342900">
              <a:buFont typeface="+mj-lt"/>
              <a:buAutoNum type="arabicPeriod"/>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マネジメント計画</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リスク・課題</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コスト</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リソース（プロジェクト実施体制）</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コミュニケーション</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品質</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成果物</a:t>
            </a:r>
            <a:endParaRPr lang="en-US" altLang="ja-JP" sz="1600" dirty="0">
              <a:solidFill>
                <a:srgbClr val="000000"/>
              </a:solidFill>
              <a:latin typeface="BIZ UDPゴシック"/>
              <a:ea typeface="BIZ UDPゴシック"/>
            </a:endParaRPr>
          </a:p>
          <a:p>
            <a:pPr lvl="1">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R="0" lvl="2" algn="l" defTabSz="914400" rtl="0" eaLnBrk="1" fontAlgn="auto" latinLnBrk="0" hangingPunct="1">
              <a:lnSpc>
                <a:spcPct val="100000"/>
              </a:lnSpc>
              <a:spcBef>
                <a:spcPts val="0"/>
              </a:spcBef>
              <a:spcAft>
                <a:spcPts val="0"/>
              </a:spcAft>
              <a:buClrTx/>
              <a:buSzTx/>
              <a:tabLst/>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p:txBody>
      </p:sp>
      <p:graphicFrame>
        <p:nvGraphicFramePr>
          <p:cNvPr id="8" name="オブジェクト 7" hidden="1">
            <a:extLst>
              <a:ext uri="{FF2B5EF4-FFF2-40B4-BE49-F238E27FC236}">
                <a16:creationId xmlns:a16="http://schemas.microsoft.com/office/drawing/2014/main" id="{1BBE9D25-4DE5-46EE-8FED-CB8ED36E5506}"/>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99" imgH="499" progId="TCLayout.ActiveDocument.1">
                  <p:embed/>
                </p:oleObj>
              </mc:Choice>
              <mc:Fallback>
                <p:oleObj name="think-cell スライド" r:id="rId4" imgW="499" imgH="499" progId="TCLayout.ActiveDocument.1">
                  <p:embed/>
                  <p:pic>
                    <p:nvPicPr>
                      <p:cNvPr id="8" name="オブジェクト 7" hidden="1">
                        <a:extLst>
                          <a:ext uri="{FF2B5EF4-FFF2-40B4-BE49-F238E27FC236}">
                            <a16:creationId xmlns:a16="http://schemas.microsoft.com/office/drawing/2014/main" id="{1BBE9D25-4DE5-46EE-8FED-CB8ED36E5506}"/>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11" name="テキスト プレースホルダー 10">
            <a:extLst>
              <a:ext uri="{FF2B5EF4-FFF2-40B4-BE49-F238E27FC236}">
                <a16:creationId xmlns:a16="http://schemas.microsoft.com/office/drawing/2014/main" id="{D6B57F77-6747-8345-B97F-B6205C839C6A}"/>
              </a:ext>
            </a:extLst>
          </p:cNvPr>
          <p:cNvSpPr>
            <a:spLocks noGrp="1"/>
          </p:cNvSpPr>
          <p:nvPr>
            <p:ph type="body" sz="quarter" idx="36"/>
          </p:nvPr>
        </p:nvSpPr>
        <p:spPr/>
        <p:txBody>
          <a:bodyPr/>
          <a:lstStyle/>
          <a:p>
            <a:endParaRPr lang="ja-JP" altLang="en-US"/>
          </a:p>
        </p:txBody>
      </p:sp>
      <p:sp>
        <p:nvSpPr>
          <p:cNvPr id="2" name="タイトル 1">
            <a:extLst>
              <a:ext uri="{FF2B5EF4-FFF2-40B4-BE49-F238E27FC236}">
                <a16:creationId xmlns:a16="http://schemas.microsoft.com/office/drawing/2014/main" id="{05AAEBB6-71D6-4253-80ED-017092C77AD9}"/>
              </a:ext>
            </a:extLst>
          </p:cNvPr>
          <p:cNvSpPr>
            <a:spLocks noGrp="1"/>
          </p:cNvSpPr>
          <p:nvPr>
            <p:ph type="title"/>
          </p:nvPr>
        </p:nvSpPr>
        <p:spPr/>
        <p:txBody>
          <a:bodyPr vert="horz"/>
          <a:lstStyle/>
          <a:p>
            <a:r>
              <a:rPr kumimoji="1" lang="ja-JP" altLang="en-US"/>
              <a:t>目次</a:t>
            </a:r>
          </a:p>
        </p:txBody>
      </p:sp>
    </p:spTree>
    <p:extLst>
      <p:ext uri="{BB962C8B-B14F-4D97-AF65-F5344CB8AC3E}">
        <p14:creationId xmlns:p14="http://schemas.microsoft.com/office/powerpoint/2010/main" val="177738332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13D425D-4833-5C45-A720-ECEB95C590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12" imgH="511" progId="TCLayout.ActiveDocument.1">
                  <p:embed/>
                </p:oleObj>
              </mc:Choice>
              <mc:Fallback>
                <p:oleObj name="think-cell スライド" r:id="rId3" imgW="512" imgH="511" progId="TCLayout.ActiveDocument.1">
                  <p:embed/>
                  <p:pic>
                    <p:nvPicPr>
                      <p:cNvPr id="5" name="think-cell data - do not delete" hidden="1">
                        <a:extLst>
                          <a:ext uri="{FF2B5EF4-FFF2-40B4-BE49-F238E27FC236}">
                            <a16:creationId xmlns:a16="http://schemas.microsoft.com/office/drawing/2014/main" id="{513D425D-4833-5C45-A720-ECEB95C590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8">
            <a:extLst>
              <a:ext uri="{FF2B5EF4-FFF2-40B4-BE49-F238E27FC236}">
                <a16:creationId xmlns:a16="http://schemas.microsoft.com/office/drawing/2014/main" id="{43C330CB-8A4D-F4A2-AFFC-48CA4FB9C719}"/>
              </a:ext>
            </a:extLst>
          </p:cNvPr>
          <p:cNvSpPr>
            <a:spLocks noGrp="1"/>
          </p:cNvSpPr>
          <p:nvPr>
            <p:ph type="body" sz="quarter" idx="4294967295"/>
          </p:nvPr>
        </p:nvSpPr>
        <p:spPr>
          <a:xfrm>
            <a:off x="300779" y="1134673"/>
            <a:ext cx="11376000" cy="323165"/>
          </a:xfrm>
        </p:spPr>
        <p:txBody>
          <a:bodyPr>
            <a:normAutofit fontScale="92500" lnSpcReduction="2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マリーを記載</a:t>
            </a: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 name="テキスト プレースホルダー 2">
            <a:extLst>
              <a:ext uri="{FF2B5EF4-FFF2-40B4-BE49-F238E27FC236}">
                <a16:creationId xmlns:a16="http://schemas.microsoft.com/office/drawing/2014/main" id="{6247E137-868B-539C-2D6E-DC37708CAC30}"/>
              </a:ext>
            </a:extLst>
          </p:cNvPr>
          <p:cNvSpPr>
            <a:spLocks noGrp="1"/>
          </p:cNvSpPr>
          <p:nvPr>
            <p:ph type="body" sz="quarter" idx="36"/>
          </p:nvPr>
        </p:nvSpPr>
        <p:spPr/>
        <p:txBody>
          <a:bodyPr/>
          <a:lstStyle/>
          <a:p>
            <a:r>
              <a:rPr lang="en-US" altLang="ja-JP"/>
              <a:t>Ⅲ.</a:t>
            </a:r>
            <a:r>
              <a:rPr lang="ja-JP" altLang="en-US"/>
              <a:t>モビリティデータの取得と活用</a:t>
            </a:r>
          </a:p>
        </p:txBody>
      </p:sp>
      <p:sp>
        <p:nvSpPr>
          <p:cNvPr id="4" name="タイトル 3">
            <a:extLst>
              <a:ext uri="{FF2B5EF4-FFF2-40B4-BE49-F238E27FC236}">
                <a16:creationId xmlns:a16="http://schemas.microsoft.com/office/drawing/2014/main" id="{2C3BBDD6-C18E-A8D5-D35C-ABB97297C5DD}"/>
              </a:ext>
            </a:extLst>
          </p:cNvPr>
          <p:cNvSpPr>
            <a:spLocks noGrp="1"/>
          </p:cNvSpPr>
          <p:nvPr>
            <p:ph type="title"/>
          </p:nvPr>
        </p:nvSpPr>
        <p:spPr/>
        <p:txBody>
          <a:bodyPr vert="horz"/>
          <a:lstStyle/>
          <a:p>
            <a:r>
              <a:rPr lang="ja-JP" altLang="en-US"/>
              <a:t>１０</a:t>
            </a:r>
            <a:r>
              <a:rPr kumimoji="1" lang="en-US" altLang="ja-JP"/>
              <a:t>.</a:t>
            </a:r>
            <a:r>
              <a:rPr lang="ja-JP" altLang="en-US"/>
              <a:t>事業の推進体制</a:t>
            </a:r>
            <a:endParaRPr kumimoji="1" lang="ja-JP" altLang="en-US"/>
          </a:p>
        </p:txBody>
      </p:sp>
      <p:graphicFrame>
        <p:nvGraphicFramePr>
          <p:cNvPr id="6" name="表 7">
            <a:extLst>
              <a:ext uri="{FF2B5EF4-FFF2-40B4-BE49-F238E27FC236}">
                <a16:creationId xmlns:a16="http://schemas.microsoft.com/office/drawing/2014/main" id="{310C28F0-2996-A4FE-AD73-2193C8A58EAD}"/>
              </a:ext>
            </a:extLst>
          </p:cNvPr>
          <p:cNvGraphicFramePr>
            <a:graphicFrameLocks noGrp="1"/>
          </p:cNvGraphicFramePr>
          <p:nvPr>
            <p:extLst>
              <p:ext uri="{D42A27DB-BD31-4B8C-83A1-F6EECF244321}">
                <p14:modId xmlns:p14="http://schemas.microsoft.com/office/powerpoint/2010/main" val="2672396078"/>
              </p:ext>
            </p:extLst>
          </p:nvPr>
        </p:nvGraphicFramePr>
        <p:xfrm>
          <a:off x="300779" y="1847524"/>
          <a:ext cx="11604626" cy="3528225"/>
        </p:xfrm>
        <a:graphic>
          <a:graphicData uri="http://schemas.openxmlformats.org/drawingml/2006/table">
            <a:tbl>
              <a:tblPr>
                <a:tableStyleId>{5C22544A-7EE6-4342-B048-85BDC9FD1C3A}</a:tableStyleId>
              </a:tblPr>
              <a:tblGrid>
                <a:gridCol w="5807500">
                  <a:extLst>
                    <a:ext uri="{9D8B030D-6E8A-4147-A177-3AD203B41FA5}">
                      <a16:colId xmlns:a16="http://schemas.microsoft.com/office/drawing/2014/main" val="564283603"/>
                    </a:ext>
                  </a:extLst>
                </a:gridCol>
                <a:gridCol w="5797126">
                  <a:extLst>
                    <a:ext uri="{9D8B030D-6E8A-4147-A177-3AD203B41FA5}">
                      <a16:colId xmlns:a16="http://schemas.microsoft.com/office/drawing/2014/main" val="1942113200"/>
                    </a:ext>
                  </a:extLst>
                </a:gridCol>
              </a:tblGrid>
              <a:tr h="404025">
                <a:tc>
                  <a:txBody>
                    <a:bodyPr/>
                    <a:lstStyle/>
                    <a:p>
                      <a:r>
                        <a:rPr kumimoji="1" lang="ja-JP" altLang="en-US" sz="1400" b="1">
                          <a:latin typeface="+mn-ea"/>
                          <a:ea typeface="+mn-ea"/>
                        </a:rPr>
                        <a:t>関係者（名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400" b="1">
                          <a:latin typeface="+mn-ea"/>
                          <a:ea typeface="+mn-ea"/>
                        </a:rPr>
                        <a:t>役割</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9378519"/>
                  </a:ext>
                </a:extLst>
              </a:tr>
              <a:tr h="434340">
                <a:tc>
                  <a:txBody>
                    <a:bodyPr/>
                    <a:lstStyle/>
                    <a:p>
                      <a:r>
                        <a:rPr kumimoji="1" lang="en-US" altLang="ja-JP" sz="1400">
                          <a:solidFill>
                            <a:srgbClr val="0070C0"/>
                          </a:solidFill>
                          <a:latin typeface="+mn-ea"/>
                          <a:ea typeface="+mn-ea"/>
                        </a:rPr>
                        <a:t>AA</a:t>
                      </a:r>
                      <a:r>
                        <a:rPr kumimoji="1" lang="ja-JP" altLang="en-US" sz="1400">
                          <a:solidFill>
                            <a:srgbClr val="0070C0"/>
                          </a:solidFill>
                          <a:latin typeface="+mn-ea"/>
                          <a:ea typeface="+mn-ea"/>
                        </a:rPr>
                        <a:t>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全体統括、企画運営</a:t>
                      </a:r>
                      <a:endParaRPr kumimoji="1" lang="en-US" altLang="ja-JP" sz="140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94776207"/>
                  </a:ext>
                </a:extLst>
              </a:tr>
              <a:tr h="4343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a:solidFill>
                            <a:srgbClr val="0070C0"/>
                          </a:solidFill>
                          <a:latin typeface="+mn-ea"/>
                          <a:ea typeface="+mn-ea"/>
                        </a:rPr>
                        <a:t>BB</a:t>
                      </a:r>
                      <a:r>
                        <a:rPr kumimoji="1" lang="ja-JP" altLang="en-US" sz="1400">
                          <a:solidFill>
                            <a:srgbClr val="0070C0"/>
                          </a:solidFill>
                          <a:latin typeface="+mn-ea"/>
                          <a:ea typeface="+mn-ea"/>
                        </a:rPr>
                        <a:t>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ダッシュボードシステムの開発</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44902017"/>
                  </a:ext>
                </a:extLst>
              </a:tr>
              <a:tr h="4343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a:solidFill>
                            <a:srgbClr val="0070C0"/>
                          </a:solidFill>
                          <a:latin typeface="+mn-ea"/>
                          <a:ea typeface="+mn-ea"/>
                        </a:rPr>
                        <a:t>CC</a:t>
                      </a:r>
                      <a:r>
                        <a:rPr kumimoji="1" lang="ja-JP" altLang="en-US" sz="1400">
                          <a:solidFill>
                            <a:srgbClr val="0070C0"/>
                          </a:solidFill>
                          <a:latin typeface="+mn-ea"/>
                          <a:ea typeface="+mn-ea"/>
                        </a:rPr>
                        <a:t>株式会社（○○）</a:t>
                      </a:r>
                      <a:endParaRPr kumimoji="1" lang="en-US" altLang="ja-JP" sz="140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路線バスの一件明細データの提供</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16460124"/>
                  </a:ext>
                </a:extLst>
              </a:tr>
              <a:tr h="434340">
                <a:tc>
                  <a:txBody>
                    <a:bodyPr/>
                    <a:lstStyle/>
                    <a:p>
                      <a:r>
                        <a:rPr kumimoji="1" lang="en-US" altLang="ja-JP" sz="1400">
                          <a:solidFill>
                            <a:srgbClr val="0070C0"/>
                          </a:solidFill>
                          <a:latin typeface="+mn-ea"/>
                          <a:ea typeface="+mn-ea"/>
                        </a:rPr>
                        <a:t>DD</a:t>
                      </a:r>
                      <a:r>
                        <a:rPr kumimoji="1" lang="ja-JP" altLang="en-US" sz="1400">
                          <a:solidFill>
                            <a:srgbClr val="0070C0"/>
                          </a:solidFill>
                          <a:latin typeface="+mn-ea"/>
                          <a:ea typeface="+mn-ea"/>
                        </a:rPr>
                        <a:t>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オンデマンドバスの運行日報の提供</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04760456"/>
                  </a:ext>
                </a:extLst>
              </a:tr>
              <a:tr h="434340">
                <a:tc>
                  <a:txBody>
                    <a:bodyPr/>
                    <a:lstStyle/>
                    <a:p>
                      <a:r>
                        <a:rPr kumimoji="1" lang="en-US" altLang="ja-JP" sz="1400">
                          <a:solidFill>
                            <a:srgbClr val="0070C0"/>
                          </a:solidFill>
                          <a:latin typeface="+mn-ea"/>
                          <a:ea typeface="+mn-ea"/>
                        </a:rPr>
                        <a:t>EE</a:t>
                      </a:r>
                      <a:r>
                        <a:rPr kumimoji="1" lang="ja-JP" altLang="en-US" sz="1400">
                          <a:solidFill>
                            <a:srgbClr val="0070C0"/>
                          </a:solidFill>
                          <a:latin typeface="+mn-ea"/>
                          <a:ea typeface="+mn-ea"/>
                        </a:rPr>
                        <a:t>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400">
                          <a:solidFill>
                            <a:srgbClr val="0070C0"/>
                          </a:solidFill>
                          <a:latin typeface="+mn-ea"/>
                          <a:ea typeface="+mn-ea"/>
                        </a:rPr>
                        <a:t>IC</a:t>
                      </a:r>
                      <a:r>
                        <a:rPr kumimoji="1" lang="ja-JP" altLang="en-US" sz="1400">
                          <a:solidFill>
                            <a:srgbClr val="0070C0"/>
                          </a:solidFill>
                          <a:latin typeface="+mn-ea"/>
                          <a:ea typeface="+mn-ea"/>
                        </a:rPr>
                        <a:t>カード利用実績データの提供</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93914819"/>
                  </a:ext>
                </a:extLst>
              </a:tr>
              <a:tr h="434340">
                <a:tc>
                  <a:txBody>
                    <a:bodyPr/>
                    <a:lstStyle/>
                    <a:p>
                      <a:r>
                        <a:rPr kumimoji="1" lang="en-US" altLang="ja-JP" sz="1400">
                          <a:solidFill>
                            <a:srgbClr val="0070C0"/>
                          </a:solidFill>
                          <a:latin typeface="+mn-ea"/>
                          <a:ea typeface="+mn-ea"/>
                        </a:rPr>
                        <a:t>FF</a:t>
                      </a:r>
                      <a:r>
                        <a:rPr kumimoji="1" lang="ja-JP" altLang="en-US" sz="1400">
                          <a:solidFill>
                            <a:srgbClr val="0070C0"/>
                          </a:solidFill>
                          <a:latin typeface="+mn-ea"/>
                          <a:ea typeface="+mn-ea"/>
                        </a:rPr>
                        <a:t>市（○○）</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400">
                          <a:solidFill>
                            <a:srgbClr val="0070C0"/>
                          </a:solidFill>
                          <a:latin typeface="+mn-ea"/>
                          <a:ea typeface="+mn-ea"/>
                        </a:rPr>
                        <a:t>OD</a:t>
                      </a:r>
                      <a:r>
                        <a:rPr kumimoji="1" lang="ja-JP" altLang="en-US" sz="1400">
                          <a:solidFill>
                            <a:srgbClr val="0070C0"/>
                          </a:solidFill>
                          <a:latin typeface="+mn-ea"/>
                          <a:ea typeface="+mn-ea"/>
                        </a:rPr>
                        <a:t>データを可視化した資料を作成。地域公共交通会議での提供</a:t>
                      </a:r>
                      <a:endParaRPr kumimoji="1" lang="en-US" altLang="ja-JP" sz="1400">
                        <a:solidFill>
                          <a:srgbClr val="0070C0"/>
                        </a:solidFill>
                        <a:latin typeface="+mn-ea"/>
                        <a:ea typeface="+mn-ea"/>
                      </a:endParaRPr>
                    </a:p>
                    <a:p>
                      <a:r>
                        <a:rPr kumimoji="1" lang="ja-JP" altLang="en-US" sz="1400">
                          <a:solidFill>
                            <a:srgbClr val="0070C0"/>
                          </a:solidFill>
                          <a:latin typeface="+mn-ea"/>
                          <a:ea typeface="+mn-ea"/>
                        </a:rPr>
                        <a:t>（月に</a:t>
                      </a:r>
                      <a:r>
                        <a:rPr kumimoji="1" lang="en-US" altLang="ja-JP" sz="1400">
                          <a:solidFill>
                            <a:srgbClr val="0070C0"/>
                          </a:solidFill>
                          <a:latin typeface="+mn-ea"/>
                          <a:ea typeface="+mn-ea"/>
                        </a:rPr>
                        <a:t>1</a:t>
                      </a:r>
                      <a:r>
                        <a:rPr kumimoji="1" lang="ja-JP" altLang="en-US" sz="1400">
                          <a:solidFill>
                            <a:srgbClr val="0070C0"/>
                          </a:solidFill>
                          <a:latin typeface="+mn-ea"/>
                          <a:ea typeface="+mn-ea"/>
                        </a:rPr>
                        <a:t>回）</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69944166"/>
                  </a:ext>
                </a:extLst>
              </a:tr>
              <a:tr h="434340">
                <a:tc>
                  <a:txBody>
                    <a:bodyPr/>
                    <a:lstStyle/>
                    <a:p>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18161926"/>
                  </a:ext>
                </a:extLst>
              </a:tr>
            </a:tbl>
          </a:graphicData>
        </a:graphic>
      </p:graphicFrame>
      <p:sp>
        <p:nvSpPr>
          <p:cNvPr id="7" name="テキスト ボックス 6">
            <a:extLst>
              <a:ext uri="{FF2B5EF4-FFF2-40B4-BE49-F238E27FC236}">
                <a16:creationId xmlns:a16="http://schemas.microsoft.com/office/drawing/2014/main" id="{79070467-F16A-2561-6732-C9883A64F9FC}"/>
              </a:ext>
            </a:extLst>
          </p:cNvPr>
          <p:cNvSpPr txBox="1"/>
          <p:nvPr/>
        </p:nvSpPr>
        <p:spPr>
          <a:xfrm>
            <a:off x="3028006" y="4022518"/>
            <a:ext cx="6135987" cy="1074059"/>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モビリティデータの取得と活用領域に関与する関係者を網羅的に特定し、役割を明確にしてください。​</a:t>
            </a:r>
          </a:p>
        </p:txBody>
      </p:sp>
    </p:spTree>
    <p:extLst>
      <p:ext uri="{BB962C8B-B14F-4D97-AF65-F5344CB8AC3E}">
        <p14:creationId xmlns:p14="http://schemas.microsoft.com/office/powerpoint/2010/main" val="404440300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7A908D4C-AB64-4D6C-A9D7-43C0FEFAFC61}"/>
              </a:ext>
            </a:extLst>
          </p:cNvPr>
          <p:cNvSpPr/>
          <p:nvPr/>
        </p:nvSpPr>
        <p:spPr>
          <a:xfrm>
            <a:off x="3899613" y="4048651"/>
            <a:ext cx="3639912" cy="2593723"/>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endParaRPr kumimoji="1" lang="ja-JP" altLang="en-US" sz="1600">
              <a:solidFill>
                <a:schemeClr val="tx1"/>
              </a:solidFill>
            </a:endParaRPr>
          </a:p>
        </p:txBody>
      </p:sp>
      <p:graphicFrame>
        <p:nvGraphicFramePr>
          <p:cNvPr id="8" name="オブジェクト 7" hidden="1">
            <a:extLst>
              <a:ext uri="{FF2B5EF4-FFF2-40B4-BE49-F238E27FC236}">
                <a16:creationId xmlns:a16="http://schemas.microsoft.com/office/drawing/2014/main" id="{1BBE9D25-4DE5-46EE-8FED-CB8ED36E5506}"/>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99" imgH="499" progId="TCLayout.ActiveDocument.1">
                  <p:embed/>
                </p:oleObj>
              </mc:Choice>
              <mc:Fallback>
                <p:oleObj name="think-cell スライド" r:id="rId4" imgW="499" imgH="499" progId="TCLayout.ActiveDocument.1">
                  <p:embed/>
                  <p:pic>
                    <p:nvPicPr>
                      <p:cNvPr id="8" name="オブジェクト 7" hidden="1">
                        <a:extLst>
                          <a:ext uri="{FF2B5EF4-FFF2-40B4-BE49-F238E27FC236}">
                            <a16:creationId xmlns:a16="http://schemas.microsoft.com/office/drawing/2014/main" id="{1BBE9D25-4DE5-46EE-8FED-CB8ED36E5506}"/>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11" name="テキスト プレースホルダー 10">
            <a:extLst>
              <a:ext uri="{FF2B5EF4-FFF2-40B4-BE49-F238E27FC236}">
                <a16:creationId xmlns:a16="http://schemas.microsoft.com/office/drawing/2014/main" id="{D6B57F77-6747-8345-B97F-B6205C839C6A}"/>
              </a:ext>
            </a:extLst>
          </p:cNvPr>
          <p:cNvSpPr>
            <a:spLocks noGrp="1"/>
          </p:cNvSpPr>
          <p:nvPr>
            <p:ph type="body" sz="quarter" idx="36"/>
          </p:nvPr>
        </p:nvSpPr>
        <p:spPr/>
        <p:txBody>
          <a:bodyPr/>
          <a:lstStyle/>
          <a:p>
            <a:endParaRPr lang="ja-JP" altLang="en-US"/>
          </a:p>
        </p:txBody>
      </p:sp>
      <p:sp>
        <p:nvSpPr>
          <p:cNvPr id="2" name="タイトル 1">
            <a:extLst>
              <a:ext uri="{FF2B5EF4-FFF2-40B4-BE49-F238E27FC236}">
                <a16:creationId xmlns:a16="http://schemas.microsoft.com/office/drawing/2014/main" id="{05AAEBB6-71D6-4253-80ED-017092C77AD9}"/>
              </a:ext>
            </a:extLst>
          </p:cNvPr>
          <p:cNvSpPr>
            <a:spLocks noGrp="1"/>
          </p:cNvSpPr>
          <p:nvPr>
            <p:ph type="title"/>
          </p:nvPr>
        </p:nvSpPr>
        <p:spPr/>
        <p:txBody>
          <a:bodyPr vert="horz"/>
          <a:lstStyle/>
          <a:p>
            <a:r>
              <a:rPr kumimoji="1" lang="ja-JP" altLang="en-US"/>
              <a:t>目次</a:t>
            </a:r>
          </a:p>
        </p:txBody>
      </p:sp>
      <p:sp>
        <p:nvSpPr>
          <p:cNvPr id="4" name="正方形/長方形 3">
            <a:extLst>
              <a:ext uri="{FF2B5EF4-FFF2-40B4-BE49-F238E27FC236}">
                <a16:creationId xmlns:a16="http://schemas.microsoft.com/office/drawing/2014/main" id="{1291AD02-EF8D-FE71-A248-6A9C38F76504}"/>
              </a:ext>
            </a:extLst>
          </p:cNvPr>
          <p:cNvSpPr/>
          <p:nvPr/>
        </p:nvSpPr>
        <p:spPr>
          <a:xfrm>
            <a:off x="157615" y="1101036"/>
            <a:ext cx="11876770" cy="5541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numCol="3" rtlCol="0" anchor="t"/>
          <a:lstStyle/>
          <a:p>
            <a:pPr marL="342900" indent="-342900">
              <a:buFont typeface="+mj-lt"/>
              <a:buAutoNum type="romanU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プロジェクトのビジョン</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解決すべき社会課題</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創出価値</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課題解決のアプローチ</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en-US" altLang="ja-JP" sz="1600" dirty="0">
                <a:solidFill>
                  <a:srgbClr val="000000"/>
                </a:solidFill>
                <a:latin typeface="BIZ UDPゴシック"/>
                <a:ea typeface="BIZ UDPゴシック"/>
              </a:rPr>
              <a:t>KPI</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想定事業機会</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中長期的な展開</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交通サービスの高度化</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サービス全体像</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lang="ja-JP" altLang="en-US" sz="1600" dirty="0">
                <a:solidFill>
                  <a:srgbClr val="000000"/>
                </a:solidFill>
                <a:latin typeface="BIZ UDPゴシック"/>
                <a:ea typeface="BIZ UDPゴシック"/>
              </a:rPr>
              <a:t>実証仮説</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lang="ja-JP" altLang="en-US" sz="1600" dirty="0">
                <a:solidFill>
                  <a:srgbClr val="000000"/>
                </a:solidFill>
                <a:latin typeface="BIZ UDPゴシック"/>
                <a:ea typeface="BIZ UDPゴシック"/>
              </a:rPr>
              <a:t>スコープ詳細　</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プロジェクト実施エリア</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利用する技術要素</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ユーザインタフェース</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事業の推進体制</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lvl="1">
              <a:defRPr/>
            </a:pPr>
            <a:endParaRPr lang="en-US" altLang="ja-JP" sz="1600" dirty="0">
              <a:solidFill>
                <a:srgbClr val="000000"/>
              </a:solidFill>
              <a:latin typeface="BIZ UDPゴシック"/>
              <a:ea typeface="BIZ UDPゴシック"/>
            </a:endParaRPr>
          </a:p>
          <a:p>
            <a:pPr lvl="1">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lvl="1">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lvl="1">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モビリティデータの取得と活用</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lang="ja-JP" altLang="en-US" sz="1600" dirty="0">
                <a:solidFill>
                  <a:srgbClr val="000000"/>
                </a:solidFill>
                <a:latin typeface="BIZ UDPゴシック"/>
                <a:ea typeface="BIZ UDPゴシック"/>
              </a:rPr>
              <a:t>データ活用の</a:t>
            </a: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全体像</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実証仮説</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スコープ詳細</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データ活用実施エリア</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利用する技術要素</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利用するデータ一覧</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ユーザインターフェース</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事業の推進体制</a:t>
            </a:r>
            <a:endParaRPr lang="en-US" altLang="ja-JP" sz="1600" dirty="0">
              <a:solidFill>
                <a:srgbClr val="000000"/>
              </a:solidFill>
              <a:latin typeface="BIZ UDPゴシック"/>
              <a:ea typeface="BIZ UDPゴシック"/>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US" altLang="ja-JP" sz="1600" dirty="0">
              <a:solidFill>
                <a:srgbClr val="000000"/>
              </a:solidFill>
              <a:latin typeface="BIZ UDPゴシック"/>
              <a:ea typeface="BIZ UDPゴシック"/>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エンドコンテンツとの連携</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サービス全体像</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lang="ja-JP" altLang="en-US" sz="1600" dirty="0">
                <a:solidFill>
                  <a:srgbClr val="000000"/>
                </a:solidFill>
                <a:latin typeface="BIZ UDPゴシック"/>
                <a:ea typeface="BIZ UDPゴシック"/>
              </a:rPr>
              <a:t>実証仮説</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lang="ja-JP" altLang="en-US" sz="1600" dirty="0">
                <a:solidFill>
                  <a:srgbClr val="000000"/>
                </a:solidFill>
                <a:latin typeface="BIZ UDPゴシック"/>
                <a:ea typeface="BIZ UDPゴシック"/>
              </a:rPr>
              <a:t>スコープ詳細　</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プロジェクト実施エリア</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利用する技術要素</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ユーザインタフェース</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事業の推進体制</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スケジュール</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スケジュール（</a:t>
            </a:r>
            <a:r>
              <a:rPr lang="en-US" altLang="ja-JP" sz="1600" dirty="0">
                <a:solidFill>
                  <a:srgbClr val="000000"/>
                </a:solidFill>
                <a:latin typeface="BIZ UDPゴシック"/>
                <a:ea typeface="BIZ UDPゴシック"/>
              </a:rPr>
              <a:t>WBS</a:t>
            </a:r>
            <a:r>
              <a:rPr lang="ja-JP" altLang="en-US" sz="1600" dirty="0">
                <a:solidFill>
                  <a:srgbClr val="000000"/>
                </a:solidFill>
                <a:latin typeface="BIZ UDPゴシック"/>
                <a:ea typeface="BIZ UDPゴシック"/>
              </a:rPr>
              <a:t>ガントチャート）</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プロジェクトのフロー</a:t>
            </a:r>
            <a:endParaRPr lang="en-US" altLang="ja-JP" sz="1600" dirty="0">
              <a:solidFill>
                <a:srgbClr val="000000"/>
              </a:solidFill>
              <a:latin typeface="BIZ UDPゴシック"/>
              <a:ea typeface="BIZ UDPゴシック"/>
            </a:endParaRPr>
          </a:p>
          <a:p>
            <a:pPr marL="800100" lvl="1" indent="-342900">
              <a:buFont typeface="+mj-lt"/>
              <a:buAutoNum type="arabicPeriod"/>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マネジメント計画</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リスク・課題</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コスト</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リソース（プロジェクト実施体制）</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コミュニケーション</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品質</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成果物</a:t>
            </a:r>
            <a:endParaRPr lang="en-US" altLang="ja-JP" sz="1600" dirty="0">
              <a:solidFill>
                <a:srgbClr val="000000"/>
              </a:solidFill>
              <a:latin typeface="BIZ UDPゴシック"/>
              <a:ea typeface="BIZ UDPゴシック"/>
            </a:endParaRPr>
          </a:p>
          <a:p>
            <a:pPr lvl="1">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R="0" lvl="2" algn="l" defTabSz="914400" rtl="0" eaLnBrk="1" fontAlgn="auto" latinLnBrk="0" hangingPunct="1">
              <a:lnSpc>
                <a:spcPct val="100000"/>
              </a:lnSpc>
              <a:spcBef>
                <a:spcPts val="0"/>
              </a:spcBef>
              <a:spcAft>
                <a:spcPts val="0"/>
              </a:spcAft>
              <a:buClrTx/>
              <a:buSzTx/>
              <a:tabLst/>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p:txBody>
      </p:sp>
    </p:spTree>
    <p:extLst>
      <p:ext uri="{BB962C8B-B14F-4D97-AF65-F5344CB8AC3E}">
        <p14:creationId xmlns:p14="http://schemas.microsoft.com/office/powerpoint/2010/main" val="1719923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Ⅳ.</a:t>
            </a:r>
            <a:r>
              <a:rPr lang="ja-JP" altLang="en-US"/>
              <a:t>エンドコンテンツとの連携</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en-US" altLang="ja-JP"/>
              <a:t>1.</a:t>
            </a:r>
            <a:r>
              <a:rPr lang="ja-JP" altLang="en-US"/>
              <a:t>サービス全体像</a:t>
            </a:r>
          </a:p>
        </p:txBody>
      </p:sp>
      <p:grpSp>
        <p:nvGrpSpPr>
          <p:cNvPr id="3" name="グループ化 2">
            <a:extLst>
              <a:ext uri="{FF2B5EF4-FFF2-40B4-BE49-F238E27FC236}">
                <a16:creationId xmlns:a16="http://schemas.microsoft.com/office/drawing/2014/main" id="{EBC23DA4-F36B-555D-CA5C-39F94E08823F}"/>
              </a:ext>
            </a:extLst>
          </p:cNvPr>
          <p:cNvGrpSpPr/>
          <p:nvPr/>
        </p:nvGrpSpPr>
        <p:grpSpPr>
          <a:xfrm>
            <a:off x="302400" y="1661738"/>
            <a:ext cx="11587200" cy="309600"/>
            <a:chOff x="302400" y="1990800"/>
            <a:chExt cx="11587200" cy="309600"/>
          </a:xfrm>
        </p:grpSpPr>
        <p:grpSp>
          <p:nvGrpSpPr>
            <p:cNvPr id="4" name="PanelGroup1">
              <a:extLst>
                <a:ext uri="{FF2B5EF4-FFF2-40B4-BE49-F238E27FC236}">
                  <a16:creationId xmlns:a16="http://schemas.microsoft.com/office/drawing/2014/main" id="{182836E8-0A6C-6508-BE54-D9FA5966D104}"/>
                </a:ext>
              </a:extLst>
            </p:cNvPr>
            <p:cNvGrpSpPr/>
            <p:nvPr/>
          </p:nvGrpSpPr>
          <p:grpSpPr>
            <a:xfrm>
              <a:off x="302400" y="1990800"/>
              <a:ext cx="5761200" cy="309600"/>
              <a:chOff x="302400" y="1990800"/>
              <a:chExt cx="5761200" cy="309600"/>
            </a:xfrm>
          </p:grpSpPr>
          <p:sp>
            <p:nvSpPr>
              <p:cNvPr id="12" name="正方形/長方形 11">
                <a:extLst>
                  <a:ext uri="{FF2B5EF4-FFF2-40B4-BE49-F238E27FC236}">
                    <a16:creationId xmlns:a16="http://schemas.microsoft.com/office/drawing/2014/main" id="{0885EF34-1A86-AA39-1A1A-5F99ABF6B7EF}"/>
                  </a:ext>
                </a:extLst>
              </p:cNvPr>
              <p:cNvSpPr/>
              <p:nvPr/>
            </p:nvSpPr>
            <p:spPr>
              <a:xfrm>
                <a:off x="302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全体像</a:t>
                </a:r>
              </a:p>
            </p:txBody>
          </p:sp>
          <p:cxnSp>
            <p:nvCxnSpPr>
              <p:cNvPr id="13" name="直線矢印コネクタ 12">
                <a:extLst>
                  <a:ext uri="{FF2B5EF4-FFF2-40B4-BE49-F238E27FC236}">
                    <a16:creationId xmlns:a16="http://schemas.microsoft.com/office/drawing/2014/main" id="{819B2E49-17B8-3727-8812-69FD5702E69C}"/>
                  </a:ext>
                </a:extLst>
              </p:cNvPr>
              <p:cNvCxnSpPr/>
              <p:nvPr/>
            </p:nvCxnSpPr>
            <p:spPr>
              <a:xfrm>
                <a:off x="302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7" name="PanelGroup2">
              <a:extLst>
                <a:ext uri="{FF2B5EF4-FFF2-40B4-BE49-F238E27FC236}">
                  <a16:creationId xmlns:a16="http://schemas.microsoft.com/office/drawing/2014/main" id="{2FB98B28-3911-4D54-DF63-480395E4E9E6}"/>
                </a:ext>
              </a:extLst>
            </p:cNvPr>
            <p:cNvGrpSpPr/>
            <p:nvPr/>
          </p:nvGrpSpPr>
          <p:grpSpPr>
            <a:xfrm>
              <a:off x="6128400" y="1990800"/>
              <a:ext cx="5761200" cy="309600"/>
              <a:chOff x="6128400" y="1990800"/>
              <a:chExt cx="5761200" cy="309600"/>
            </a:xfrm>
          </p:grpSpPr>
          <p:sp>
            <p:nvSpPr>
              <p:cNvPr id="8" name="正方形/長方形 7">
                <a:extLst>
                  <a:ext uri="{FF2B5EF4-FFF2-40B4-BE49-F238E27FC236}">
                    <a16:creationId xmlns:a16="http://schemas.microsoft.com/office/drawing/2014/main" id="{95ACE118-4131-DE79-F02F-66722864A02D}"/>
                  </a:ext>
                </a:extLst>
              </p:cNvPr>
              <p:cNvSpPr/>
              <p:nvPr/>
            </p:nvSpPr>
            <p:spPr>
              <a:xfrm>
                <a:off x="6128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イメージ</a:t>
                </a:r>
              </a:p>
            </p:txBody>
          </p:sp>
          <p:cxnSp>
            <p:nvCxnSpPr>
              <p:cNvPr id="10" name="直線矢印コネクタ 9">
                <a:extLst>
                  <a:ext uri="{FF2B5EF4-FFF2-40B4-BE49-F238E27FC236}">
                    <a16:creationId xmlns:a16="http://schemas.microsoft.com/office/drawing/2014/main" id="{EEF86A98-39B5-3E9C-8313-F6410191C7AD}"/>
                  </a:ext>
                </a:extLst>
              </p:cNvPr>
              <p:cNvCxnSpPr/>
              <p:nvPr/>
            </p:nvCxnSpPr>
            <p:spPr>
              <a:xfrm>
                <a:off x="6128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sp>
        <p:nvSpPr>
          <p:cNvPr id="17" name="テキスト プレースホルダー 16">
            <a:extLst>
              <a:ext uri="{FF2B5EF4-FFF2-40B4-BE49-F238E27FC236}">
                <a16:creationId xmlns:a16="http://schemas.microsoft.com/office/drawing/2014/main" id="{ED5B4037-6A33-091F-CAB0-26A3BC43E5EE}"/>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6" name="テキスト ボックス 5">
            <a:extLst>
              <a:ext uri="{FF2B5EF4-FFF2-40B4-BE49-F238E27FC236}">
                <a16:creationId xmlns:a16="http://schemas.microsoft.com/office/drawing/2014/main" id="{95B7D5A6-3733-419F-5F47-1323A3D8D852}"/>
              </a:ext>
            </a:extLst>
          </p:cNvPr>
          <p:cNvSpPr txBox="1"/>
          <p:nvPr/>
        </p:nvSpPr>
        <p:spPr>
          <a:xfrm>
            <a:off x="300779" y="2079520"/>
            <a:ext cx="5761200" cy="4463159"/>
          </a:xfrm>
          <a:prstGeom prst="rect">
            <a:avLst/>
          </a:prstGeom>
          <a:noFill/>
        </p:spPr>
        <p:txBody>
          <a:bodyPr wrap="square" anchor="t">
            <a:noAutofit/>
          </a:bodyPr>
          <a:lstStyle/>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当該エリア内の観光客の移動の利便性を向上させるとともに、宿泊施設や観光施設等の近隣の観光地の周遊を促進させる。</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①宿泊施設との連携</a:t>
            </a:r>
            <a:endParaRPr lang="en-US" altLang="ja-JP" sz="1200">
              <a:solidFill>
                <a:srgbClr val="0070C0"/>
              </a:solidFill>
              <a:latin typeface="BIZ UDPゴシック"/>
              <a:ea typeface="BIZ UDPゴシック"/>
            </a:endParaRPr>
          </a:p>
          <a:p>
            <a:pPr>
              <a:spcBef>
                <a:spcPts val="300"/>
              </a:spcBef>
              <a:defRPr/>
            </a:pPr>
            <a:r>
              <a:rPr lang="ja-JP" altLang="en-US" sz="1200">
                <a:solidFill>
                  <a:srgbClr val="0070C0"/>
                </a:solidFill>
                <a:latin typeface="BIZ UDPゴシック"/>
                <a:ea typeface="BIZ UDPゴシック"/>
              </a:rPr>
              <a:t>　当該エリア内のシームレスな移動を可能とするため、</a:t>
            </a:r>
            <a:r>
              <a:rPr lang="en-US" altLang="ja-JP" sz="1200" err="1">
                <a:solidFill>
                  <a:srgbClr val="0070C0"/>
                </a:solidFill>
                <a:latin typeface="BIZ UDPゴシック"/>
                <a:ea typeface="BIZ UDPゴシック"/>
              </a:rPr>
              <a:t>MaaS</a:t>
            </a:r>
            <a:r>
              <a:rPr lang="ja-JP" altLang="en-US" sz="1200">
                <a:solidFill>
                  <a:srgbClr val="0070C0"/>
                </a:solidFill>
                <a:latin typeface="BIZ UDPゴシック"/>
                <a:ea typeface="BIZ UDPゴシック"/>
              </a:rPr>
              <a:t>アプリの開発及び実</a:t>
            </a:r>
            <a:endParaRPr lang="en-US" altLang="ja-JP" sz="1200">
              <a:solidFill>
                <a:srgbClr val="0070C0"/>
              </a:solidFill>
              <a:latin typeface="BIZ UDPゴシック"/>
              <a:ea typeface="BIZ UDPゴシック"/>
            </a:endParaRPr>
          </a:p>
          <a:p>
            <a:pPr>
              <a:spcBef>
                <a:spcPts val="300"/>
              </a:spcBef>
              <a:defRPr/>
            </a:pPr>
            <a:r>
              <a:rPr lang="ja-JP" altLang="en-US" sz="1200">
                <a:solidFill>
                  <a:srgbClr val="0070C0"/>
                </a:solidFill>
                <a:latin typeface="BIZ UDPゴシック"/>
                <a:ea typeface="BIZ UDPゴシック"/>
              </a:rPr>
              <a:t>　証を行う。</a:t>
            </a:r>
            <a:endParaRPr lang="en-US" altLang="ja-JP" sz="1200">
              <a:solidFill>
                <a:srgbClr val="0070C0"/>
              </a:solidFill>
              <a:latin typeface="BIZ UDPゴシック"/>
              <a:ea typeface="BIZ UDPゴシック"/>
            </a:endParaRPr>
          </a:p>
          <a:p>
            <a:pPr>
              <a:spcBef>
                <a:spcPts val="300"/>
              </a:spcBef>
              <a:defRPr/>
            </a:pP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②観光施設との連携</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当該エリア内での観光客の周遊を促進させるため、観光施設のクーポンと周遊券を</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組み合わせたデジタルチケットの開発及び実証を行う。</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③・・・</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endParaRPr kumimoji="1" lang="en-US" altLang="ja-JP" sz="1200" b="0" i="0" u="none" strike="noStrike" kern="1200" cap="none" spc="0" normalizeH="0" baseline="0" noProof="0">
              <a:ln>
                <a:noFill/>
              </a:ln>
              <a:solidFill>
                <a:srgbClr val="0070C0"/>
              </a:solidFill>
              <a:effectLst/>
              <a:uLnTx/>
              <a:uFillTx/>
              <a:latin typeface="BIZ UDPゴシック"/>
              <a:ea typeface="BIZ UDPゴシック"/>
              <a:cs typeface="+mn-cs"/>
            </a:endParaRPr>
          </a:p>
        </p:txBody>
      </p:sp>
      <p:sp>
        <p:nvSpPr>
          <p:cNvPr id="50" name="テキスト ボックス 49">
            <a:extLst>
              <a:ext uri="{FF2B5EF4-FFF2-40B4-BE49-F238E27FC236}">
                <a16:creationId xmlns:a16="http://schemas.microsoft.com/office/drawing/2014/main" id="{5B635FEA-2811-3A33-A6E6-95440B42D811}"/>
              </a:ext>
            </a:extLst>
          </p:cNvPr>
          <p:cNvSpPr txBox="1"/>
          <p:nvPr/>
        </p:nvSpPr>
        <p:spPr>
          <a:xfrm>
            <a:off x="6280186" y="4311100"/>
            <a:ext cx="5670325" cy="1578177"/>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プロジェクトのイメージビジュアルを掲載してください。</a:t>
            </a:r>
            <a:endParaRPr kumimoji="0" lang="en-US" altLang="ja-JP" sz="1400" b="0" i="0" u="none" strike="noStrike" kern="0" cap="none" spc="0" normalizeH="0" baseline="0" noProof="0">
              <a:ln>
                <a:noFill/>
              </a:ln>
              <a:solidFill>
                <a:srgbClr val="FFFFFF"/>
              </a:solidFill>
              <a:effectLst/>
              <a:uLnTx/>
              <a:uFillTx/>
            </a:endParaRPr>
          </a:p>
        </p:txBody>
      </p:sp>
      <p:sp>
        <p:nvSpPr>
          <p:cNvPr id="53" name="テキスト ボックス 52">
            <a:extLst>
              <a:ext uri="{FF2B5EF4-FFF2-40B4-BE49-F238E27FC236}">
                <a16:creationId xmlns:a16="http://schemas.microsoft.com/office/drawing/2014/main" id="{600AE28E-2F7C-E1F6-5796-97DD1A8A0830}"/>
              </a:ext>
            </a:extLst>
          </p:cNvPr>
          <p:cNvSpPr txBox="1"/>
          <p:nvPr/>
        </p:nvSpPr>
        <p:spPr>
          <a:xfrm>
            <a:off x="300779" y="4311099"/>
            <a:ext cx="5670325" cy="1578177"/>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プロジェクトの全体像と個別のスコープについて明確に記載してください。</a:t>
            </a:r>
            <a:endParaRPr kumimoji="0" lang="en-US" altLang="ja-JP"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296597773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Ⅳ.</a:t>
            </a:r>
            <a:r>
              <a:rPr lang="ja-JP" altLang="en-US"/>
              <a:t>エンドコンテンツとの連携</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a:xfrm>
            <a:off x="300778" y="655357"/>
            <a:ext cx="11891221" cy="432000"/>
          </a:xfrm>
        </p:spPr>
        <p:txBody>
          <a:bodyPr vert="horz"/>
          <a:lstStyle/>
          <a:p>
            <a:r>
              <a:rPr lang="ja-JP" altLang="en-US"/>
              <a:t>１</a:t>
            </a:r>
            <a:r>
              <a:rPr lang="en-US" altLang="ja-JP"/>
              <a:t>.</a:t>
            </a:r>
            <a:r>
              <a:rPr lang="ja-JP" altLang="en-US"/>
              <a:t>サービス全体像│実現する</a:t>
            </a:r>
            <a:r>
              <a:rPr lang="en-US" altLang="ja-JP"/>
              <a:t>UX</a:t>
            </a:r>
            <a:endParaRPr lang="ja-JP" altLang="en-US"/>
          </a:p>
        </p:txBody>
      </p:sp>
      <p:sp>
        <p:nvSpPr>
          <p:cNvPr id="31" name="テキスト ボックス 30">
            <a:extLst>
              <a:ext uri="{FF2B5EF4-FFF2-40B4-BE49-F238E27FC236}">
                <a16:creationId xmlns:a16="http://schemas.microsoft.com/office/drawing/2014/main" id="{97AC2652-6A11-4525-3831-C5116BDDAFD4}"/>
              </a:ext>
            </a:extLst>
          </p:cNvPr>
          <p:cNvSpPr txBox="1"/>
          <p:nvPr/>
        </p:nvSpPr>
        <p:spPr>
          <a:xfrm>
            <a:off x="19564168" y="3307628"/>
            <a:ext cx="4857760" cy="288147"/>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endParaRPr kumimoji="1" lang="en-US" altLang="ja-JP" sz="1400">
              <a:solidFill>
                <a:srgbClr val="0070C0"/>
              </a:solidFill>
              <a:latin typeface="+mn-ea"/>
            </a:endParaRPr>
          </a:p>
        </p:txBody>
      </p:sp>
      <p:sp>
        <p:nvSpPr>
          <p:cNvPr id="6" name="テキスト プレースホルダー 10">
            <a:extLst>
              <a:ext uri="{FF2B5EF4-FFF2-40B4-BE49-F238E27FC236}">
                <a16:creationId xmlns:a16="http://schemas.microsoft.com/office/drawing/2014/main" id="{06F06DD2-9B90-695B-AD25-50F75DE8988B}"/>
              </a:ext>
            </a:extLst>
          </p:cNvPr>
          <p:cNvSpPr txBox="1">
            <a:spLocks/>
          </p:cNvSpPr>
          <p:nvPr/>
        </p:nvSpPr>
        <p:spPr>
          <a:xfrm>
            <a:off x="300778" y="1197432"/>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kumimoji="1" lang="ja-JP" altLang="en-US" sz="1800" b="0" i="0" u="none" strike="noStrike" kern="1200" cap="none" spc="0" normalizeH="0" baseline="0" noProof="0">
                <a:ln>
                  <a:noFill/>
                </a:ln>
                <a:solidFill>
                  <a:srgbClr val="0070C0"/>
                </a:solidFill>
                <a:effectLst/>
                <a:uLnTx/>
                <a:uFillTx/>
                <a:latin typeface="BIZ UDPゴシック"/>
                <a:ea typeface="BIZ UDPゴシック"/>
                <a:cs typeface="+mn-cs"/>
              </a:rPr>
              <a:t>①宿泊施設との連携</a:t>
            </a:r>
            <a:endParaRPr kumimoji="1" lang="en-US" altLang="ja-JP" sz="1800" b="0" i="0" u="none" strike="noStrike" kern="1200" cap="none" spc="0" normalizeH="0" baseline="0" noProof="0">
              <a:ln>
                <a:noFill/>
              </a:ln>
              <a:solidFill>
                <a:srgbClr val="0070C0"/>
              </a:solidFill>
              <a:effectLst/>
              <a:uLnTx/>
              <a:uFillTx/>
              <a:latin typeface="BIZ UDPゴシック"/>
              <a:ea typeface="BIZ UDPゴシック"/>
              <a:cs typeface="+mn-cs"/>
            </a:endParaRPr>
          </a:p>
        </p:txBody>
      </p:sp>
      <p:sp>
        <p:nvSpPr>
          <p:cNvPr id="3" name="テキスト プレースホルダー 10">
            <a:extLst>
              <a:ext uri="{FF2B5EF4-FFF2-40B4-BE49-F238E27FC236}">
                <a16:creationId xmlns:a16="http://schemas.microsoft.com/office/drawing/2014/main" id="{60476D19-3753-EE8B-1E4F-5FEAA4EFEE4F}"/>
              </a:ext>
            </a:extLst>
          </p:cNvPr>
          <p:cNvSpPr txBox="1">
            <a:spLocks/>
          </p:cNvSpPr>
          <p:nvPr/>
        </p:nvSpPr>
        <p:spPr>
          <a:xfrm>
            <a:off x="300778" y="1743000"/>
            <a:ext cx="11376000" cy="323165"/>
          </a:xfrm>
          <a:prstGeom prst="rect">
            <a:avLst/>
          </a:prstGeom>
        </p:spPr>
        <p:txBody>
          <a:bodyPr vert="horz" lIns="91440" tIns="45720" rIns="91440" bIns="45720" rtlCol="0">
            <a:normAutofit fontScale="92500" lnSpcReduction="20000"/>
          </a:bodyPr>
          <a:lstStyle>
            <a:lvl1pPr marL="278606" indent="-278606" algn="l" rtl="0" eaLnBrk="1" fontAlgn="base" hangingPunct="1">
              <a:spcBef>
                <a:spcPct val="20000"/>
              </a:spcBef>
              <a:spcAft>
                <a:spcPct val="0"/>
              </a:spcAft>
              <a:buChar char="•"/>
              <a:defRPr kumimoji="1" sz="1600">
                <a:solidFill>
                  <a:schemeClr val="tx1"/>
                </a:solidFill>
                <a:latin typeface="+mn-lt"/>
                <a:ea typeface="游ゴシック" panose="020B0400000000000000"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defTabSz="1734634" fontAlgn="auto">
              <a:spcBef>
                <a:spcPts val="0"/>
              </a:spcBef>
              <a:spcAft>
                <a:spcPts val="0"/>
              </a:spcAft>
              <a:buFont typeface="Arial" charset="0"/>
              <a:buNone/>
              <a:defRPr/>
            </a:pPr>
            <a:r>
              <a:rPr lang="en-US" altLang="ja-JP" sz="1800" kern="0">
                <a:solidFill>
                  <a:srgbClr val="000000"/>
                </a:solidFill>
                <a:latin typeface="Meiryo UI" panose="020B0604030504040204" pitchFamily="50" charset="-128"/>
                <a:ea typeface="Meiryo UI" panose="020B0604030504040204" pitchFamily="50" charset="-128"/>
              </a:rPr>
              <a:t>[</a:t>
            </a:r>
            <a:r>
              <a:rPr lang="ja-JP" altLang="en-US" sz="1800" kern="0">
                <a:solidFill>
                  <a:srgbClr val="000000"/>
                </a:solidFill>
                <a:latin typeface="Meiryo UI" panose="020B0604030504040204" pitchFamily="50" charset="-128"/>
                <a:ea typeface="Meiryo UI" panose="020B0604030504040204" pitchFamily="50" charset="-128"/>
              </a:rPr>
              <a:t>サマリーを記載</a:t>
            </a:r>
            <a:r>
              <a:rPr lang="en-US" altLang="ja-JP" sz="1800" kern="0">
                <a:solidFill>
                  <a:srgbClr val="000000"/>
                </a:solidFill>
                <a:latin typeface="Meiryo UI" panose="020B0604030504040204" pitchFamily="50" charset="-128"/>
                <a:ea typeface="Meiryo UI" panose="020B0604030504040204" pitchFamily="50" charset="-128"/>
              </a:rPr>
              <a:t>]</a:t>
            </a:r>
            <a:endParaRPr lang="ja-JP" altLang="en-US" sz="1800" kern="0">
              <a:solidFill>
                <a:srgbClr val="000000"/>
              </a:solidFill>
              <a:latin typeface="Meiryo UI" panose="020B0604030504040204" pitchFamily="50" charset="-128"/>
              <a:ea typeface="Meiryo UI" panose="020B0604030504040204" pitchFamily="50" charset="-128"/>
            </a:endParaRPr>
          </a:p>
        </p:txBody>
      </p:sp>
      <p:sp>
        <p:nvSpPr>
          <p:cNvPr id="4" name="フローチャート: 他ページ結合子 3">
            <a:extLst>
              <a:ext uri="{FF2B5EF4-FFF2-40B4-BE49-F238E27FC236}">
                <a16:creationId xmlns:a16="http://schemas.microsoft.com/office/drawing/2014/main" id="{673128B7-F593-3BB9-2438-E17156A5BEE3}"/>
              </a:ext>
            </a:extLst>
          </p:cNvPr>
          <p:cNvSpPr/>
          <p:nvPr/>
        </p:nvSpPr>
        <p:spPr bwMode="gray">
          <a:xfrm>
            <a:off x="209722" y="3112356"/>
            <a:ext cx="2164078" cy="757505"/>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情報発信</a:t>
            </a:r>
          </a:p>
        </p:txBody>
      </p:sp>
      <p:sp>
        <p:nvSpPr>
          <p:cNvPr id="7" name="正方形/長方形 6">
            <a:extLst>
              <a:ext uri="{FF2B5EF4-FFF2-40B4-BE49-F238E27FC236}">
                <a16:creationId xmlns:a16="http://schemas.microsoft.com/office/drawing/2014/main" id="{F4B461FD-1D1A-04E4-75BF-42218D2AECCE}"/>
              </a:ext>
            </a:extLst>
          </p:cNvPr>
          <p:cNvSpPr/>
          <p:nvPr/>
        </p:nvSpPr>
        <p:spPr bwMode="gray">
          <a:xfrm>
            <a:off x="2374364" y="1904109"/>
            <a:ext cx="4783566" cy="338527"/>
          </a:xfrm>
          <a:prstGeom prst="rect">
            <a:avLst/>
          </a:prstGeom>
          <a:noFill/>
          <a:ln w="6350">
            <a:noFill/>
            <a:miter lim="800000"/>
            <a:headEnd/>
            <a:tailEnd/>
          </a:ln>
          <a:effectLst/>
          <a:extLst>
            <a:ext uri="{91240B29-F687-4F45-9708-019B960494DF}">
              <a14:hiddenLine xmlns:a14="http://schemas.microsoft.com/office/drawing/2010/main" w="6350">
                <a:solidFill>
                  <a:schemeClr val="tx1"/>
                </a:solidFill>
                <a:miter lim="800000"/>
                <a:headEnd/>
                <a:tailEnd/>
              </a14:hiddenLine>
            </a:ext>
          </a:extLst>
        </p:spPr>
        <p:txBody>
          <a:bodyPr vert="horz" wrap="none" lIns="72000" tIns="72000" rIns="72000" bIns="72000" numCol="1" rtlCol="0" anchor="ctr" anchorCtr="0" compatLnSpc="1">
            <a:prstTxWarp prst="textNoShape">
              <a:avLst/>
            </a:prstTxWarp>
            <a:noAutofit/>
          </a:bodyPr>
          <a:lstStyle/>
          <a:p>
            <a:pPr algn="ctr"/>
            <a:r>
              <a:rPr kumimoji="1" lang="ja-JP" altLang="en-US" sz="1400">
                <a:latin typeface="+mn-ea"/>
              </a:rPr>
              <a:t>従来の</a:t>
            </a:r>
            <a:r>
              <a:rPr kumimoji="1" lang="en-US" altLang="ja-JP" sz="1400">
                <a:latin typeface="+mn-ea"/>
              </a:rPr>
              <a:t>UX</a:t>
            </a:r>
            <a:endParaRPr kumimoji="1" lang="ja-JP" altLang="en-US" sz="1400">
              <a:latin typeface="+mn-ea"/>
            </a:endParaRPr>
          </a:p>
        </p:txBody>
      </p:sp>
      <p:cxnSp>
        <p:nvCxnSpPr>
          <p:cNvPr id="10" name="直線矢印コネクタ 9">
            <a:extLst>
              <a:ext uri="{FF2B5EF4-FFF2-40B4-BE49-F238E27FC236}">
                <a16:creationId xmlns:a16="http://schemas.microsoft.com/office/drawing/2014/main" id="{82D2748D-BB61-FC46-4956-3FF21F9356AB}"/>
              </a:ext>
            </a:extLst>
          </p:cNvPr>
          <p:cNvCxnSpPr>
            <a:cxnSpLocks/>
          </p:cNvCxnSpPr>
          <p:nvPr/>
        </p:nvCxnSpPr>
        <p:spPr>
          <a:xfrm>
            <a:off x="2521691" y="2242636"/>
            <a:ext cx="4488909" cy="0"/>
          </a:xfrm>
          <a:prstGeom prst="straightConnector1">
            <a:avLst/>
          </a:prstGeom>
          <a:noFill/>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正方形/長方形 11">
            <a:extLst>
              <a:ext uri="{FF2B5EF4-FFF2-40B4-BE49-F238E27FC236}">
                <a16:creationId xmlns:a16="http://schemas.microsoft.com/office/drawing/2014/main" id="{DAEE75AC-366C-6CBA-0E50-2C7ED64C7068}"/>
              </a:ext>
            </a:extLst>
          </p:cNvPr>
          <p:cNvSpPr/>
          <p:nvPr/>
        </p:nvSpPr>
        <p:spPr bwMode="gray">
          <a:xfrm>
            <a:off x="7021258" y="1904109"/>
            <a:ext cx="4783566" cy="338527"/>
          </a:xfrm>
          <a:prstGeom prst="rect">
            <a:avLst/>
          </a:prstGeom>
          <a:noFill/>
          <a:ln w="6350">
            <a:noFill/>
            <a:miter lim="800000"/>
            <a:headEnd/>
            <a:tailEnd/>
          </a:ln>
          <a:effectLst/>
          <a:extLst>
            <a:ext uri="{91240B29-F687-4F45-9708-019B960494DF}">
              <a14:hiddenLine xmlns:a14="http://schemas.microsoft.com/office/drawing/2010/main" w="6350">
                <a:solidFill>
                  <a:schemeClr val="tx1"/>
                </a:solidFill>
                <a:miter lim="800000"/>
                <a:headEnd/>
                <a:tailEnd/>
              </a14:hiddenLine>
            </a:ext>
          </a:extLst>
        </p:spPr>
        <p:txBody>
          <a:bodyPr vert="horz" wrap="none" lIns="72000" tIns="72000" rIns="72000" bIns="72000" numCol="1" rtlCol="0" anchor="ctr" anchorCtr="0" compatLnSpc="1">
            <a:prstTxWarp prst="textNoShape">
              <a:avLst/>
            </a:prstTxWarp>
            <a:noAutofit/>
          </a:bodyPr>
          <a:lstStyle/>
          <a:p>
            <a:pPr algn="ctr"/>
            <a:r>
              <a:rPr kumimoji="1" lang="ja-JP" altLang="en-US" sz="1400">
                <a:latin typeface="+mn-ea"/>
              </a:rPr>
              <a:t>本プロジェクトが目指す</a:t>
            </a:r>
            <a:r>
              <a:rPr kumimoji="1" lang="en-US" altLang="ja-JP" sz="1400">
                <a:latin typeface="+mn-ea"/>
              </a:rPr>
              <a:t>UX</a:t>
            </a:r>
            <a:endParaRPr kumimoji="1" lang="ja-JP" altLang="en-US" sz="1400">
              <a:latin typeface="+mn-ea"/>
            </a:endParaRPr>
          </a:p>
        </p:txBody>
      </p:sp>
      <p:cxnSp>
        <p:nvCxnSpPr>
          <p:cNvPr id="13" name="直線矢印コネクタ 12">
            <a:extLst>
              <a:ext uri="{FF2B5EF4-FFF2-40B4-BE49-F238E27FC236}">
                <a16:creationId xmlns:a16="http://schemas.microsoft.com/office/drawing/2014/main" id="{DA9EB9DC-A664-CA33-8F8D-929D2CE07BB6}"/>
              </a:ext>
            </a:extLst>
          </p:cNvPr>
          <p:cNvCxnSpPr>
            <a:cxnSpLocks/>
          </p:cNvCxnSpPr>
          <p:nvPr/>
        </p:nvCxnSpPr>
        <p:spPr>
          <a:xfrm>
            <a:off x="7168585" y="2242636"/>
            <a:ext cx="4488909" cy="0"/>
          </a:xfrm>
          <a:prstGeom prst="straightConnector1">
            <a:avLst/>
          </a:prstGeom>
          <a:noFill/>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フローチャート: 他ページ結合子 13">
            <a:extLst>
              <a:ext uri="{FF2B5EF4-FFF2-40B4-BE49-F238E27FC236}">
                <a16:creationId xmlns:a16="http://schemas.microsoft.com/office/drawing/2014/main" id="{554839C8-6D58-42E2-AAB3-E2DC56C43F47}"/>
              </a:ext>
            </a:extLst>
          </p:cNvPr>
          <p:cNvSpPr/>
          <p:nvPr/>
        </p:nvSpPr>
        <p:spPr bwMode="gray">
          <a:xfrm>
            <a:off x="209722" y="4016948"/>
            <a:ext cx="2164078" cy="589536"/>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チケット購入・移動</a:t>
            </a:r>
          </a:p>
        </p:txBody>
      </p:sp>
      <p:cxnSp>
        <p:nvCxnSpPr>
          <p:cNvPr id="15" name="直線コネクタ 14">
            <a:extLst>
              <a:ext uri="{FF2B5EF4-FFF2-40B4-BE49-F238E27FC236}">
                <a16:creationId xmlns:a16="http://schemas.microsoft.com/office/drawing/2014/main" id="{B9736FA1-1B58-33DA-9663-B3D44C37FEA0}"/>
              </a:ext>
            </a:extLst>
          </p:cNvPr>
          <p:cNvCxnSpPr>
            <a:cxnSpLocks/>
          </p:cNvCxnSpPr>
          <p:nvPr/>
        </p:nvCxnSpPr>
        <p:spPr>
          <a:xfrm>
            <a:off x="2469871" y="3087864"/>
            <a:ext cx="9187622" cy="0"/>
          </a:xfrm>
          <a:prstGeom prst="line">
            <a:avLst/>
          </a:prstGeom>
          <a:noFill/>
          <a:ln w="9525" cmpd="sng">
            <a:solidFill>
              <a:srgbClr val="919191"/>
            </a:solidFill>
            <a:prstDash val="dash"/>
          </a:ln>
        </p:spPr>
        <p:style>
          <a:lnRef idx="1">
            <a:schemeClr val="accent1"/>
          </a:lnRef>
          <a:fillRef idx="0">
            <a:schemeClr val="accent1"/>
          </a:fillRef>
          <a:effectRef idx="0">
            <a:schemeClr val="accent1"/>
          </a:effectRef>
          <a:fontRef idx="minor">
            <a:schemeClr val="tx1"/>
          </a:fontRef>
        </p:style>
      </p:cxnSp>
      <p:sp>
        <p:nvSpPr>
          <p:cNvPr id="16" name="フローチャート: 他ページ結合子 15">
            <a:extLst>
              <a:ext uri="{FF2B5EF4-FFF2-40B4-BE49-F238E27FC236}">
                <a16:creationId xmlns:a16="http://schemas.microsoft.com/office/drawing/2014/main" id="{E78A26C9-240D-C262-0FA8-ABFB600BBE90}"/>
              </a:ext>
            </a:extLst>
          </p:cNvPr>
          <p:cNvSpPr/>
          <p:nvPr/>
        </p:nvSpPr>
        <p:spPr bwMode="gray">
          <a:xfrm>
            <a:off x="209722" y="2304824"/>
            <a:ext cx="2164078" cy="752805"/>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商品造成</a:t>
            </a:r>
          </a:p>
        </p:txBody>
      </p:sp>
      <p:cxnSp>
        <p:nvCxnSpPr>
          <p:cNvPr id="36" name="直線コネクタ 35">
            <a:extLst>
              <a:ext uri="{FF2B5EF4-FFF2-40B4-BE49-F238E27FC236}">
                <a16:creationId xmlns:a16="http://schemas.microsoft.com/office/drawing/2014/main" id="{2C032304-F5A7-781B-370A-8361B5E9EBD8}"/>
              </a:ext>
            </a:extLst>
          </p:cNvPr>
          <p:cNvCxnSpPr>
            <a:cxnSpLocks/>
          </p:cNvCxnSpPr>
          <p:nvPr/>
        </p:nvCxnSpPr>
        <p:spPr>
          <a:xfrm>
            <a:off x="2469871" y="4001613"/>
            <a:ext cx="9187622" cy="0"/>
          </a:xfrm>
          <a:prstGeom prst="line">
            <a:avLst/>
          </a:prstGeom>
          <a:noFill/>
          <a:ln w="9525" cmpd="sng">
            <a:solidFill>
              <a:srgbClr val="919191"/>
            </a:solidFill>
            <a:prstDash val="dash"/>
          </a:ln>
        </p:spPr>
        <p:style>
          <a:lnRef idx="1">
            <a:schemeClr val="accent1"/>
          </a:lnRef>
          <a:fillRef idx="0">
            <a:schemeClr val="accent1"/>
          </a:fillRef>
          <a:effectRef idx="0">
            <a:schemeClr val="accent1"/>
          </a:effectRef>
          <a:fontRef idx="minor">
            <a:schemeClr val="tx1"/>
          </a:fontRef>
        </p:style>
      </p:cxnSp>
      <p:cxnSp>
        <p:nvCxnSpPr>
          <p:cNvPr id="37" name="直線コネクタ 36">
            <a:extLst>
              <a:ext uri="{FF2B5EF4-FFF2-40B4-BE49-F238E27FC236}">
                <a16:creationId xmlns:a16="http://schemas.microsoft.com/office/drawing/2014/main" id="{99164EAE-95AA-7C12-77F1-A757AE49EAD8}"/>
              </a:ext>
            </a:extLst>
          </p:cNvPr>
          <p:cNvCxnSpPr>
            <a:cxnSpLocks/>
          </p:cNvCxnSpPr>
          <p:nvPr/>
        </p:nvCxnSpPr>
        <p:spPr>
          <a:xfrm>
            <a:off x="2469871" y="4739581"/>
            <a:ext cx="9187622" cy="0"/>
          </a:xfrm>
          <a:prstGeom prst="line">
            <a:avLst/>
          </a:prstGeom>
          <a:noFill/>
          <a:ln w="9525" cmpd="sng">
            <a:solidFill>
              <a:srgbClr val="919191"/>
            </a:solidFill>
            <a:prstDash val="dash"/>
          </a:ln>
        </p:spPr>
        <p:style>
          <a:lnRef idx="1">
            <a:schemeClr val="accent1"/>
          </a:lnRef>
          <a:fillRef idx="0">
            <a:schemeClr val="accent1"/>
          </a:fillRef>
          <a:effectRef idx="0">
            <a:schemeClr val="accent1"/>
          </a:effectRef>
          <a:fontRef idx="minor">
            <a:schemeClr val="tx1"/>
          </a:fontRef>
        </p:style>
      </p:cxnSp>
      <p:sp>
        <p:nvSpPr>
          <p:cNvPr id="38" name="テキスト ボックス 37">
            <a:extLst>
              <a:ext uri="{FF2B5EF4-FFF2-40B4-BE49-F238E27FC236}">
                <a16:creationId xmlns:a16="http://schemas.microsoft.com/office/drawing/2014/main" id="{181FD6B4-F402-06D0-4D70-67AAC04AED3C}"/>
              </a:ext>
            </a:extLst>
          </p:cNvPr>
          <p:cNvSpPr txBox="1"/>
          <p:nvPr/>
        </p:nvSpPr>
        <p:spPr>
          <a:xfrm>
            <a:off x="2693619" y="2357383"/>
            <a:ext cx="4341889" cy="542062"/>
          </a:xfrm>
          <a:prstGeom prst="rect">
            <a:avLst/>
          </a:prstGeom>
          <a:noFill/>
        </p:spPr>
        <p:txBody>
          <a:bodyPr wrap="square" lIns="36000" tIns="36000" rIns="36000" bIns="36000" rtlCol="0">
            <a:spAutoFit/>
          </a:body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商品の企画から発売まで時間がかかる。</a:t>
            </a:r>
            <a:endParaRPr kumimoji="1" lang="en-US" altLang="ja-JP" sz="1400">
              <a:solidFill>
                <a:srgbClr val="0070C0"/>
              </a:solidFill>
              <a:latin typeface="+mn-ea"/>
            </a:endParaRPr>
          </a:p>
          <a:p>
            <a:pPr marL="285750" indent="-285750">
              <a:spcBef>
                <a:spcPts val="300"/>
              </a:spcBef>
              <a:buFont typeface="Arial" panose="020B0604020202020204" pitchFamily="34" charset="0"/>
              <a:buChar char="•"/>
            </a:pPr>
            <a:r>
              <a:rPr kumimoji="1" lang="ja-JP" altLang="en-US" sz="1400">
                <a:solidFill>
                  <a:srgbClr val="0070C0"/>
                </a:solidFill>
                <a:latin typeface="+mn-ea"/>
              </a:rPr>
              <a:t>どのようにつくれば良いのか分からない。</a:t>
            </a:r>
          </a:p>
        </p:txBody>
      </p:sp>
      <p:sp>
        <p:nvSpPr>
          <p:cNvPr id="39" name="テキスト ボックス 38">
            <a:extLst>
              <a:ext uri="{FF2B5EF4-FFF2-40B4-BE49-F238E27FC236}">
                <a16:creationId xmlns:a16="http://schemas.microsoft.com/office/drawing/2014/main" id="{5CCDBD8B-4CEC-6950-C6F9-1A764EC19E6C}"/>
              </a:ext>
            </a:extLst>
          </p:cNvPr>
          <p:cNvSpPr txBox="1"/>
          <p:nvPr/>
        </p:nvSpPr>
        <p:spPr>
          <a:xfrm>
            <a:off x="2693619" y="3156033"/>
            <a:ext cx="4316980" cy="288147"/>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宿泊施設を予約した際、移動の手段がわからない。</a:t>
            </a:r>
          </a:p>
        </p:txBody>
      </p:sp>
      <p:sp>
        <p:nvSpPr>
          <p:cNvPr id="40" name="テキスト ボックス 39">
            <a:extLst>
              <a:ext uri="{FF2B5EF4-FFF2-40B4-BE49-F238E27FC236}">
                <a16:creationId xmlns:a16="http://schemas.microsoft.com/office/drawing/2014/main" id="{89A74202-F823-84CD-E0A8-07A84CB961E1}"/>
              </a:ext>
            </a:extLst>
          </p:cNvPr>
          <p:cNvSpPr txBox="1"/>
          <p:nvPr/>
        </p:nvSpPr>
        <p:spPr>
          <a:xfrm>
            <a:off x="7157930" y="2335267"/>
            <a:ext cx="5034069" cy="757506"/>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宿泊施設を含めた協議会でノウハウを集約し周知・共有</a:t>
            </a:r>
            <a:br>
              <a:rPr lang="en-US" altLang="ja-JP">
                <a:solidFill>
                  <a:srgbClr val="0070C0"/>
                </a:solidFill>
              </a:rPr>
            </a:br>
            <a:r>
              <a:rPr kumimoji="1" lang="ja-JP" altLang="en-US" sz="1400">
                <a:solidFill>
                  <a:srgbClr val="0070C0"/>
                </a:solidFill>
                <a:latin typeface="+mn-ea"/>
              </a:rPr>
              <a:t>を行う。</a:t>
            </a:r>
            <a:endParaRPr kumimoji="1" lang="en-US" altLang="ja-JP" sz="1400">
              <a:solidFill>
                <a:srgbClr val="0070C0"/>
              </a:solidFill>
              <a:latin typeface="+mn-ea"/>
            </a:endParaRPr>
          </a:p>
          <a:p>
            <a:pPr marL="285750" indent="-285750">
              <a:spcBef>
                <a:spcPts val="300"/>
              </a:spcBef>
              <a:buFont typeface="Arial" panose="020B0604020202020204" pitchFamily="34" charset="0"/>
              <a:buChar char="•"/>
            </a:pPr>
            <a:r>
              <a:rPr kumimoji="1" lang="ja-JP" altLang="en-US" sz="1400">
                <a:solidFill>
                  <a:srgbClr val="0070C0"/>
                </a:solidFill>
                <a:latin typeface="+mn-ea"/>
              </a:rPr>
              <a:t>ノーコードツールにより簡単かつスピーディに造成可能に。</a:t>
            </a:r>
          </a:p>
        </p:txBody>
      </p:sp>
      <p:sp>
        <p:nvSpPr>
          <p:cNvPr id="41" name="テキスト ボックス 40">
            <a:extLst>
              <a:ext uri="{FF2B5EF4-FFF2-40B4-BE49-F238E27FC236}">
                <a16:creationId xmlns:a16="http://schemas.microsoft.com/office/drawing/2014/main" id="{F253A734-CAF8-C00E-010D-F4D99DB750B1}"/>
              </a:ext>
            </a:extLst>
          </p:cNvPr>
          <p:cNvSpPr txBox="1"/>
          <p:nvPr/>
        </p:nvSpPr>
        <p:spPr>
          <a:xfrm>
            <a:off x="7157930" y="3158386"/>
            <a:ext cx="4857760" cy="503590"/>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宿泊施設サイトより目的地までの経路やお得なチケットに関する情報が把握できる。</a:t>
            </a:r>
          </a:p>
        </p:txBody>
      </p:sp>
      <p:sp>
        <p:nvSpPr>
          <p:cNvPr id="42" name="テキスト ボックス 41">
            <a:extLst>
              <a:ext uri="{FF2B5EF4-FFF2-40B4-BE49-F238E27FC236}">
                <a16:creationId xmlns:a16="http://schemas.microsoft.com/office/drawing/2014/main" id="{75C439A5-A514-0F24-7765-6CC153381FAC}"/>
              </a:ext>
            </a:extLst>
          </p:cNvPr>
          <p:cNvSpPr txBox="1"/>
          <p:nvPr/>
        </p:nvSpPr>
        <p:spPr>
          <a:xfrm>
            <a:off x="2693619" y="4046679"/>
            <a:ext cx="4316980" cy="503590"/>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宿泊施設と、交通モードの予約は別々のサイトを利用し、予約・決済をする必要がある。</a:t>
            </a:r>
          </a:p>
        </p:txBody>
      </p:sp>
      <p:sp>
        <p:nvSpPr>
          <p:cNvPr id="43" name="テキスト ボックス 42">
            <a:extLst>
              <a:ext uri="{FF2B5EF4-FFF2-40B4-BE49-F238E27FC236}">
                <a16:creationId xmlns:a16="http://schemas.microsoft.com/office/drawing/2014/main" id="{2D968B53-336D-9ADC-61B4-91D49E2CB58A}"/>
              </a:ext>
            </a:extLst>
          </p:cNvPr>
          <p:cNvSpPr txBox="1"/>
          <p:nvPr/>
        </p:nvSpPr>
        <p:spPr>
          <a:xfrm>
            <a:off x="7168585" y="4087559"/>
            <a:ext cx="4857760" cy="503590"/>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宿泊施設の予約サイトから、目的地に応じたデジタルチケットの購入ができる。</a:t>
            </a:r>
          </a:p>
        </p:txBody>
      </p:sp>
      <p:sp>
        <p:nvSpPr>
          <p:cNvPr id="46" name="フローチャート: 他ページ結合子 45">
            <a:extLst>
              <a:ext uri="{FF2B5EF4-FFF2-40B4-BE49-F238E27FC236}">
                <a16:creationId xmlns:a16="http://schemas.microsoft.com/office/drawing/2014/main" id="{600E6CF9-623F-6E8C-BCC7-E5A672202DDB}"/>
              </a:ext>
            </a:extLst>
          </p:cNvPr>
          <p:cNvSpPr/>
          <p:nvPr/>
        </p:nvSpPr>
        <p:spPr bwMode="gray">
          <a:xfrm>
            <a:off x="197143" y="4799596"/>
            <a:ext cx="2164078" cy="589536"/>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チケッティング</a:t>
            </a:r>
          </a:p>
        </p:txBody>
      </p:sp>
      <p:cxnSp>
        <p:nvCxnSpPr>
          <p:cNvPr id="47" name="直線コネクタ 46">
            <a:extLst>
              <a:ext uri="{FF2B5EF4-FFF2-40B4-BE49-F238E27FC236}">
                <a16:creationId xmlns:a16="http://schemas.microsoft.com/office/drawing/2014/main" id="{8DA18EC6-3DDC-929C-F207-5AF1A8B1F1C1}"/>
              </a:ext>
            </a:extLst>
          </p:cNvPr>
          <p:cNvCxnSpPr>
            <a:cxnSpLocks/>
          </p:cNvCxnSpPr>
          <p:nvPr/>
        </p:nvCxnSpPr>
        <p:spPr>
          <a:xfrm>
            <a:off x="2469871" y="5548337"/>
            <a:ext cx="9187622" cy="0"/>
          </a:xfrm>
          <a:prstGeom prst="line">
            <a:avLst/>
          </a:prstGeom>
          <a:noFill/>
          <a:ln w="9525" cmpd="sng">
            <a:solidFill>
              <a:srgbClr val="919191"/>
            </a:solidFill>
            <a:prstDash val="dash"/>
          </a:ln>
        </p:spPr>
        <p:style>
          <a:lnRef idx="1">
            <a:schemeClr val="accent1"/>
          </a:lnRef>
          <a:fillRef idx="0">
            <a:schemeClr val="accent1"/>
          </a:fillRef>
          <a:effectRef idx="0">
            <a:schemeClr val="accent1"/>
          </a:effectRef>
          <a:fontRef idx="minor">
            <a:schemeClr val="tx1"/>
          </a:fontRef>
        </p:style>
      </p:cxnSp>
      <p:sp>
        <p:nvSpPr>
          <p:cNvPr id="50" name="テキスト ボックス 49">
            <a:extLst>
              <a:ext uri="{FF2B5EF4-FFF2-40B4-BE49-F238E27FC236}">
                <a16:creationId xmlns:a16="http://schemas.microsoft.com/office/drawing/2014/main" id="{4579EF89-BDD8-EA9F-DDB2-E91230D9DC30}"/>
              </a:ext>
            </a:extLst>
          </p:cNvPr>
          <p:cNvSpPr txBox="1"/>
          <p:nvPr/>
        </p:nvSpPr>
        <p:spPr>
          <a:xfrm>
            <a:off x="2681040" y="4799596"/>
            <a:ext cx="4316980" cy="503590"/>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該当エリアの周遊チケットは存在するが紙券での対応</a:t>
            </a:r>
            <a:endParaRPr kumimoji="1" lang="en-US" altLang="ja-JP" sz="1400">
              <a:solidFill>
                <a:srgbClr val="0070C0"/>
              </a:solidFill>
              <a:latin typeface="+mn-ea"/>
            </a:endParaRPr>
          </a:p>
        </p:txBody>
      </p:sp>
      <p:sp>
        <p:nvSpPr>
          <p:cNvPr id="51" name="テキスト ボックス 50">
            <a:extLst>
              <a:ext uri="{FF2B5EF4-FFF2-40B4-BE49-F238E27FC236}">
                <a16:creationId xmlns:a16="http://schemas.microsoft.com/office/drawing/2014/main" id="{CAB99240-810C-D775-C007-98E9016D24F3}"/>
              </a:ext>
            </a:extLst>
          </p:cNvPr>
          <p:cNvSpPr txBox="1"/>
          <p:nvPr/>
        </p:nvSpPr>
        <p:spPr>
          <a:xfrm>
            <a:off x="7168585" y="4816688"/>
            <a:ext cx="4316980" cy="719034"/>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r>
              <a:rPr kumimoji="1" lang="ja-JP" altLang="en-US" sz="1400">
                <a:solidFill>
                  <a:srgbClr val="0070C0"/>
                </a:solidFill>
                <a:latin typeface="+mn-ea"/>
              </a:rPr>
              <a:t>〇〇施設や宿泊施設のクーポンをセットにした企画乗車券をデジタル化し、宿泊施設に</a:t>
            </a:r>
            <a:r>
              <a:rPr kumimoji="1" lang="en-US" altLang="ja-JP" sz="1400">
                <a:solidFill>
                  <a:srgbClr val="0070C0"/>
                </a:solidFill>
                <a:latin typeface="+mn-ea"/>
              </a:rPr>
              <a:t>QR</a:t>
            </a:r>
            <a:r>
              <a:rPr kumimoji="1" lang="ja-JP" altLang="en-US" sz="1400">
                <a:solidFill>
                  <a:srgbClr val="0070C0"/>
                </a:solidFill>
                <a:latin typeface="+mn-ea"/>
              </a:rPr>
              <a:t>コードを読み取り機に提示することで利用が可能。</a:t>
            </a:r>
          </a:p>
        </p:txBody>
      </p:sp>
      <p:sp>
        <p:nvSpPr>
          <p:cNvPr id="52" name="テキスト ボックス 51">
            <a:extLst>
              <a:ext uri="{FF2B5EF4-FFF2-40B4-BE49-F238E27FC236}">
                <a16:creationId xmlns:a16="http://schemas.microsoft.com/office/drawing/2014/main" id="{0E467507-0884-6534-768F-4B2888FFD52C}"/>
              </a:ext>
            </a:extLst>
          </p:cNvPr>
          <p:cNvSpPr txBox="1"/>
          <p:nvPr/>
        </p:nvSpPr>
        <p:spPr>
          <a:xfrm>
            <a:off x="2483643" y="3065722"/>
            <a:ext cx="7455989" cy="2360039"/>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本プロジェクトが提供するＭａａＳ（アプリ、システム、商品、その他）によって、利用者体験が現在と比べてどのように変わるのか（どのような体験の変化を目指すのか）を具体的に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事業で提供するサービス単位で分けて記載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例　① 宿泊施設との連携</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     </a:t>
            </a:r>
            <a:r>
              <a:rPr kumimoji="0" lang="ja-JP" altLang="en-US" sz="1400" b="0" i="0" u="none" strike="noStrike" kern="0" cap="none" spc="0" normalizeH="0" baseline="0" noProof="0">
                <a:ln>
                  <a:noFill/>
                </a:ln>
                <a:solidFill>
                  <a:srgbClr val="FFFFFF"/>
                </a:solidFill>
                <a:effectLst/>
                <a:uLnTx/>
                <a:uFillTx/>
              </a:rPr>
              <a:t>② 観光施設との連携</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　　 ③ プロモーションの実施​</a:t>
            </a:r>
            <a:endParaRPr kumimoji="0" lang="en-US" altLang="ja-JP"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349706146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Ⅳ.</a:t>
            </a:r>
            <a:r>
              <a:rPr lang="ja-JP" altLang="en-US"/>
              <a:t>エンドコンテンツとの連携</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a:xfrm>
            <a:off x="300778" y="655357"/>
            <a:ext cx="11891221" cy="432000"/>
          </a:xfrm>
        </p:spPr>
        <p:txBody>
          <a:bodyPr vert="horz"/>
          <a:lstStyle/>
          <a:p>
            <a:r>
              <a:rPr lang="ja-JP" altLang="en-US"/>
              <a:t>１</a:t>
            </a:r>
            <a:r>
              <a:rPr lang="en-US" altLang="ja-JP"/>
              <a:t>.</a:t>
            </a:r>
            <a:r>
              <a:rPr lang="ja-JP" altLang="en-US"/>
              <a:t>サービス全体像│過年度の課題と解決</a:t>
            </a:r>
          </a:p>
        </p:txBody>
      </p:sp>
      <p:sp>
        <p:nvSpPr>
          <p:cNvPr id="11" name="テキスト プレースホルダー 10">
            <a:extLst>
              <a:ext uri="{FF2B5EF4-FFF2-40B4-BE49-F238E27FC236}">
                <a16:creationId xmlns:a16="http://schemas.microsoft.com/office/drawing/2014/main" id="{5B8ABDA1-3D2A-BE6F-2D47-4B44E4CE9142}"/>
              </a:ext>
            </a:extLst>
          </p:cNvPr>
          <p:cNvSpPr>
            <a:spLocks noGrp="1"/>
          </p:cNvSpPr>
          <p:nvPr>
            <p:ph type="body" sz="quarter" idx="4294967295"/>
          </p:nvPr>
        </p:nvSpPr>
        <p:spPr>
          <a:xfrm>
            <a:off x="300779" y="1736090"/>
            <a:ext cx="11376000" cy="323165"/>
          </a:xfrm>
        </p:spPr>
        <p:txBody>
          <a:bodyPr>
            <a:normAutofit fontScale="92500" lnSpcReduction="2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マリーを記載</a:t>
            </a: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pSp>
        <p:nvGrpSpPr>
          <p:cNvPr id="3" name="グループ化 2">
            <a:extLst>
              <a:ext uri="{FF2B5EF4-FFF2-40B4-BE49-F238E27FC236}">
                <a16:creationId xmlns:a16="http://schemas.microsoft.com/office/drawing/2014/main" id="{F85333DF-4E5C-DAEA-926C-1A154E2103A9}"/>
              </a:ext>
            </a:extLst>
          </p:cNvPr>
          <p:cNvGrpSpPr/>
          <p:nvPr/>
        </p:nvGrpSpPr>
        <p:grpSpPr>
          <a:xfrm>
            <a:off x="302400" y="2133600"/>
            <a:ext cx="11587200" cy="309600"/>
            <a:chOff x="302400" y="1990800"/>
            <a:chExt cx="11587200" cy="309600"/>
          </a:xfrm>
        </p:grpSpPr>
        <p:grpSp>
          <p:nvGrpSpPr>
            <p:cNvPr id="4" name="PanelGroup1">
              <a:extLst>
                <a:ext uri="{FF2B5EF4-FFF2-40B4-BE49-F238E27FC236}">
                  <a16:creationId xmlns:a16="http://schemas.microsoft.com/office/drawing/2014/main" id="{EAB62C42-9CF0-6E2B-28F8-CFEDB26FC1DD}"/>
                </a:ext>
              </a:extLst>
            </p:cNvPr>
            <p:cNvGrpSpPr/>
            <p:nvPr/>
          </p:nvGrpSpPr>
          <p:grpSpPr>
            <a:xfrm>
              <a:off x="302400" y="1990800"/>
              <a:ext cx="5761200" cy="309600"/>
              <a:chOff x="302400" y="1990800"/>
              <a:chExt cx="5761200" cy="309600"/>
            </a:xfrm>
          </p:grpSpPr>
          <p:sp>
            <p:nvSpPr>
              <p:cNvPr id="10" name="正方形/長方形 9">
                <a:extLst>
                  <a:ext uri="{FF2B5EF4-FFF2-40B4-BE49-F238E27FC236}">
                    <a16:creationId xmlns:a16="http://schemas.microsoft.com/office/drawing/2014/main" id="{1A383005-B1A5-AD52-BAD8-1851206F59CA}"/>
                  </a:ext>
                </a:extLst>
              </p:cNvPr>
              <p:cNvSpPr/>
              <p:nvPr/>
            </p:nvSpPr>
            <p:spPr>
              <a:xfrm>
                <a:off x="302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昨年度の課題</a:t>
                </a:r>
              </a:p>
            </p:txBody>
          </p:sp>
          <p:cxnSp>
            <p:nvCxnSpPr>
              <p:cNvPr id="12" name="直線矢印コネクタ 11">
                <a:extLst>
                  <a:ext uri="{FF2B5EF4-FFF2-40B4-BE49-F238E27FC236}">
                    <a16:creationId xmlns:a16="http://schemas.microsoft.com/office/drawing/2014/main" id="{3653E4DF-7A5D-EE67-D31F-6D64D03C04E6}"/>
                  </a:ext>
                </a:extLst>
              </p:cNvPr>
              <p:cNvCxnSpPr/>
              <p:nvPr/>
            </p:nvCxnSpPr>
            <p:spPr>
              <a:xfrm>
                <a:off x="302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6" name="PanelGroup2">
              <a:extLst>
                <a:ext uri="{FF2B5EF4-FFF2-40B4-BE49-F238E27FC236}">
                  <a16:creationId xmlns:a16="http://schemas.microsoft.com/office/drawing/2014/main" id="{A2007A34-9A61-3C01-D672-C413701B3445}"/>
                </a:ext>
              </a:extLst>
            </p:cNvPr>
            <p:cNvGrpSpPr/>
            <p:nvPr/>
          </p:nvGrpSpPr>
          <p:grpSpPr>
            <a:xfrm>
              <a:off x="6128400" y="1990800"/>
              <a:ext cx="5761200" cy="309600"/>
              <a:chOff x="6128400" y="1990800"/>
              <a:chExt cx="5761200" cy="309600"/>
            </a:xfrm>
          </p:grpSpPr>
          <p:sp>
            <p:nvSpPr>
              <p:cNvPr id="7" name="正方形/長方形 6">
                <a:extLst>
                  <a:ext uri="{FF2B5EF4-FFF2-40B4-BE49-F238E27FC236}">
                    <a16:creationId xmlns:a16="http://schemas.microsoft.com/office/drawing/2014/main" id="{081FA0EF-B0D7-A6B9-D177-CBA186431769}"/>
                  </a:ext>
                </a:extLst>
              </p:cNvPr>
              <p:cNvSpPr/>
              <p:nvPr/>
            </p:nvSpPr>
            <p:spPr>
              <a:xfrm>
                <a:off x="6128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解決策</a:t>
                </a:r>
              </a:p>
            </p:txBody>
          </p:sp>
          <p:cxnSp>
            <p:nvCxnSpPr>
              <p:cNvPr id="8" name="直線矢印コネクタ 7">
                <a:extLst>
                  <a:ext uri="{FF2B5EF4-FFF2-40B4-BE49-F238E27FC236}">
                    <a16:creationId xmlns:a16="http://schemas.microsoft.com/office/drawing/2014/main" id="{99FBEF6F-94C3-52B0-FA40-DD378C8E4F64}"/>
                  </a:ext>
                </a:extLst>
              </p:cNvPr>
              <p:cNvCxnSpPr/>
              <p:nvPr/>
            </p:nvCxnSpPr>
            <p:spPr>
              <a:xfrm>
                <a:off x="6128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sp>
        <p:nvSpPr>
          <p:cNvPr id="13" name="正方形/長方形 12">
            <a:extLst>
              <a:ext uri="{FF2B5EF4-FFF2-40B4-BE49-F238E27FC236}">
                <a16:creationId xmlns:a16="http://schemas.microsoft.com/office/drawing/2014/main" id="{EDAD2185-EC0D-868E-795C-E7F2FB4ACC64}"/>
              </a:ext>
            </a:extLst>
          </p:cNvPr>
          <p:cNvSpPr/>
          <p:nvPr/>
        </p:nvSpPr>
        <p:spPr>
          <a:xfrm>
            <a:off x="300778" y="2591890"/>
            <a:ext cx="5761199" cy="3131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a:solidFill>
                  <a:srgbClr val="000000"/>
                </a:solidFill>
                <a:latin typeface="BIZ UDPゴシック"/>
                <a:ea typeface="BIZ UDPゴシック"/>
              </a:rPr>
              <a:t>システム（機能）</a:t>
            </a:r>
            <a:endParaRPr lang="en-US" altLang="ja-JP" sz="1600">
              <a:solidFill>
                <a:srgbClr val="000000"/>
              </a:solidFill>
              <a:latin typeface="BIZ UDPゴシック"/>
              <a:ea typeface="BIZ UDPゴシック"/>
            </a:endParaRPr>
          </a:p>
          <a:p>
            <a:pPr marL="742950" lvl="1" indent="-285750">
              <a:buFont typeface="Wingdings" panose="05000000000000000000" pitchFamily="2" charset="2"/>
              <a:buChar char="Ø"/>
              <a:defRPr/>
            </a:pPr>
            <a:r>
              <a:rPr kumimoji="1" lang="ja-JP" altLang="en-US" sz="1600">
                <a:solidFill>
                  <a:srgbClr val="0070C0"/>
                </a:solidFill>
                <a:latin typeface="+mn-ea"/>
              </a:rPr>
              <a:t>宿泊施設と交通モードは個別のサイトで予約・決済</a:t>
            </a: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システム（</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I</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X</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該当エリアの周遊チケットは紙券を利用</a:t>
            </a:r>
            <a:endParaRPr lang="en-US" altLang="ja-JP" sz="1600">
              <a:solidFill>
                <a:srgbClr val="0070C0"/>
              </a:solidFill>
              <a:latin typeface="BIZ UDPゴシック"/>
              <a:ea typeface="BIZ UDPゴシック"/>
            </a:endParaRP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サービス運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a:t>
            </a: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
        <p:nvSpPr>
          <p:cNvPr id="14" name="正方形/長方形 13">
            <a:extLst>
              <a:ext uri="{FF2B5EF4-FFF2-40B4-BE49-F238E27FC236}">
                <a16:creationId xmlns:a16="http://schemas.microsoft.com/office/drawing/2014/main" id="{EB154E72-D468-E337-5176-249A512E7AD4}"/>
              </a:ext>
            </a:extLst>
          </p:cNvPr>
          <p:cNvSpPr/>
          <p:nvPr/>
        </p:nvSpPr>
        <p:spPr>
          <a:xfrm>
            <a:off x="6128401" y="2591890"/>
            <a:ext cx="5761199" cy="3131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a:solidFill>
                  <a:srgbClr val="000000"/>
                </a:solidFill>
                <a:latin typeface="BIZ UDPゴシック"/>
                <a:ea typeface="BIZ UDPゴシック"/>
              </a:rPr>
              <a:t>システム（機能）</a:t>
            </a:r>
            <a:endParaRPr lang="en-US" altLang="ja-JP" sz="1600">
              <a:solidFill>
                <a:srgbClr val="000000"/>
              </a:solidFill>
              <a:latin typeface="BIZ UDPゴシック"/>
              <a:ea typeface="BIZ UDPゴシック"/>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宿泊施設の予約時に、シームレスに施設までのデジタルチケットの案内・販売</a:t>
            </a:r>
            <a:endParaRPr lang="en-US" altLang="ja-JP" sz="1600">
              <a:solidFill>
                <a:srgbClr val="0070C0"/>
              </a:solidFill>
              <a:latin typeface="BIZ UDPゴシック"/>
              <a:ea typeface="BIZ UDPゴシック"/>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システム（</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I</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X</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クーポン付きチケットをデジタル化し、宿泊施設で</a:t>
            </a:r>
            <a:r>
              <a:rPr lang="en-US" altLang="ja-JP" sz="1600">
                <a:solidFill>
                  <a:srgbClr val="0070C0"/>
                </a:solidFill>
                <a:latin typeface="BIZ UDPゴシック"/>
                <a:ea typeface="BIZ UDPゴシック"/>
              </a:rPr>
              <a:t>QR</a:t>
            </a:r>
            <a:r>
              <a:rPr lang="ja-JP" altLang="en-US" sz="1600">
                <a:solidFill>
                  <a:srgbClr val="0070C0"/>
                </a:solidFill>
                <a:latin typeface="BIZ UDPゴシック"/>
                <a:ea typeface="BIZ UDPゴシック"/>
              </a:rPr>
              <a:t>コードを読み取り機に提示することで利用</a:t>
            </a:r>
            <a:endParaRPr lang="en-US" altLang="ja-JP" sz="1600">
              <a:solidFill>
                <a:srgbClr val="0070C0"/>
              </a:solidFill>
              <a:latin typeface="BIZ UDPゴシック"/>
              <a:ea typeface="BIZ UDPゴシック"/>
            </a:endParaRP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サービス運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a:t>
            </a: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R="0" lvl="0" algn="l" defTabSz="914400" rtl="0" eaLnBrk="1" fontAlgn="auto" latinLnBrk="0" hangingPunct="1">
              <a:lnSpc>
                <a:spcPct val="100000"/>
              </a:lnSpc>
              <a:spcBef>
                <a:spcPts val="0"/>
              </a:spcBef>
              <a:spcAft>
                <a:spcPts val="0"/>
              </a:spcAft>
              <a:buClrTx/>
              <a:buSzTx/>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
        <p:nvSpPr>
          <p:cNvPr id="17" name="テキスト プレースホルダー 10">
            <a:extLst>
              <a:ext uri="{FF2B5EF4-FFF2-40B4-BE49-F238E27FC236}">
                <a16:creationId xmlns:a16="http://schemas.microsoft.com/office/drawing/2014/main" id="{CF45C799-184A-B9A1-3984-069F4A38D270}"/>
              </a:ext>
            </a:extLst>
          </p:cNvPr>
          <p:cNvSpPr txBox="1">
            <a:spLocks/>
          </p:cNvSpPr>
          <p:nvPr/>
        </p:nvSpPr>
        <p:spPr>
          <a:xfrm>
            <a:off x="300779" y="1196746"/>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kumimoji="1" lang="ja-JP" altLang="en-US" sz="1800" b="0" i="0" u="none" strike="noStrike" kern="1200" cap="none" spc="0" normalizeH="0" baseline="0" noProof="0">
                <a:ln>
                  <a:noFill/>
                </a:ln>
                <a:solidFill>
                  <a:srgbClr val="0070C0"/>
                </a:solidFill>
                <a:effectLst/>
                <a:uLnTx/>
                <a:uFillTx/>
                <a:latin typeface="BIZ UDPゴシック"/>
                <a:ea typeface="BIZ UDPゴシック"/>
                <a:cs typeface="+mn-cs"/>
              </a:rPr>
              <a:t>①　宿泊施設との連携</a:t>
            </a:r>
            <a:endParaRPr kumimoji="1" lang="en-US" altLang="ja-JP" sz="1800" b="0" i="0" u="none" strike="noStrike" kern="1200" cap="none" spc="0" normalizeH="0" baseline="0" noProof="0">
              <a:ln>
                <a:noFill/>
              </a:ln>
              <a:solidFill>
                <a:srgbClr val="0070C0"/>
              </a:solidFill>
              <a:effectLst/>
              <a:uLnTx/>
              <a:uFillTx/>
              <a:latin typeface="BIZ UDPゴシック"/>
              <a:ea typeface="BIZ UDPゴシック"/>
              <a:cs typeface="+mn-cs"/>
            </a:endParaRPr>
          </a:p>
        </p:txBody>
      </p:sp>
      <p:sp>
        <p:nvSpPr>
          <p:cNvPr id="15" name="テキスト ボックス 14">
            <a:extLst>
              <a:ext uri="{FF2B5EF4-FFF2-40B4-BE49-F238E27FC236}">
                <a16:creationId xmlns:a16="http://schemas.microsoft.com/office/drawing/2014/main" id="{A9796D27-DDEF-1B7A-97DA-28272B9383AC}"/>
              </a:ext>
            </a:extLst>
          </p:cNvPr>
          <p:cNvSpPr txBox="1"/>
          <p:nvPr/>
        </p:nvSpPr>
        <p:spPr>
          <a:xfrm>
            <a:off x="2928358" y="4798746"/>
            <a:ext cx="6335283" cy="153764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a:t>
            </a:r>
            <a:r>
              <a:rPr kumimoji="0" lang="ja-JP" altLang="en-US" sz="1400" b="0" i="0" u="none" strike="noStrike" kern="0" cap="none" spc="0" normalizeH="0" baseline="0" noProof="0">
                <a:ln>
                  <a:noFill/>
                </a:ln>
                <a:solidFill>
                  <a:srgbClr val="FFFFFF"/>
                </a:solidFill>
                <a:effectLst/>
                <a:uLnTx/>
                <a:uFillTx/>
              </a:rPr>
              <a:t>継続開発を行っている場合のみ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これまでの取組と比べ、本プロジェクトでどのような開発や拡充を行い、課題解決に貢献しようとしているのか、具体的に記載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項目はテンプレートを基本とし、任意に増やしていただいて構いません。</a:t>
            </a:r>
          </a:p>
        </p:txBody>
      </p:sp>
    </p:spTree>
    <p:extLst>
      <p:ext uri="{BB962C8B-B14F-4D97-AF65-F5344CB8AC3E}">
        <p14:creationId xmlns:p14="http://schemas.microsoft.com/office/powerpoint/2010/main" val="191256207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Ⅳ.</a:t>
            </a:r>
            <a:r>
              <a:rPr lang="ja-JP" altLang="en-US"/>
              <a:t>エンドコンテンツとの連携</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a:xfrm>
            <a:off x="300778" y="655357"/>
            <a:ext cx="11891221" cy="432000"/>
          </a:xfrm>
        </p:spPr>
        <p:txBody>
          <a:bodyPr vert="horz"/>
          <a:lstStyle/>
          <a:p>
            <a:r>
              <a:rPr lang="ja-JP" altLang="en-US"/>
              <a:t>１</a:t>
            </a:r>
            <a:r>
              <a:rPr lang="en-US" altLang="ja-JP"/>
              <a:t>.</a:t>
            </a:r>
            <a:r>
              <a:rPr lang="ja-JP" altLang="en-US"/>
              <a:t>サービス全体像│実装済みの機能</a:t>
            </a:r>
          </a:p>
        </p:txBody>
      </p:sp>
      <p:grpSp>
        <p:nvGrpSpPr>
          <p:cNvPr id="3" name="グループ化 2">
            <a:extLst>
              <a:ext uri="{FF2B5EF4-FFF2-40B4-BE49-F238E27FC236}">
                <a16:creationId xmlns:a16="http://schemas.microsoft.com/office/drawing/2014/main" id="{F85333DF-4E5C-DAEA-926C-1A154E2103A9}"/>
              </a:ext>
            </a:extLst>
          </p:cNvPr>
          <p:cNvGrpSpPr/>
          <p:nvPr/>
        </p:nvGrpSpPr>
        <p:grpSpPr>
          <a:xfrm>
            <a:off x="302400" y="2108076"/>
            <a:ext cx="11587200" cy="309600"/>
            <a:chOff x="302400" y="1990800"/>
            <a:chExt cx="11587200" cy="309600"/>
          </a:xfrm>
        </p:grpSpPr>
        <p:grpSp>
          <p:nvGrpSpPr>
            <p:cNvPr id="4" name="PanelGroup1">
              <a:extLst>
                <a:ext uri="{FF2B5EF4-FFF2-40B4-BE49-F238E27FC236}">
                  <a16:creationId xmlns:a16="http://schemas.microsoft.com/office/drawing/2014/main" id="{EAB62C42-9CF0-6E2B-28F8-CFEDB26FC1DD}"/>
                </a:ext>
              </a:extLst>
            </p:cNvPr>
            <p:cNvGrpSpPr/>
            <p:nvPr/>
          </p:nvGrpSpPr>
          <p:grpSpPr>
            <a:xfrm>
              <a:off x="302400" y="1990800"/>
              <a:ext cx="5761200" cy="309600"/>
              <a:chOff x="302400" y="1990800"/>
              <a:chExt cx="5761200" cy="309600"/>
            </a:xfrm>
          </p:grpSpPr>
          <p:sp>
            <p:nvSpPr>
              <p:cNvPr id="10" name="正方形/長方形 9">
                <a:extLst>
                  <a:ext uri="{FF2B5EF4-FFF2-40B4-BE49-F238E27FC236}">
                    <a16:creationId xmlns:a16="http://schemas.microsoft.com/office/drawing/2014/main" id="{1A383005-B1A5-AD52-BAD8-1851206F59CA}"/>
                  </a:ext>
                </a:extLst>
              </p:cNvPr>
              <p:cNvSpPr/>
              <p:nvPr/>
            </p:nvSpPr>
            <p:spPr>
              <a:xfrm>
                <a:off x="302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実施済みの機能</a:t>
                </a:r>
              </a:p>
            </p:txBody>
          </p:sp>
          <p:cxnSp>
            <p:nvCxnSpPr>
              <p:cNvPr id="12" name="直線矢印コネクタ 11">
                <a:extLst>
                  <a:ext uri="{FF2B5EF4-FFF2-40B4-BE49-F238E27FC236}">
                    <a16:creationId xmlns:a16="http://schemas.microsoft.com/office/drawing/2014/main" id="{3653E4DF-7A5D-EE67-D31F-6D64D03C04E6}"/>
                  </a:ext>
                </a:extLst>
              </p:cNvPr>
              <p:cNvCxnSpPr/>
              <p:nvPr/>
            </p:nvCxnSpPr>
            <p:spPr>
              <a:xfrm>
                <a:off x="302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6" name="PanelGroup2">
              <a:extLst>
                <a:ext uri="{FF2B5EF4-FFF2-40B4-BE49-F238E27FC236}">
                  <a16:creationId xmlns:a16="http://schemas.microsoft.com/office/drawing/2014/main" id="{A2007A34-9A61-3C01-D672-C413701B3445}"/>
                </a:ext>
              </a:extLst>
            </p:cNvPr>
            <p:cNvGrpSpPr/>
            <p:nvPr/>
          </p:nvGrpSpPr>
          <p:grpSpPr>
            <a:xfrm>
              <a:off x="6128400" y="1990800"/>
              <a:ext cx="5761200" cy="309600"/>
              <a:chOff x="6128400" y="1990800"/>
              <a:chExt cx="5761200" cy="309600"/>
            </a:xfrm>
          </p:grpSpPr>
          <p:sp>
            <p:nvSpPr>
              <p:cNvPr id="7" name="正方形/長方形 6">
                <a:extLst>
                  <a:ext uri="{FF2B5EF4-FFF2-40B4-BE49-F238E27FC236}">
                    <a16:creationId xmlns:a16="http://schemas.microsoft.com/office/drawing/2014/main" id="{081FA0EF-B0D7-A6B9-D177-CBA186431769}"/>
                  </a:ext>
                </a:extLst>
              </p:cNvPr>
              <p:cNvSpPr/>
              <p:nvPr/>
            </p:nvSpPr>
            <p:spPr>
              <a:xfrm>
                <a:off x="6128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イメージ</a:t>
                </a:r>
              </a:p>
            </p:txBody>
          </p:sp>
          <p:cxnSp>
            <p:nvCxnSpPr>
              <p:cNvPr id="8" name="直線矢印コネクタ 7">
                <a:extLst>
                  <a:ext uri="{FF2B5EF4-FFF2-40B4-BE49-F238E27FC236}">
                    <a16:creationId xmlns:a16="http://schemas.microsoft.com/office/drawing/2014/main" id="{99FBEF6F-94C3-52B0-FA40-DD378C8E4F64}"/>
                  </a:ext>
                </a:extLst>
              </p:cNvPr>
              <p:cNvCxnSpPr/>
              <p:nvPr/>
            </p:nvCxnSpPr>
            <p:spPr>
              <a:xfrm>
                <a:off x="6128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sp>
        <p:nvSpPr>
          <p:cNvPr id="13" name="正方形/長方形 12">
            <a:extLst>
              <a:ext uri="{FF2B5EF4-FFF2-40B4-BE49-F238E27FC236}">
                <a16:creationId xmlns:a16="http://schemas.microsoft.com/office/drawing/2014/main" id="{EDAD2185-EC0D-868E-795C-E7F2FB4ACC64}"/>
              </a:ext>
            </a:extLst>
          </p:cNvPr>
          <p:cNvSpPr/>
          <p:nvPr/>
        </p:nvSpPr>
        <p:spPr>
          <a:xfrm>
            <a:off x="300778" y="2566366"/>
            <a:ext cx="5761199" cy="3131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a:solidFill>
                  <a:srgbClr val="000000"/>
                </a:solidFill>
                <a:latin typeface="BIZ UDPゴシック"/>
                <a:ea typeface="BIZ UDPゴシック"/>
              </a:rPr>
              <a:t>システム（機能）</a:t>
            </a:r>
            <a:endParaRPr lang="en-US" altLang="ja-JP" sz="1600">
              <a:solidFill>
                <a:srgbClr val="000000"/>
              </a:solidFill>
              <a:latin typeface="BIZ UDPゴシック"/>
              <a:ea typeface="BIZ UDPゴシック"/>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宿泊施設サイトと</a:t>
            </a:r>
            <a:r>
              <a:rPr lang="en-US" altLang="ja-JP" sz="1600" err="1">
                <a:solidFill>
                  <a:srgbClr val="0070C0"/>
                </a:solidFill>
                <a:latin typeface="BIZ UDPゴシック"/>
                <a:ea typeface="BIZ UDPゴシック"/>
              </a:rPr>
              <a:t>MaaS</a:t>
            </a:r>
            <a:r>
              <a:rPr lang="ja-JP" altLang="en-US" sz="1600">
                <a:solidFill>
                  <a:srgbClr val="0070C0"/>
                </a:solidFill>
                <a:latin typeface="BIZ UDPゴシック"/>
                <a:ea typeface="BIZ UDPゴシック"/>
              </a:rPr>
              <a:t>アプリの</a:t>
            </a:r>
            <a:r>
              <a:rPr lang="en-US" altLang="ja-JP" sz="1600">
                <a:solidFill>
                  <a:srgbClr val="0070C0"/>
                </a:solidFill>
                <a:latin typeface="BIZ UDPゴシック"/>
                <a:ea typeface="BIZ UDPゴシック"/>
              </a:rPr>
              <a:t>API</a:t>
            </a:r>
            <a:r>
              <a:rPr lang="ja-JP" altLang="en-US" sz="1600">
                <a:solidFill>
                  <a:srgbClr val="0070C0"/>
                </a:solidFill>
                <a:latin typeface="BIZ UDPゴシック"/>
                <a:ea typeface="BIZ UDPゴシック"/>
              </a:rPr>
              <a:t>連携</a:t>
            </a:r>
            <a:endParaRPr lang="en-US" altLang="zh-TW" sz="1600">
              <a:solidFill>
                <a:srgbClr val="0070C0"/>
              </a:solidFill>
              <a:latin typeface="BIZ UDPゴシック"/>
              <a:ea typeface="BIZ UDPゴシック"/>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デジタルチケット造成機能</a:t>
            </a:r>
            <a:endParaRPr lang="zh-TW" altLang="en-US" sz="1600">
              <a:solidFill>
                <a:srgbClr val="0070C0"/>
              </a:solidFill>
              <a:latin typeface="BIZ UDPゴシック"/>
              <a:ea typeface="BIZ UDPゴシック"/>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システム（</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I</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X</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宿泊施設に施設までにデジタルチケット案内を表示</a:t>
            </a:r>
            <a:endParaRPr lang="en-US" altLang="ja-JP" sz="1600">
              <a:solidFill>
                <a:srgbClr val="0070C0"/>
              </a:solidFill>
              <a:latin typeface="BIZ UDPゴシック"/>
              <a:ea typeface="BIZ UDPゴシック"/>
            </a:endParaRP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座組</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kumimoji="1" lang="ja-JP" altLang="en-US" sz="1600" b="0" i="0" u="none" strike="noStrike" kern="1200" cap="none" spc="0" normalizeH="0" baseline="0" noProof="0">
                <a:ln>
                  <a:noFill/>
                </a:ln>
                <a:solidFill>
                  <a:srgbClr val="0070C0"/>
                </a:solidFill>
                <a:effectLst/>
                <a:uLnTx/>
                <a:uFillTx/>
                <a:latin typeface="BIZ UDPゴシック"/>
                <a:ea typeface="BIZ UDPゴシック"/>
                <a:cs typeface="+mn-cs"/>
              </a:rPr>
              <a:t>宿泊施設との券種調整会</a:t>
            </a:r>
            <a:endParaRPr kumimoji="1" lang="en-US" altLang="ja-JP" sz="1600" b="0" i="0" u="none" strike="noStrike" kern="1200" cap="none" spc="0" normalizeH="0" baseline="0" noProof="0">
              <a:ln>
                <a:noFill/>
              </a:ln>
              <a:solidFill>
                <a:srgbClr val="0070C0"/>
              </a:solidFill>
              <a:effectLst/>
              <a:uLnTx/>
              <a:uFillTx/>
              <a:latin typeface="BIZ UDPゴシック"/>
              <a:ea typeface="BIZ UDPゴシック"/>
              <a:cs typeface="+mn-cs"/>
            </a:endParaRP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サービス運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観光</a:t>
            </a:r>
            <a:r>
              <a:rPr lang="en-US" altLang="ja-JP" sz="1600">
                <a:solidFill>
                  <a:srgbClr val="0070C0"/>
                </a:solidFill>
                <a:latin typeface="BIZ UDPゴシック"/>
                <a:ea typeface="BIZ UDPゴシック"/>
              </a:rPr>
              <a:t>DMO</a:t>
            </a:r>
            <a:r>
              <a:rPr lang="ja-JP" altLang="en-US" sz="1600">
                <a:solidFill>
                  <a:srgbClr val="0070C0"/>
                </a:solidFill>
                <a:latin typeface="BIZ UDPゴシック"/>
                <a:ea typeface="BIZ UDPゴシック"/>
              </a:rPr>
              <a:t>より観光サイト、観光施設に宿泊施設と連携したクーポンの掲載を定期的に実施</a:t>
            </a: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R="0" lvl="0" algn="l" defTabSz="914400" rtl="0" eaLnBrk="1" fontAlgn="auto" latinLnBrk="0" hangingPunct="1">
              <a:lnSpc>
                <a:spcPct val="100000"/>
              </a:lnSpc>
              <a:spcBef>
                <a:spcPts val="0"/>
              </a:spcBef>
              <a:spcAft>
                <a:spcPts val="0"/>
              </a:spcAft>
              <a:buClrTx/>
              <a:buSzTx/>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
        <p:nvSpPr>
          <p:cNvPr id="15" name="テキスト プレースホルダー 10">
            <a:extLst>
              <a:ext uri="{FF2B5EF4-FFF2-40B4-BE49-F238E27FC236}">
                <a16:creationId xmlns:a16="http://schemas.microsoft.com/office/drawing/2014/main" id="{A297BE6E-52F9-8183-AA90-19F0C17C5E07}"/>
              </a:ext>
            </a:extLst>
          </p:cNvPr>
          <p:cNvSpPr txBox="1">
            <a:spLocks/>
          </p:cNvSpPr>
          <p:nvPr/>
        </p:nvSpPr>
        <p:spPr>
          <a:xfrm>
            <a:off x="300779" y="1736090"/>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lang="en-US" altLang="ja-JP" sz="1800" kern="0">
                <a:solidFill>
                  <a:srgbClr val="000000"/>
                </a:solidFill>
              </a:rPr>
              <a:t>[</a:t>
            </a:r>
            <a:r>
              <a:rPr lang="ja-JP" altLang="en-US" sz="1800" kern="0">
                <a:solidFill>
                  <a:srgbClr val="000000"/>
                </a:solidFill>
              </a:rPr>
              <a:t>サマリーを記載</a:t>
            </a:r>
            <a:r>
              <a:rPr lang="en-US" altLang="ja-JP" sz="1800" kern="0">
                <a:solidFill>
                  <a:srgbClr val="000000"/>
                </a:solidFill>
              </a:rPr>
              <a:t>]</a:t>
            </a:r>
            <a:endParaRPr lang="ja-JP" altLang="en-US" sz="1800" kern="0">
              <a:solidFill>
                <a:srgbClr val="000000"/>
              </a:solidFill>
            </a:endParaRPr>
          </a:p>
        </p:txBody>
      </p:sp>
      <p:sp>
        <p:nvSpPr>
          <p:cNvPr id="20" name="テキスト プレースホルダー 10">
            <a:extLst>
              <a:ext uri="{FF2B5EF4-FFF2-40B4-BE49-F238E27FC236}">
                <a16:creationId xmlns:a16="http://schemas.microsoft.com/office/drawing/2014/main" id="{94800FDA-81F1-3586-866D-A519778D8DB8}"/>
              </a:ext>
            </a:extLst>
          </p:cNvPr>
          <p:cNvSpPr txBox="1">
            <a:spLocks/>
          </p:cNvSpPr>
          <p:nvPr/>
        </p:nvSpPr>
        <p:spPr>
          <a:xfrm>
            <a:off x="300778" y="1197432"/>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kumimoji="1" lang="ja-JP" altLang="en-US" sz="1800" b="0" i="0" u="none" strike="noStrike" kern="1200" cap="none" spc="0" normalizeH="0" baseline="0" noProof="0">
                <a:ln>
                  <a:noFill/>
                </a:ln>
                <a:solidFill>
                  <a:srgbClr val="0070C0"/>
                </a:solidFill>
                <a:effectLst/>
                <a:uLnTx/>
                <a:uFillTx/>
                <a:latin typeface="BIZ UDPゴシック"/>
                <a:ea typeface="BIZ UDPゴシック"/>
                <a:cs typeface="+mn-cs"/>
              </a:rPr>
              <a:t>①宿泊施設との連携</a:t>
            </a:r>
            <a:endParaRPr kumimoji="1" lang="en-US" altLang="ja-JP" sz="1800" b="0" i="0" u="none" strike="noStrike" kern="1200" cap="none" spc="0" normalizeH="0" baseline="0" noProof="0">
              <a:ln>
                <a:noFill/>
              </a:ln>
              <a:solidFill>
                <a:srgbClr val="0070C0"/>
              </a:solidFill>
              <a:effectLst/>
              <a:uLnTx/>
              <a:uFillTx/>
              <a:latin typeface="BIZ UDPゴシック"/>
              <a:ea typeface="BIZ UDPゴシック"/>
              <a:cs typeface="+mn-cs"/>
            </a:endParaRPr>
          </a:p>
        </p:txBody>
      </p:sp>
      <p:sp>
        <p:nvSpPr>
          <p:cNvPr id="16" name="テキスト ボックス 15">
            <a:extLst>
              <a:ext uri="{FF2B5EF4-FFF2-40B4-BE49-F238E27FC236}">
                <a16:creationId xmlns:a16="http://schemas.microsoft.com/office/drawing/2014/main" id="{CE3710F1-B30E-EA02-A69C-61327FEC95E4}"/>
              </a:ext>
            </a:extLst>
          </p:cNvPr>
          <p:cNvSpPr txBox="1"/>
          <p:nvPr/>
        </p:nvSpPr>
        <p:spPr>
          <a:xfrm>
            <a:off x="300778" y="4891745"/>
            <a:ext cx="6335283" cy="153764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a:t>
            </a:r>
            <a:r>
              <a:rPr kumimoji="0" lang="ja-JP" altLang="en-US" sz="1400" b="0" i="0" u="none" strike="noStrike" kern="0" cap="none" spc="0" normalizeH="0" baseline="0" noProof="0">
                <a:ln>
                  <a:noFill/>
                </a:ln>
                <a:solidFill>
                  <a:srgbClr val="FFFFFF"/>
                </a:solidFill>
                <a:effectLst/>
                <a:uLnTx/>
                <a:uFillTx/>
              </a:rPr>
              <a:t>継続開発を行っている場合のみ​記載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実装済みの</a:t>
            </a:r>
            <a:r>
              <a:rPr kumimoji="0" lang="en-US" altLang="ja-JP" sz="1400" b="0" i="0" u="none" strike="noStrike" kern="0" cap="none" spc="0" normalizeH="0" baseline="0" noProof="0" err="1">
                <a:ln>
                  <a:noFill/>
                </a:ln>
                <a:solidFill>
                  <a:srgbClr val="FFFFFF"/>
                </a:solidFill>
                <a:effectLst/>
                <a:uLnTx/>
                <a:uFillTx/>
              </a:rPr>
              <a:t>MaaS</a:t>
            </a:r>
            <a:r>
              <a:rPr kumimoji="0" lang="ja-JP" altLang="en-US" sz="1400" b="0" i="0" u="none" strike="noStrike" kern="0" cap="none" spc="0" normalizeH="0" baseline="0" noProof="0">
                <a:ln>
                  <a:noFill/>
                </a:ln>
                <a:solidFill>
                  <a:srgbClr val="FFFFFF"/>
                </a:solidFill>
                <a:effectLst/>
                <a:uLnTx/>
                <a:uFillTx/>
              </a:rPr>
              <a:t>のアプリやデジタルチケット等のサービスについて、システム、座組、運用体制、造成商品等について記載してください。​</a:t>
            </a:r>
          </a:p>
        </p:txBody>
      </p:sp>
      <p:sp>
        <p:nvSpPr>
          <p:cNvPr id="17" name="テキスト ボックス 16">
            <a:extLst>
              <a:ext uri="{FF2B5EF4-FFF2-40B4-BE49-F238E27FC236}">
                <a16:creationId xmlns:a16="http://schemas.microsoft.com/office/drawing/2014/main" id="{B8742A06-7726-04DB-07A0-15A44946BF87}"/>
              </a:ext>
            </a:extLst>
          </p:cNvPr>
          <p:cNvSpPr txBox="1"/>
          <p:nvPr/>
        </p:nvSpPr>
        <p:spPr>
          <a:xfrm>
            <a:off x="6965596" y="3005155"/>
            <a:ext cx="4086808" cy="3457633"/>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イメージビジュアルなどを掲載してください。</a:t>
            </a:r>
          </a:p>
        </p:txBody>
      </p:sp>
    </p:spTree>
    <p:extLst>
      <p:ext uri="{BB962C8B-B14F-4D97-AF65-F5344CB8AC3E}">
        <p14:creationId xmlns:p14="http://schemas.microsoft.com/office/powerpoint/2010/main" val="97561002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7F81DA45-2EDB-3376-10B4-C61FAB506B4F}"/>
              </a:ext>
            </a:extLst>
          </p:cNvPr>
          <p:cNvSpPr>
            <a:spLocks noGrp="1"/>
          </p:cNvSpPr>
          <p:nvPr>
            <p:ph type="body" sz="quarter" idx="4294967295"/>
          </p:nvPr>
        </p:nvSpPr>
        <p:spPr>
          <a:xfrm>
            <a:off x="300779" y="1134673"/>
            <a:ext cx="11376000" cy="323165"/>
          </a:xfrm>
        </p:spPr>
        <p:txBody>
          <a:bodyPr>
            <a:normAutofit fontScale="92500" lnSpcReduction="2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マリーを記載</a:t>
            </a: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Ⅳ.</a:t>
            </a:r>
            <a:r>
              <a:rPr lang="ja-JP" altLang="en-US"/>
              <a:t>エンドコンテンツとの連携</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２</a:t>
            </a:r>
            <a:r>
              <a:rPr lang="en-US" altLang="ja-JP"/>
              <a:t>.</a:t>
            </a:r>
            <a:r>
              <a:rPr lang="ja-JP" altLang="en-US"/>
              <a:t>実証仮説</a:t>
            </a:r>
          </a:p>
        </p:txBody>
      </p:sp>
      <p:graphicFrame>
        <p:nvGraphicFramePr>
          <p:cNvPr id="8" name="表 14">
            <a:extLst>
              <a:ext uri="{FF2B5EF4-FFF2-40B4-BE49-F238E27FC236}">
                <a16:creationId xmlns:a16="http://schemas.microsoft.com/office/drawing/2014/main" id="{628A4627-CAA7-6C39-A2F3-3AFB41DE8AAE}"/>
              </a:ext>
            </a:extLst>
          </p:cNvPr>
          <p:cNvGraphicFramePr>
            <a:graphicFrameLocks noGrp="1"/>
          </p:cNvGraphicFramePr>
          <p:nvPr>
            <p:extLst>
              <p:ext uri="{D42A27DB-BD31-4B8C-83A1-F6EECF244321}">
                <p14:modId xmlns:p14="http://schemas.microsoft.com/office/powerpoint/2010/main" val="1644672846"/>
              </p:ext>
            </p:extLst>
          </p:nvPr>
        </p:nvGraphicFramePr>
        <p:xfrm>
          <a:off x="300779" y="1520600"/>
          <a:ext cx="11587199" cy="5135138"/>
        </p:xfrm>
        <a:graphic>
          <a:graphicData uri="http://schemas.openxmlformats.org/drawingml/2006/table">
            <a:tbl>
              <a:tblPr firstRow="1" bandRow="1">
                <a:tableStyleId>{5940675A-B579-460E-94D1-54222C63F5DA}</a:tableStyleId>
              </a:tblPr>
              <a:tblGrid>
                <a:gridCol w="2137758">
                  <a:extLst>
                    <a:ext uri="{9D8B030D-6E8A-4147-A177-3AD203B41FA5}">
                      <a16:colId xmlns:a16="http://schemas.microsoft.com/office/drawing/2014/main" val="2207648862"/>
                    </a:ext>
                  </a:extLst>
                </a:gridCol>
                <a:gridCol w="9449441">
                  <a:extLst>
                    <a:ext uri="{9D8B030D-6E8A-4147-A177-3AD203B41FA5}">
                      <a16:colId xmlns:a16="http://schemas.microsoft.com/office/drawing/2014/main" val="3194800138"/>
                    </a:ext>
                  </a:extLst>
                </a:gridCol>
              </a:tblGrid>
              <a:tr h="349700">
                <a:tc>
                  <a:txBody>
                    <a:bodyPr/>
                    <a:lstStyle/>
                    <a:p>
                      <a:pPr marL="0" indent="0">
                        <a:buFont typeface="+mj-lt"/>
                        <a:buNone/>
                      </a:pPr>
                      <a:r>
                        <a:rPr kumimoji="1" lang="ja-JP" altLang="en-US" sz="1600" b="1">
                          <a:latin typeface="+mj-ea"/>
                          <a:ea typeface="+mj-ea"/>
                        </a:rPr>
                        <a:t>項目</a:t>
                      </a:r>
                    </a:p>
                  </a:txBody>
                  <a:tcPr marL="112542" marR="112542" marT="56271" marB="56271">
                    <a:solidFill>
                      <a:schemeClr val="bg1">
                        <a:lumMod val="85000"/>
                      </a:schemeClr>
                    </a:solidFill>
                  </a:tcPr>
                </a:tc>
                <a:tc>
                  <a:txBody>
                    <a:bodyPr/>
                    <a:lstStyle/>
                    <a:p>
                      <a:pPr marL="0" indent="0" defTabSz="990546" fontAlgn="auto">
                        <a:spcBef>
                          <a:spcPts val="300"/>
                        </a:spcBef>
                        <a:spcAft>
                          <a:spcPts val="0"/>
                        </a:spcAft>
                        <a:buSzPct val="100000"/>
                        <a:buFont typeface="Meiryo UI" panose="020B0604030504040204" pitchFamily="50" charset="-128"/>
                        <a:buNone/>
                        <a:defRPr/>
                      </a:pPr>
                      <a:r>
                        <a:rPr kumimoji="1" lang="ja-JP" altLang="en-US" sz="1600" b="1">
                          <a:solidFill>
                            <a:schemeClr val="tx1"/>
                          </a:solidFill>
                          <a:latin typeface="+mj-ea"/>
                          <a:ea typeface="+mj-ea"/>
                        </a:rPr>
                        <a:t>内容</a:t>
                      </a:r>
                      <a:endParaRPr kumimoji="1" lang="en-US" altLang="ja-JP" sz="1600" b="1">
                        <a:solidFill>
                          <a:schemeClr val="tx1"/>
                        </a:solidFill>
                        <a:latin typeface="+mj-ea"/>
                        <a:ea typeface="+mj-ea"/>
                      </a:endParaRPr>
                    </a:p>
                  </a:txBody>
                  <a:tcPr marL="112542" marR="112542" marT="56271" marB="56271">
                    <a:solidFill>
                      <a:schemeClr val="bg1">
                        <a:lumMod val="85000"/>
                      </a:schemeClr>
                    </a:solidFill>
                  </a:tcPr>
                </a:tc>
                <a:extLst>
                  <a:ext uri="{0D108BD9-81ED-4DB2-BD59-A6C34878D82A}">
                    <a16:rowId xmlns:a16="http://schemas.microsoft.com/office/drawing/2014/main" val="4015009209"/>
                  </a:ext>
                </a:extLst>
              </a:tr>
              <a:tr h="4778756">
                <a:tc>
                  <a:txBody>
                    <a:bodyPr/>
                    <a:lstStyle/>
                    <a:p>
                      <a:pPr marL="0" indent="0">
                        <a:buFont typeface="+mj-lt"/>
                        <a:buNone/>
                      </a:pPr>
                      <a:r>
                        <a:rPr kumimoji="1" lang="ja-JP" altLang="en-US" sz="1600" b="0">
                          <a:latin typeface="+mn-ea"/>
                          <a:ea typeface="+mn-ea"/>
                        </a:rPr>
                        <a:t>実証仮説</a:t>
                      </a:r>
                    </a:p>
                  </a:txBody>
                  <a:tcPr marL="112542" marR="112542" marT="56271" marB="56271">
                    <a:noFill/>
                  </a:tcPr>
                </a:tc>
                <a:tc>
                  <a:txBody>
                    <a:bodyPr/>
                    <a:lstStyle/>
                    <a:p>
                      <a:pPr marL="0" marR="0" lvl="0" indent="0" algn="l" defTabSz="74295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400" b="0" i="0" u="none" strike="noStrike" kern="1200" cap="none" spc="0" normalizeH="0" baseline="0" noProof="0">
                          <a:ln>
                            <a:noFill/>
                          </a:ln>
                          <a:solidFill>
                            <a:srgbClr val="0070C0"/>
                          </a:solidFill>
                          <a:effectLst/>
                          <a:uLnTx/>
                          <a:uFillTx/>
                          <a:latin typeface="+mn-lt"/>
                          <a:ea typeface="+mn-ea"/>
                          <a:cs typeface="+mn-cs"/>
                        </a:rPr>
                        <a:t>①宿泊施設との連携</a:t>
                      </a:r>
                      <a:endParaRPr lang="en-US" altLang="ja-JP" sz="1400">
                        <a:solidFill>
                          <a:srgbClr val="0070C0"/>
                        </a:solidFill>
                        <a:latin typeface="+mn-lt"/>
                        <a:ea typeface="+mn-ea"/>
                      </a:endParaRPr>
                    </a:p>
                    <a:p>
                      <a:pPr marL="0" indent="0">
                        <a:buFont typeface="Wingdings" panose="05000000000000000000" pitchFamily="2" charset="2"/>
                        <a:buNone/>
                      </a:pPr>
                      <a:endParaRPr lang="en-US" altLang="ja-JP" sz="1400"/>
                    </a:p>
                    <a:p>
                      <a:pPr marL="285750" indent="-285750">
                        <a:buFont typeface="Wingdings" panose="05000000000000000000" pitchFamily="2" charset="2"/>
                        <a:buChar char="l"/>
                      </a:pPr>
                      <a:r>
                        <a:rPr lang="ja-JP" altLang="en-US" sz="1400">
                          <a:solidFill>
                            <a:srgbClr val="0070C0"/>
                          </a:solidFill>
                        </a:rPr>
                        <a:t>仮説</a:t>
                      </a:r>
                      <a:r>
                        <a:rPr lang="en-US" altLang="ja-JP" sz="1400">
                          <a:solidFill>
                            <a:srgbClr val="0070C0"/>
                          </a:solidFill>
                        </a:rPr>
                        <a:t>:</a:t>
                      </a:r>
                      <a:r>
                        <a:rPr lang="en-US" altLang="ja-JP" sz="1400" err="1">
                          <a:solidFill>
                            <a:srgbClr val="0070C0"/>
                          </a:solidFill>
                        </a:rPr>
                        <a:t>MaaS</a:t>
                      </a:r>
                      <a:r>
                        <a:rPr lang="ja-JP" altLang="en-US" sz="1400">
                          <a:solidFill>
                            <a:srgbClr val="0070C0"/>
                          </a:solidFill>
                        </a:rPr>
                        <a:t>アプリと連携した宿泊施設サイト上で、宿泊予約のほか宿泊施設までのデジタルチケットを販売することで、該当宿泊施設への来客数</a:t>
                      </a:r>
                      <a:r>
                        <a:rPr lang="en-US" altLang="ja-JP" sz="1400">
                          <a:solidFill>
                            <a:srgbClr val="0070C0"/>
                          </a:solidFill>
                        </a:rPr>
                        <a:t>20%</a:t>
                      </a:r>
                      <a:r>
                        <a:rPr lang="ja-JP" altLang="en-US" sz="1400">
                          <a:solidFill>
                            <a:srgbClr val="0070C0"/>
                          </a:solidFill>
                        </a:rPr>
                        <a:t>アップ、また観光客の移動需要を取り込み、観光目的の公共交通利用率が</a:t>
                      </a:r>
                      <a:r>
                        <a:rPr lang="en-US" altLang="ja-JP" sz="1400">
                          <a:solidFill>
                            <a:srgbClr val="0070C0"/>
                          </a:solidFill>
                        </a:rPr>
                        <a:t>10%</a:t>
                      </a:r>
                      <a:r>
                        <a:rPr lang="ja-JP" altLang="en-US" sz="1400">
                          <a:solidFill>
                            <a:srgbClr val="0070C0"/>
                          </a:solidFill>
                        </a:rPr>
                        <a:t>向上。</a:t>
                      </a:r>
                      <a:endParaRPr lang="en-US" altLang="ja-JP" sz="1400">
                        <a:solidFill>
                          <a:srgbClr val="0070C0"/>
                        </a:solidFill>
                      </a:endParaRPr>
                    </a:p>
                    <a:p>
                      <a:pPr marL="285750" indent="-285750">
                        <a:buFont typeface="Wingdings" panose="05000000000000000000" pitchFamily="2" charset="2"/>
                        <a:buChar char="l"/>
                      </a:pPr>
                      <a:endParaRPr lang="en-US" altLang="ja-JP" sz="1400">
                        <a:solidFill>
                          <a:srgbClr val="0070C0"/>
                        </a:solidFill>
                      </a:endParaRPr>
                    </a:p>
                    <a:p>
                      <a:pPr marL="0" indent="0">
                        <a:buFont typeface="Wingdings" panose="05000000000000000000" pitchFamily="2" charset="2"/>
                        <a:buNone/>
                      </a:pPr>
                      <a:r>
                        <a:rPr lang="ja-JP" altLang="en-US" sz="1400">
                          <a:solidFill>
                            <a:srgbClr val="0070C0"/>
                          </a:solidFill>
                        </a:rPr>
                        <a:t>仮説が実現する理由</a:t>
                      </a:r>
                      <a:r>
                        <a:rPr lang="en-US" altLang="ja-JP" sz="1400">
                          <a:solidFill>
                            <a:srgbClr val="0070C0"/>
                          </a:solidFill>
                        </a:rPr>
                        <a:t>: </a:t>
                      </a:r>
                      <a:r>
                        <a:rPr lang="ja-JP" altLang="en-US" sz="1400">
                          <a:solidFill>
                            <a:srgbClr val="0070C0"/>
                          </a:solidFill>
                        </a:rPr>
                        <a:t>宿泊の予約から施設までのデジタルチケットがセットになり、宿泊施設予約時からシームレスな移動案内を利用することができ、宿泊施設及び公共交通の利用者が増加する。</a:t>
                      </a:r>
                      <a:endParaRPr lang="en-US" altLang="ja-JP" sz="1400">
                        <a:solidFill>
                          <a:srgbClr val="0070C0"/>
                        </a:solidFill>
                      </a:endParaRPr>
                    </a:p>
                    <a:p>
                      <a:pPr marL="0" indent="0">
                        <a:buFont typeface="Wingdings" panose="05000000000000000000" pitchFamily="2" charset="2"/>
                        <a:buNone/>
                      </a:pPr>
                      <a:endParaRPr lang="en-US" altLang="ja-JP" sz="1400">
                        <a:solidFill>
                          <a:srgbClr val="0070C0"/>
                        </a:solidFill>
                      </a:endParaRPr>
                    </a:p>
                    <a:p>
                      <a:pPr marL="0" indent="0">
                        <a:buFont typeface="Wingdings" panose="05000000000000000000" pitchFamily="2" charset="2"/>
                        <a:buNone/>
                      </a:pPr>
                      <a:endParaRPr lang="en-US" altLang="ja-JP" sz="1400">
                        <a:solidFill>
                          <a:srgbClr val="0070C0"/>
                        </a:solidFill>
                      </a:endParaRPr>
                    </a:p>
                    <a:p>
                      <a:pPr marL="0" marR="0" lvl="0" indent="0" algn="l" defTabSz="742950" rtl="0" eaLnBrk="1" fontAlgn="auto" latinLnBrk="0" hangingPunct="1">
                        <a:lnSpc>
                          <a:spcPct val="100000"/>
                        </a:lnSpc>
                        <a:spcBef>
                          <a:spcPts val="0"/>
                        </a:spcBef>
                        <a:spcAft>
                          <a:spcPts val="0"/>
                        </a:spcAft>
                        <a:buClrTx/>
                        <a:buSzTx/>
                        <a:buFont typeface="Wingdings" panose="05000000000000000000" pitchFamily="2" charset="2"/>
                        <a:buNone/>
                        <a:tabLst/>
                        <a:defRPr/>
                      </a:pPr>
                      <a:r>
                        <a:rPr lang="ja-JP" altLang="en-US" sz="1400">
                          <a:solidFill>
                            <a:srgbClr val="0070C0"/>
                          </a:solidFill>
                          <a:latin typeface="+mn-lt"/>
                          <a:ea typeface="+mn-ea"/>
                        </a:rPr>
                        <a:t>②観光施設との連携</a:t>
                      </a:r>
                      <a:endParaRPr lang="en-US" altLang="ja-JP" sz="1400">
                        <a:solidFill>
                          <a:srgbClr val="0070C0"/>
                        </a:solidFill>
                      </a:endParaRPr>
                    </a:p>
                    <a:p>
                      <a:pPr marL="285750" marR="0" lvl="0" indent="-285750" algn="l" defTabSz="74295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400">
                          <a:solidFill>
                            <a:srgbClr val="0070C0"/>
                          </a:solidFill>
                        </a:rPr>
                        <a:t>仮説</a:t>
                      </a:r>
                      <a:r>
                        <a:rPr lang="en-US" altLang="ja-JP" sz="1400">
                          <a:solidFill>
                            <a:srgbClr val="0070C0"/>
                          </a:solidFill>
                        </a:rPr>
                        <a:t>: </a:t>
                      </a:r>
                      <a:r>
                        <a:rPr lang="ja-JP" altLang="en-US" sz="1400">
                          <a:solidFill>
                            <a:srgbClr val="0070C0"/>
                          </a:solidFill>
                        </a:rPr>
                        <a:t>・・・・・</a:t>
                      </a:r>
                      <a:endParaRPr lang="en-US" altLang="ja-JP" sz="1400">
                        <a:solidFill>
                          <a:srgbClr val="0070C0"/>
                        </a:solidFill>
                      </a:endParaRPr>
                    </a:p>
                    <a:p>
                      <a:pPr marL="285750" marR="0" lvl="0" indent="-285750" algn="l" defTabSz="74295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400">
                        <a:solidFill>
                          <a:srgbClr val="0070C0"/>
                        </a:solidFill>
                      </a:endParaRPr>
                    </a:p>
                    <a:p>
                      <a:pPr marL="0" indent="0">
                        <a:buFont typeface="Wingdings" panose="05000000000000000000" pitchFamily="2" charset="2"/>
                        <a:buNone/>
                      </a:pPr>
                      <a:r>
                        <a:rPr lang="ja-JP" altLang="en-US" sz="1400">
                          <a:solidFill>
                            <a:srgbClr val="0070C0"/>
                          </a:solidFill>
                        </a:rPr>
                        <a:t>仮説が実現する理由</a:t>
                      </a:r>
                      <a:r>
                        <a:rPr lang="en-US" altLang="ja-JP" sz="1400">
                          <a:solidFill>
                            <a:srgbClr val="0070C0"/>
                          </a:solidFill>
                        </a:rPr>
                        <a:t>: </a:t>
                      </a:r>
                      <a:r>
                        <a:rPr lang="ja-JP" altLang="en-US" sz="1400">
                          <a:solidFill>
                            <a:srgbClr val="0070C0"/>
                          </a:solidFill>
                        </a:rPr>
                        <a:t>・・・・・。</a:t>
                      </a:r>
                      <a:endParaRPr lang="en-US" altLang="ja-JP" sz="1400">
                        <a:solidFill>
                          <a:srgbClr val="0070C0"/>
                        </a:solidFill>
                      </a:endParaRPr>
                    </a:p>
                    <a:p>
                      <a:pPr marL="0" indent="0">
                        <a:buFont typeface="Wingdings" panose="05000000000000000000" pitchFamily="2" charset="2"/>
                        <a:buNone/>
                      </a:pPr>
                      <a:endParaRPr lang="en-US" altLang="ja-JP" sz="1400" u="none" kern="100">
                        <a:solidFill>
                          <a:srgbClr val="0070C0"/>
                        </a:solidFill>
                        <a:effectLst/>
                        <a:latin typeface="+mn-ea"/>
                        <a:ea typeface="+mn-ea"/>
                        <a:cs typeface="Arial" panose="020B0604020202020204" pitchFamily="34" charset="0"/>
                      </a:endParaRPr>
                    </a:p>
                    <a:p>
                      <a:pPr marL="0" indent="0">
                        <a:buFont typeface="Wingdings" panose="05000000000000000000" pitchFamily="2" charset="2"/>
                        <a:buNone/>
                      </a:pPr>
                      <a:endParaRPr lang="en-US" altLang="ja-JP" sz="1400" u="none" kern="100">
                        <a:solidFill>
                          <a:srgbClr val="0070C0"/>
                        </a:solidFill>
                        <a:effectLst/>
                        <a:latin typeface="+mn-ea"/>
                        <a:ea typeface="+mn-ea"/>
                        <a:cs typeface="Arial" panose="020B0604020202020204" pitchFamily="34" charset="0"/>
                      </a:endParaRPr>
                    </a:p>
                    <a:p>
                      <a:pPr marL="0" indent="0">
                        <a:buFont typeface="Wingdings" panose="05000000000000000000" pitchFamily="2" charset="2"/>
                        <a:buNone/>
                      </a:pPr>
                      <a:r>
                        <a:rPr lang="ja-JP" altLang="en-US" sz="1400" u="none" kern="100">
                          <a:solidFill>
                            <a:srgbClr val="0070C0"/>
                          </a:solidFill>
                          <a:effectLst/>
                          <a:latin typeface="+mn-ea"/>
                          <a:ea typeface="+mn-ea"/>
                          <a:cs typeface="Arial" panose="020B0604020202020204" pitchFamily="34" charset="0"/>
                        </a:rPr>
                        <a:t>③・・・・・</a:t>
                      </a:r>
                      <a:endParaRPr lang="en-US" altLang="ja-JP" sz="1400" u="none" kern="100">
                        <a:solidFill>
                          <a:srgbClr val="0070C0"/>
                        </a:solidFill>
                        <a:effectLst/>
                        <a:latin typeface="+mn-ea"/>
                        <a:ea typeface="+mn-ea"/>
                        <a:cs typeface="Arial" panose="020B0604020202020204" pitchFamily="34" charset="0"/>
                      </a:endParaRPr>
                    </a:p>
                    <a:p>
                      <a:pPr marL="285750" marR="0" lvl="0" indent="-285750" algn="l" defTabSz="74295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400">
                          <a:solidFill>
                            <a:srgbClr val="0070C0"/>
                          </a:solidFill>
                        </a:rPr>
                        <a:t>仮説</a:t>
                      </a:r>
                      <a:r>
                        <a:rPr lang="en-US" altLang="ja-JP" sz="1400">
                          <a:solidFill>
                            <a:srgbClr val="0070C0"/>
                          </a:solidFill>
                        </a:rPr>
                        <a:t>: </a:t>
                      </a:r>
                      <a:r>
                        <a:rPr lang="ja-JP" altLang="en-US" sz="1400">
                          <a:solidFill>
                            <a:srgbClr val="0070C0"/>
                          </a:solidFill>
                        </a:rPr>
                        <a:t>・・・・・</a:t>
                      </a:r>
                      <a:endParaRPr lang="en-US" altLang="ja-JP" sz="1400">
                        <a:solidFill>
                          <a:srgbClr val="0070C0"/>
                        </a:solidFill>
                      </a:endParaRPr>
                    </a:p>
                    <a:p>
                      <a:pPr marL="285750" marR="0" lvl="0" indent="-285750" algn="l" defTabSz="74295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lang="en-US" altLang="ja-JP" sz="1400">
                        <a:solidFill>
                          <a:srgbClr val="0070C0"/>
                        </a:solidFill>
                      </a:endParaRPr>
                    </a:p>
                    <a:p>
                      <a:pPr marL="0" indent="0">
                        <a:buFont typeface="Wingdings" panose="05000000000000000000" pitchFamily="2" charset="2"/>
                        <a:buNone/>
                      </a:pPr>
                      <a:r>
                        <a:rPr lang="ja-JP" altLang="en-US" sz="1400">
                          <a:solidFill>
                            <a:srgbClr val="0070C0"/>
                          </a:solidFill>
                        </a:rPr>
                        <a:t>仮説が実現する理由</a:t>
                      </a:r>
                      <a:r>
                        <a:rPr lang="en-US" altLang="ja-JP" sz="1400">
                          <a:solidFill>
                            <a:srgbClr val="0070C0"/>
                          </a:solidFill>
                        </a:rPr>
                        <a:t>: </a:t>
                      </a:r>
                      <a:r>
                        <a:rPr lang="ja-JP" altLang="en-US" sz="1400">
                          <a:solidFill>
                            <a:srgbClr val="0070C0"/>
                          </a:solidFill>
                        </a:rPr>
                        <a:t>・・・・・。</a:t>
                      </a:r>
                      <a:endParaRPr lang="en-US" altLang="ja-JP" sz="1400" u="none" kern="100">
                        <a:solidFill>
                          <a:srgbClr val="0070C0"/>
                        </a:solidFill>
                        <a:effectLst/>
                        <a:latin typeface="+mn-ea"/>
                        <a:ea typeface="+mn-ea"/>
                        <a:cs typeface="Arial" panose="020B0604020202020204" pitchFamily="34" charset="0"/>
                      </a:endParaRPr>
                    </a:p>
                    <a:p>
                      <a:pPr marL="0" indent="0">
                        <a:buFont typeface="Wingdings" panose="05000000000000000000" pitchFamily="2" charset="2"/>
                        <a:buNone/>
                      </a:pPr>
                      <a:endParaRPr lang="en-US" altLang="ja-JP" sz="1400" u="none" kern="100">
                        <a:solidFill>
                          <a:srgbClr val="0070C0"/>
                        </a:solidFill>
                        <a:effectLst/>
                        <a:latin typeface="+mn-ea"/>
                        <a:ea typeface="+mn-ea"/>
                        <a:cs typeface="Arial" panose="020B0604020202020204" pitchFamily="34" charset="0"/>
                      </a:endParaRPr>
                    </a:p>
                  </a:txBody>
                  <a:tcPr marL="112542" marR="112542" marT="56271" marB="56271">
                    <a:solidFill>
                      <a:schemeClr val="bg1"/>
                    </a:solidFill>
                  </a:tcPr>
                </a:tc>
                <a:extLst>
                  <a:ext uri="{0D108BD9-81ED-4DB2-BD59-A6C34878D82A}">
                    <a16:rowId xmlns:a16="http://schemas.microsoft.com/office/drawing/2014/main" val="4257226144"/>
                  </a:ext>
                </a:extLst>
              </a:tr>
            </a:tbl>
          </a:graphicData>
        </a:graphic>
      </p:graphicFrame>
      <p:sp>
        <p:nvSpPr>
          <p:cNvPr id="11" name="テキスト ボックス 10">
            <a:extLst>
              <a:ext uri="{FF2B5EF4-FFF2-40B4-BE49-F238E27FC236}">
                <a16:creationId xmlns:a16="http://schemas.microsoft.com/office/drawing/2014/main" id="{F3C7DC9A-525C-F63B-8EA0-A1FD3AEF7283}"/>
              </a:ext>
            </a:extLst>
          </p:cNvPr>
          <p:cNvSpPr txBox="1"/>
          <p:nvPr/>
        </p:nvSpPr>
        <p:spPr>
          <a:xfrm>
            <a:off x="1754907" y="3272856"/>
            <a:ext cx="8467744" cy="163062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スコープ単位で記載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をすることにより▲▲になる、等スコープに対してどのような仮説が立つか具体的に記載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また、▲▲の部分のどうなるかについては、できるだけ定量的に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338471500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Ⅳ.</a:t>
            </a:r>
            <a:r>
              <a:rPr lang="ja-JP" altLang="en-US"/>
              <a:t>エンドコンテンツとの連携</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３</a:t>
            </a:r>
            <a:r>
              <a:rPr lang="en-US" altLang="ja-JP"/>
              <a:t>.</a:t>
            </a:r>
            <a:r>
              <a:rPr lang="ja-JP" altLang="en-US"/>
              <a:t>スコープ詳細</a:t>
            </a:r>
          </a:p>
        </p:txBody>
      </p:sp>
      <p:sp>
        <p:nvSpPr>
          <p:cNvPr id="11" name="テキスト プレースホルダー 10">
            <a:extLst>
              <a:ext uri="{FF2B5EF4-FFF2-40B4-BE49-F238E27FC236}">
                <a16:creationId xmlns:a16="http://schemas.microsoft.com/office/drawing/2014/main" id="{962E5203-2DFF-C1A0-2F9F-F26700D05F5E}"/>
              </a:ext>
            </a:extLst>
          </p:cNvPr>
          <p:cNvSpPr txBox="1">
            <a:spLocks noGrp="1"/>
          </p:cNvSpPr>
          <p:nvPr>
            <p:ph type="body" sz="quarter" idx="4294967295"/>
          </p:nvPr>
        </p:nvSpPr>
        <p:spPr>
          <a:xfrm>
            <a:off x="300038" y="1135063"/>
            <a:ext cx="11376025"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kumimoji="1" lang="ja-JP" altLang="en-US" sz="1800" b="0" i="0" u="none" strike="noStrike" kern="1200" cap="none" spc="0" normalizeH="0" baseline="0" noProof="0">
                <a:ln>
                  <a:noFill/>
                </a:ln>
                <a:solidFill>
                  <a:srgbClr val="0070C0"/>
                </a:solidFill>
                <a:effectLst/>
                <a:uLnTx/>
                <a:uFillTx/>
                <a:latin typeface="BIZ UDPゴシック"/>
                <a:ea typeface="BIZ UDPゴシック"/>
                <a:cs typeface="+mn-cs"/>
              </a:rPr>
              <a:t>①宿泊施設との連携</a:t>
            </a:r>
            <a:endParaRPr kumimoji="1" lang="en-US" altLang="ja-JP" sz="1800" b="0" i="0" u="none" strike="noStrike" kern="1200" cap="none" spc="0" normalizeH="0" baseline="0" noProof="0">
              <a:ln>
                <a:noFill/>
              </a:ln>
              <a:solidFill>
                <a:srgbClr val="0070C0"/>
              </a:solidFill>
              <a:effectLst/>
              <a:uLnTx/>
              <a:uFillTx/>
              <a:latin typeface="BIZ UDPゴシック"/>
              <a:ea typeface="BIZ UDPゴシック"/>
              <a:cs typeface="+mn-cs"/>
            </a:endParaRPr>
          </a:p>
        </p:txBody>
      </p:sp>
      <p:sp>
        <p:nvSpPr>
          <p:cNvPr id="26" name="テキスト ボックス 25">
            <a:extLst>
              <a:ext uri="{FF2B5EF4-FFF2-40B4-BE49-F238E27FC236}">
                <a16:creationId xmlns:a16="http://schemas.microsoft.com/office/drawing/2014/main" id="{E79CF6B0-5AD5-B0A6-5A82-B2F5A3B16A53}"/>
              </a:ext>
            </a:extLst>
          </p:cNvPr>
          <p:cNvSpPr txBox="1"/>
          <p:nvPr/>
        </p:nvSpPr>
        <p:spPr>
          <a:xfrm>
            <a:off x="453017" y="1490744"/>
            <a:ext cx="11313782" cy="710832"/>
          </a:xfrm>
          <a:prstGeom prst="rect">
            <a:avLst/>
          </a:prstGeom>
          <a:noFill/>
        </p:spPr>
        <p:txBody>
          <a:bodyPr wrap="square" anchor="t">
            <a:noAutofit/>
          </a:bodyPr>
          <a:lstStyle/>
          <a:p>
            <a:pPr marR="0" lvl="0" algn="l" defTabSz="914400" rtl="0" eaLnBrk="1" fontAlgn="auto" latinLnBrk="0" hangingPunct="1">
              <a:lnSpc>
                <a:spcPct val="100000"/>
              </a:lnSpc>
              <a:spcBef>
                <a:spcPts val="300"/>
              </a:spcBef>
              <a:spcAft>
                <a:spcPts val="0"/>
              </a:spcAft>
              <a:buClrTx/>
              <a:buSzTx/>
              <a:tabLst/>
              <a:defRPr/>
            </a:pPr>
            <a:r>
              <a:rPr lang="ja-JP" altLang="en-US" sz="1400">
                <a:solidFill>
                  <a:srgbClr val="0070C0"/>
                </a:solidFill>
                <a:latin typeface="BIZ UDPゴシック"/>
                <a:ea typeface="BIZ UDPゴシック"/>
              </a:rPr>
              <a:t>当該エリアの宿泊施設までの移動の利便性を向上させるとともに宿泊施設近隣の観光地の周遊を促進させるため、</a:t>
            </a:r>
            <a:r>
              <a:rPr lang="en-US" altLang="ja-JP" sz="1400" err="1">
                <a:solidFill>
                  <a:srgbClr val="0070C0"/>
                </a:solidFill>
                <a:latin typeface="BIZ UDPゴシック"/>
                <a:ea typeface="BIZ UDPゴシック"/>
              </a:rPr>
              <a:t>MaaS</a:t>
            </a:r>
            <a:r>
              <a:rPr lang="ja-JP" altLang="en-US" sz="1400">
                <a:solidFill>
                  <a:srgbClr val="0070C0"/>
                </a:solidFill>
                <a:latin typeface="BIZ UDPゴシック"/>
                <a:ea typeface="BIZ UDPゴシック"/>
              </a:rPr>
              <a:t>アプリ上で宿泊施設との連携を実施する。</a:t>
            </a:r>
            <a:endParaRPr lang="en-US" altLang="ja-JP" sz="1400">
              <a:solidFill>
                <a:srgbClr val="0070C0"/>
              </a:solidFill>
              <a:latin typeface="BIZ UDPゴシック"/>
              <a:ea typeface="BIZ UDPゴシック"/>
            </a:endParaRPr>
          </a:p>
        </p:txBody>
      </p:sp>
      <p:sp>
        <p:nvSpPr>
          <p:cNvPr id="35" name="テキスト ボックス 34">
            <a:extLst>
              <a:ext uri="{FF2B5EF4-FFF2-40B4-BE49-F238E27FC236}">
                <a16:creationId xmlns:a16="http://schemas.microsoft.com/office/drawing/2014/main" id="{031691BD-8701-682B-2568-3E02BCFA60E2}"/>
              </a:ext>
            </a:extLst>
          </p:cNvPr>
          <p:cNvSpPr txBox="1"/>
          <p:nvPr/>
        </p:nvSpPr>
        <p:spPr>
          <a:xfrm>
            <a:off x="453017" y="4483668"/>
            <a:ext cx="5275836" cy="171897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事業内容についてスコープ毎に分けて記載をお願いいたします。</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なお、企画乗車券の販売や</a:t>
            </a:r>
            <a:r>
              <a:rPr kumimoji="0" lang="en-US" altLang="ja-JP" sz="1400" b="0" i="0" u="none" strike="noStrike" kern="0" cap="none" spc="0" normalizeH="0" baseline="0" noProof="0">
                <a:ln>
                  <a:noFill/>
                </a:ln>
                <a:solidFill>
                  <a:srgbClr val="FFFFFF"/>
                </a:solidFill>
                <a:effectLst/>
                <a:uLnTx/>
                <a:uFillTx/>
              </a:rPr>
              <a:t>QR</a:t>
            </a:r>
            <a:r>
              <a:rPr kumimoji="0" lang="ja-JP" altLang="en-US" sz="1400" b="0" i="0" u="none" strike="noStrike" kern="0" cap="none" spc="0" normalizeH="0" baseline="0" noProof="0">
                <a:ln>
                  <a:noFill/>
                </a:ln>
                <a:solidFill>
                  <a:srgbClr val="FFFFFF"/>
                </a:solidFill>
                <a:effectLst/>
                <a:uLnTx/>
                <a:uFillTx/>
              </a:rPr>
              <a:t>端末の設置等、本プロジェクトで導入する数量が明記できるものに関しては、具体的な目標数量の記載をお願いいたします。</a:t>
            </a:r>
            <a:endParaRPr kumimoji="0" lang="en-US" altLang="ja-JP" sz="1400" b="0" i="0" u="none" strike="noStrike" kern="0" cap="none" spc="0" normalizeH="0" baseline="0" noProof="0">
              <a:ln>
                <a:noFill/>
              </a:ln>
              <a:solidFill>
                <a:srgbClr val="FFFFFF"/>
              </a:solidFill>
              <a:effectLst/>
              <a:uLnTx/>
              <a:uFillTx/>
            </a:endParaRPr>
          </a:p>
        </p:txBody>
      </p:sp>
      <p:sp>
        <p:nvSpPr>
          <p:cNvPr id="36" name="テキスト ボックス 35">
            <a:extLst>
              <a:ext uri="{FF2B5EF4-FFF2-40B4-BE49-F238E27FC236}">
                <a16:creationId xmlns:a16="http://schemas.microsoft.com/office/drawing/2014/main" id="{7EE4361D-BD43-605B-F877-5947AB823C05}"/>
              </a:ext>
            </a:extLst>
          </p:cNvPr>
          <p:cNvSpPr txBox="1"/>
          <p:nvPr/>
        </p:nvSpPr>
        <p:spPr>
          <a:xfrm>
            <a:off x="6285177" y="4483667"/>
            <a:ext cx="5275836" cy="171897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左記スコープに対し、本プロジェクトで開発する機能を記載ください。なお、既存システムやサービスを利用する場合も記載し、既存機能であることを明記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システム開発又はシステム利用を伴わないスコープの場合、記載は不要です。</a:t>
            </a:r>
            <a:endParaRPr kumimoji="0" lang="en-US" altLang="ja-JP" sz="1400" b="0" i="0" u="none" strike="noStrike" kern="0" cap="none" spc="0" normalizeH="0" baseline="0" noProof="0">
              <a:ln>
                <a:noFill/>
              </a:ln>
              <a:solidFill>
                <a:srgbClr val="FFFFFF"/>
              </a:solidFill>
              <a:effectLst/>
              <a:uLnTx/>
              <a:uFillTx/>
            </a:endParaRPr>
          </a:p>
        </p:txBody>
      </p:sp>
      <p:graphicFrame>
        <p:nvGraphicFramePr>
          <p:cNvPr id="3" name="表 2">
            <a:extLst>
              <a:ext uri="{FF2B5EF4-FFF2-40B4-BE49-F238E27FC236}">
                <a16:creationId xmlns:a16="http://schemas.microsoft.com/office/drawing/2014/main" id="{FA2AA8AB-14C0-30E1-C886-378332D272B3}"/>
              </a:ext>
            </a:extLst>
          </p:cNvPr>
          <p:cNvGraphicFramePr>
            <a:graphicFrameLocks noGrp="1"/>
          </p:cNvGraphicFramePr>
          <p:nvPr>
            <p:extLst>
              <p:ext uri="{D42A27DB-BD31-4B8C-83A1-F6EECF244321}">
                <p14:modId xmlns:p14="http://schemas.microsoft.com/office/powerpoint/2010/main" val="260472145"/>
              </p:ext>
            </p:extLst>
          </p:nvPr>
        </p:nvGraphicFramePr>
        <p:xfrm>
          <a:off x="453017" y="2081043"/>
          <a:ext cx="5390886" cy="2736207"/>
        </p:xfrm>
        <a:graphic>
          <a:graphicData uri="http://schemas.openxmlformats.org/drawingml/2006/table">
            <a:tbl>
              <a:tblPr firstRow="1" firstCol="1" bandRow="1">
                <a:tableStyleId>{5940675A-B579-460E-94D1-54222C63F5DA}</a:tableStyleId>
              </a:tblPr>
              <a:tblGrid>
                <a:gridCol w="1621993">
                  <a:extLst>
                    <a:ext uri="{9D8B030D-6E8A-4147-A177-3AD203B41FA5}">
                      <a16:colId xmlns:a16="http://schemas.microsoft.com/office/drawing/2014/main" val="3938936156"/>
                    </a:ext>
                  </a:extLst>
                </a:gridCol>
                <a:gridCol w="3768893">
                  <a:extLst>
                    <a:ext uri="{9D8B030D-6E8A-4147-A177-3AD203B41FA5}">
                      <a16:colId xmlns:a16="http://schemas.microsoft.com/office/drawing/2014/main" val="547714969"/>
                    </a:ext>
                  </a:extLst>
                </a:gridCol>
              </a:tblGrid>
              <a:tr h="327396">
                <a:tc>
                  <a:txBody>
                    <a:bodyPr/>
                    <a:lstStyle/>
                    <a:p>
                      <a:pPr algn="just"/>
                      <a:r>
                        <a:rPr lang="ja-JP" altLang="en-US" sz="1050" b="0" kern="100">
                          <a:solidFill>
                            <a:schemeClr val="tx1"/>
                          </a:solidFill>
                          <a:effectLst/>
                          <a:latin typeface="+mn-ea"/>
                          <a:ea typeface="+mn-ea"/>
                          <a:cs typeface="Meiryo UI" panose="020B0604030504040204" pitchFamily="50" charset="-128"/>
                        </a:rPr>
                        <a:t>スコープ</a:t>
                      </a:r>
                      <a:endParaRPr lang="ja-JP" altLang="ja-JP" sz="1050" b="0" kern="100">
                        <a:solidFill>
                          <a:schemeClr val="tx1"/>
                        </a:solidFill>
                        <a:effectLst/>
                        <a:latin typeface="+mn-ea"/>
                        <a:ea typeface="+mn-ea"/>
                        <a:cs typeface="Meiryo UI" panose="020B0604030504040204" pitchFamily="50" charset="-128"/>
                      </a:endParaRPr>
                    </a:p>
                  </a:txBody>
                  <a:tcPr marL="90000" marR="90000" marT="46800" marB="46800">
                    <a:solidFill>
                      <a:schemeClr val="bg1">
                        <a:lumMod val="75000"/>
                      </a:schemeClr>
                    </a:solidFill>
                  </a:tcPr>
                </a:tc>
                <a:tc>
                  <a:txBody>
                    <a:bodyPr/>
                    <a:lstStyle/>
                    <a:p>
                      <a:pPr algn="just"/>
                      <a:r>
                        <a:rPr lang="ja-JP" altLang="en-US" sz="1050" b="0" kern="100">
                          <a:solidFill>
                            <a:schemeClr val="tx1"/>
                          </a:solidFill>
                          <a:effectLst/>
                          <a:latin typeface="+mn-ea"/>
                          <a:ea typeface="+mn-ea"/>
                          <a:cs typeface="Meiryo UI" panose="020B0604030504040204" pitchFamily="50" charset="-128"/>
                        </a:rPr>
                        <a:t>概要</a:t>
                      </a:r>
                      <a:endParaRPr lang="ja-JP" sz="1050" b="0" kern="100">
                        <a:solidFill>
                          <a:schemeClr val="tx1"/>
                        </a:solidFill>
                        <a:effectLst/>
                        <a:latin typeface="+mn-ea"/>
                        <a:ea typeface="+mn-ea"/>
                        <a:cs typeface="Meiryo UI" panose="020B0604030504040204" pitchFamily="50" charset="-128"/>
                      </a:endParaRPr>
                    </a:p>
                  </a:txBody>
                  <a:tcPr marL="90000" marR="90000" marT="46800" marB="46800">
                    <a:solidFill>
                      <a:schemeClr val="bg1">
                        <a:lumMod val="75000"/>
                      </a:schemeClr>
                    </a:solidFill>
                  </a:tcPr>
                </a:tc>
                <a:extLst>
                  <a:ext uri="{0D108BD9-81ED-4DB2-BD59-A6C34878D82A}">
                    <a16:rowId xmlns:a16="http://schemas.microsoft.com/office/drawing/2014/main" val="1526276123"/>
                  </a:ext>
                </a:extLst>
              </a:tr>
              <a:tr h="425608">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lang="ja-JP" altLang="en-US" sz="1050" b="0" kern="100">
                          <a:solidFill>
                            <a:srgbClr val="0070C0"/>
                          </a:solidFill>
                          <a:effectLst/>
                          <a:latin typeface="+mn-ea"/>
                          <a:ea typeface="+mn-ea"/>
                          <a:cs typeface="Meiryo UI" panose="020B0604030504040204" pitchFamily="50" charset="-128"/>
                        </a:rPr>
                        <a:t>宿泊施設予約時のシームレスな移動案内</a:t>
                      </a:r>
                      <a:endParaRPr lang="ja-JP" altLang="ja-JP" sz="1050" b="0" kern="100">
                        <a:solidFill>
                          <a:srgbClr val="0070C0"/>
                        </a:solidFill>
                        <a:effectLst/>
                        <a:latin typeface="+mn-ea"/>
                        <a:ea typeface="+mn-ea"/>
                        <a:cs typeface="Meiryo UI" panose="020B0604030504040204" pitchFamily="50" charset="-128"/>
                      </a:endParaRPr>
                    </a:p>
                  </a:txBody>
                  <a:tcPr marL="90000" marR="90000" marT="46800" marB="46800" anchor="ctr"/>
                </a:tc>
                <a:tc>
                  <a:txBody>
                    <a:bodyPr/>
                    <a:lstStyle/>
                    <a:p>
                      <a:pPr marL="0" lvl="0" indent="0" algn="just">
                        <a:buFont typeface="Arial" panose="020B0604020202020204" pitchFamily="34" charset="0"/>
                        <a:buNone/>
                      </a:pPr>
                      <a:r>
                        <a:rPr lang="ja-JP" altLang="en-US" sz="1050" b="0" kern="100">
                          <a:solidFill>
                            <a:srgbClr val="0070C0"/>
                          </a:solidFill>
                          <a:effectLst/>
                          <a:latin typeface="+mn-ea"/>
                          <a:ea typeface="+mn-ea"/>
                          <a:cs typeface="Meiryo UI" panose="020B0604030504040204" pitchFamily="50" charset="-128"/>
                        </a:rPr>
                        <a:t>宿泊施設のサイト上で予約した際に、その宿泊施設までのデジタルチケットの案内及び販売を行う。</a:t>
                      </a:r>
                      <a:endParaRPr lang="ja-JP" altLang="ja-JP" sz="1050" b="0" kern="100">
                        <a:solidFill>
                          <a:srgbClr val="0070C0"/>
                        </a:solidFill>
                        <a:effectLst/>
                        <a:latin typeface="+mn-ea"/>
                        <a:ea typeface="+mn-ea"/>
                        <a:cs typeface="Meiryo UI" panose="020B0604030504040204" pitchFamily="50" charset="-128"/>
                      </a:endParaRPr>
                    </a:p>
                  </a:txBody>
                  <a:tcPr marL="90000" marR="90000" marT="46800" marB="46800" anchor="ctr"/>
                </a:tc>
                <a:extLst>
                  <a:ext uri="{0D108BD9-81ED-4DB2-BD59-A6C34878D82A}">
                    <a16:rowId xmlns:a16="http://schemas.microsoft.com/office/drawing/2014/main" val="1596975374"/>
                  </a:ext>
                </a:extLst>
              </a:tr>
              <a:tr h="502180">
                <a:tc>
                  <a:txBody>
                    <a:bodyPr/>
                    <a:lstStyle/>
                    <a:p>
                      <a:r>
                        <a:rPr kumimoji="1" lang="ja-JP" altLang="en-US" sz="1050">
                          <a:solidFill>
                            <a:srgbClr val="0070C0"/>
                          </a:solidFill>
                        </a:rPr>
                        <a:t>エンドコンテンツと連携した企画乗車券の造成・販売</a:t>
                      </a:r>
                    </a:p>
                  </a:txBody>
                  <a:tcPr marL="90000" marR="90000" marT="46800" marB="46800" anchor="ctr"/>
                </a:tc>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〇〇施設や宿泊施設のクーポンをセットにした企画乗車券を造成・販売する（目標：〇種）。</a:t>
                      </a:r>
                    </a:p>
                  </a:txBody>
                  <a:tcPr marL="90000" marR="90000" marT="46800" marB="46800" anchor="ctr"/>
                </a:tc>
                <a:extLst>
                  <a:ext uri="{0D108BD9-81ED-4DB2-BD59-A6C34878D82A}">
                    <a16:rowId xmlns:a16="http://schemas.microsoft.com/office/drawing/2014/main" val="3479908594"/>
                  </a:ext>
                </a:extLst>
              </a:tr>
              <a:tr h="532261">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50">
                          <a:solidFill>
                            <a:srgbClr val="0070C0"/>
                          </a:solidFill>
                        </a:rPr>
                        <a:t>QR</a:t>
                      </a:r>
                      <a:r>
                        <a:rPr kumimoji="1" lang="ja-JP" altLang="en-US" sz="1050">
                          <a:solidFill>
                            <a:srgbClr val="0070C0"/>
                          </a:solidFill>
                        </a:rPr>
                        <a:t>チケッティングの開発・提供</a:t>
                      </a:r>
                    </a:p>
                  </a:txBody>
                  <a:tcPr marL="90000" marR="90000" marT="46800" marB="46800" anchor="ctr"/>
                </a:tc>
                <a:tc>
                  <a:txBody>
                    <a:bodyPr/>
                    <a:lstStyle/>
                    <a:p>
                      <a:r>
                        <a:rPr kumimoji="1" lang="ja-JP" altLang="en-US" sz="1050">
                          <a:solidFill>
                            <a:srgbClr val="0070C0"/>
                          </a:solidFill>
                        </a:rPr>
                        <a:t>〇〇</a:t>
                      </a:r>
                      <a:r>
                        <a:rPr kumimoji="1" lang="en-US" altLang="ja-JP" sz="1050">
                          <a:solidFill>
                            <a:srgbClr val="0070C0"/>
                          </a:solidFill>
                        </a:rPr>
                        <a:t>MaaS</a:t>
                      </a:r>
                      <a:r>
                        <a:rPr kumimoji="1" lang="ja-JP" altLang="en-US" sz="1050">
                          <a:solidFill>
                            <a:srgbClr val="0070C0"/>
                          </a:solidFill>
                        </a:rPr>
                        <a:t>で販売するチケットの認証を</a:t>
                      </a:r>
                      <a:r>
                        <a:rPr kumimoji="1" lang="en-US" altLang="ja-JP" sz="1050">
                          <a:solidFill>
                            <a:srgbClr val="0070C0"/>
                          </a:solidFill>
                        </a:rPr>
                        <a:t>QR</a:t>
                      </a:r>
                      <a:r>
                        <a:rPr kumimoji="1" lang="ja-JP" altLang="en-US" sz="1050">
                          <a:solidFill>
                            <a:srgbClr val="0070C0"/>
                          </a:solidFill>
                        </a:rPr>
                        <a:t>により行う（全種）。対象エリアの連携する宿泊施設に</a:t>
                      </a:r>
                      <a:r>
                        <a:rPr kumimoji="1" lang="en-US" altLang="ja-JP" sz="1050">
                          <a:solidFill>
                            <a:srgbClr val="0070C0"/>
                          </a:solidFill>
                        </a:rPr>
                        <a:t>QR</a:t>
                      </a:r>
                      <a:r>
                        <a:rPr kumimoji="1" lang="ja-JP" altLang="en-US" sz="1050">
                          <a:solidFill>
                            <a:srgbClr val="0070C0"/>
                          </a:solidFill>
                        </a:rPr>
                        <a:t>認証端末を設置する。</a:t>
                      </a:r>
                      <a:endParaRPr kumimoji="1" lang="en-US" altLang="ja-JP" sz="1050">
                        <a:solidFill>
                          <a:srgbClr val="0070C0"/>
                        </a:solidFill>
                      </a:endParaRPr>
                    </a:p>
                    <a:p>
                      <a:r>
                        <a:rPr kumimoji="1" lang="ja-JP" altLang="en-US" sz="1050">
                          <a:solidFill>
                            <a:srgbClr val="0070C0"/>
                          </a:solidFill>
                        </a:rPr>
                        <a:t>設置数は○○台を想定。</a:t>
                      </a:r>
                      <a:endParaRPr kumimoji="1" lang="en-US" altLang="ja-JP" sz="1050">
                        <a:solidFill>
                          <a:srgbClr val="0070C0"/>
                        </a:solidFill>
                      </a:endParaRPr>
                    </a:p>
                  </a:txBody>
                  <a:tcPr marL="90000" marR="90000" marT="46800" marB="46800" anchor="ctr"/>
                </a:tc>
                <a:extLst>
                  <a:ext uri="{0D108BD9-81ED-4DB2-BD59-A6C34878D82A}">
                    <a16:rowId xmlns:a16="http://schemas.microsoft.com/office/drawing/2014/main" val="213378181"/>
                  </a:ext>
                </a:extLst>
              </a:tr>
              <a:tr h="431622">
                <a:tc>
                  <a:txBody>
                    <a:bodyPr/>
                    <a:lstStyle/>
                    <a:p>
                      <a:pPr marL="0" indent="0" algn="just">
                        <a:buFont typeface="Arial" panose="020B0604020202020204" pitchFamily="34" charset="0"/>
                        <a:buNone/>
                      </a:pPr>
                      <a:endParaRPr lang="ja-JP" sz="1050" b="0" kern="100">
                        <a:solidFill>
                          <a:srgbClr val="0070C0"/>
                        </a:solidFill>
                        <a:effectLst/>
                        <a:latin typeface="+mn-ea"/>
                        <a:ea typeface="+mn-ea"/>
                        <a:cs typeface="Meiryo UI" panose="020B0604030504040204" pitchFamily="50" charset="-128"/>
                      </a:endParaRPr>
                    </a:p>
                  </a:txBody>
                  <a:tcPr marL="90000" marR="90000" marT="46800" marB="46800" anchor="ctr"/>
                </a:tc>
                <a:tc>
                  <a:txBody>
                    <a:bodyPr/>
                    <a:lstStyle/>
                    <a:p>
                      <a:pPr marL="0" lvl="0" indent="0" algn="just">
                        <a:buFont typeface="Arial" panose="020B0604020202020204" pitchFamily="34" charset="0"/>
                        <a:buNone/>
                      </a:pPr>
                      <a:endParaRPr lang="ja-JP" sz="1050" b="0" kern="100">
                        <a:solidFill>
                          <a:srgbClr val="0070C0"/>
                        </a:solidFill>
                        <a:effectLst/>
                        <a:latin typeface="+mn-ea"/>
                        <a:ea typeface="+mn-ea"/>
                        <a:cs typeface="Meiryo UI" panose="020B0604030504040204" pitchFamily="50" charset="-128"/>
                      </a:endParaRPr>
                    </a:p>
                  </a:txBody>
                  <a:tcPr marL="90000" marR="90000" marT="46800" marB="46800" anchor="ctr"/>
                </a:tc>
                <a:extLst>
                  <a:ext uri="{0D108BD9-81ED-4DB2-BD59-A6C34878D82A}">
                    <a16:rowId xmlns:a16="http://schemas.microsoft.com/office/drawing/2014/main" val="3204529771"/>
                  </a:ext>
                </a:extLst>
              </a:tr>
              <a:tr h="404261">
                <a:tc>
                  <a:txBody>
                    <a:bodyPr/>
                    <a:lstStyle/>
                    <a:p>
                      <a:pPr marL="0" indent="0" algn="just">
                        <a:buFont typeface="Arial" panose="020B0604020202020204" pitchFamily="34" charset="0"/>
                        <a:buNone/>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tc>
                <a:tc>
                  <a:txBody>
                    <a:bodyPr/>
                    <a:lstStyle/>
                    <a:p>
                      <a:pPr marL="0" lvl="0" indent="0" algn="just">
                        <a:buFont typeface="Arial" panose="020B0604020202020204" pitchFamily="34" charset="0"/>
                        <a:buNone/>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tc>
                <a:extLst>
                  <a:ext uri="{0D108BD9-81ED-4DB2-BD59-A6C34878D82A}">
                    <a16:rowId xmlns:a16="http://schemas.microsoft.com/office/drawing/2014/main" val="3569301698"/>
                  </a:ext>
                </a:extLst>
              </a:tr>
            </a:tbl>
          </a:graphicData>
        </a:graphic>
      </p:graphicFrame>
      <p:graphicFrame>
        <p:nvGraphicFramePr>
          <p:cNvPr id="4" name="表 3">
            <a:extLst>
              <a:ext uri="{FF2B5EF4-FFF2-40B4-BE49-F238E27FC236}">
                <a16:creationId xmlns:a16="http://schemas.microsoft.com/office/drawing/2014/main" id="{A90B5F8A-38F9-F567-8F6F-EE885515965C}"/>
              </a:ext>
            </a:extLst>
          </p:cNvPr>
          <p:cNvGraphicFramePr>
            <a:graphicFrameLocks noGrp="1"/>
          </p:cNvGraphicFramePr>
          <p:nvPr>
            <p:extLst>
              <p:ext uri="{D42A27DB-BD31-4B8C-83A1-F6EECF244321}">
                <p14:modId xmlns:p14="http://schemas.microsoft.com/office/powerpoint/2010/main" val="1361202005"/>
              </p:ext>
            </p:extLst>
          </p:nvPr>
        </p:nvGraphicFramePr>
        <p:xfrm>
          <a:off x="6285177" y="2071447"/>
          <a:ext cx="5390886" cy="4387602"/>
        </p:xfrm>
        <a:graphic>
          <a:graphicData uri="http://schemas.openxmlformats.org/drawingml/2006/table">
            <a:tbl>
              <a:tblPr firstRow="1" firstCol="1" bandRow="1">
                <a:tableStyleId>{5940675A-B579-460E-94D1-54222C63F5DA}</a:tableStyleId>
              </a:tblPr>
              <a:tblGrid>
                <a:gridCol w="1621993">
                  <a:extLst>
                    <a:ext uri="{9D8B030D-6E8A-4147-A177-3AD203B41FA5}">
                      <a16:colId xmlns:a16="http://schemas.microsoft.com/office/drawing/2014/main" val="3938936156"/>
                    </a:ext>
                  </a:extLst>
                </a:gridCol>
                <a:gridCol w="3768893">
                  <a:extLst>
                    <a:ext uri="{9D8B030D-6E8A-4147-A177-3AD203B41FA5}">
                      <a16:colId xmlns:a16="http://schemas.microsoft.com/office/drawing/2014/main" val="547714969"/>
                    </a:ext>
                  </a:extLst>
                </a:gridCol>
              </a:tblGrid>
              <a:tr h="343021">
                <a:tc>
                  <a:txBody>
                    <a:bodyPr/>
                    <a:lstStyle/>
                    <a:p>
                      <a:pPr algn="just"/>
                      <a:r>
                        <a:rPr lang="ja-JP" altLang="en-US" sz="1050" b="0" kern="100">
                          <a:solidFill>
                            <a:schemeClr val="tx1"/>
                          </a:solidFill>
                          <a:effectLst/>
                          <a:latin typeface="+mn-ea"/>
                          <a:ea typeface="+mn-ea"/>
                          <a:cs typeface="Meiryo UI" panose="020B0604030504040204" pitchFamily="50" charset="-128"/>
                        </a:rPr>
                        <a:t>開発機能</a:t>
                      </a:r>
                      <a:endParaRPr lang="ja-JP" altLang="ja-JP" sz="1050" b="0" kern="100">
                        <a:solidFill>
                          <a:schemeClr val="tx1"/>
                        </a:solidFill>
                        <a:effectLst/>
                        <a:latin typeface="+mn-ea"/>
                        <a:ea typeface="+mn-ea"/>
                        <a:cs typeface="Meiryo UI" panose="020B0604030504040204" pitchFamily="50" charset="-128"/>
                      </a:endParaRPr>
                    </a:p>
                  </a:txBody>
                  <a:tcPr marL="90000" marR="90000" marT="46800" marB="46800">
                    <a:solidFill>
                      <a:schemeClr val="bg1">
                        <a:lumMod val="75000"/>
                      </a:schemeClr>
                    </a:solidFill>
                  </a:tcPr>
                </a:tc>
                <a:tc>
                  <a:txBody>
                    <a:bodyPr/>
                    <a:lstStyle/>
                    <a:p>
                      <a:pPr algn="just"/>
                      <a:r>
                        <a:rPr lang="ja-JP" altLang="en-US" sz="1050" b="0" kern="100">
                          <a:solidFill>
                            <a:schemeClr val="tx1"/>
                          </a:solidFill>
                          <a:effectLst/>
                          <a:latin typeface="+mn-ea"/>
                          <a:ea typeface="+mn-ea"/>
                          <a:cs typeface="Meiryo UI" panose="020B0604030504040204" pitchFamily="50" charset="-128"/>
                        </a:rPr>
                        <a:t>概要</a:t>
                      </a:r>
                      <a:endParaRPr lang="ja-JP" sz="1050" b="0" kern="100">
                        <a:solidFill>
                          <a:schemeClr val="tx1"/>
                        </a:solidFill>
                        <a:effectLst/>
                        <a:latin typeface="+mn-ea"/>
                        <a:ea typeface="+mn-ea"/>
                        <a:cs typeface="Meiryo UI" panose="020B0604030504040204" pitchFamily="50" charset="-128"/>
                      </a:endParaRPr>
                    </a:p>
                  </a:txBody>
                  <a:tcPr marL="90000" marR="90000" marT="46800" marB="46800">
                    <a:solidFill>
                      <a:schemeClr val="bg1">
                        <a:lumMod val="75000"/>
                      </a:schemeClr>
                    </a:solidFill>
                  </a:tcPr>
                </a:tc>
                <a:extLst>
                  <a:ext uri="{0D108BD9-81ED-4DB2-BD59-A6C34878D82A}">
                    <a16:rowId xmlns:a16="http://schemas.microsoft.com/office/drawing/2014/main" val="1526276123"/>
                  </a:ext>
                </a:extLst>
              </a:tr>
              <a:tr h="445920">
                <a:tc>
                  <a:txBody>
                    <a:bodyPr/>
                    <a:lstStyle/>
                    <a:p>
                      <a:r>
                        <a:rPr kumimoji="1" lang="ja-JP" altLang="en-US" sz="1050">
                          <a:solidFill>
                            <a:srgbClr val="0070C0"/>
                          </a:solidFill>
                        </a:rPr>
                        <a:t>宿泊施設の予約サイトと</a:t>
                      </a:r>
                      <a:r>
                        <a:rPr kumimoji="1" lang="en-US" altLang="ja-JP" sz="1050" err="1">
                          <a:solidFill>
                            <a:srgbClr val="0070C0"/>
                          </a:solidFill>
                        </a:rPr>
                        <a:t>MaaS</a:t>
                      </a:r>
                      <a:r>
                        <a:rPr kumimoji="1" lang="ja-JP" altLang="en-US" sz="1050">
                          <a:solidFill>
                            <a:srgbClr val="0070C0"/>
                          </a:solidFill>
                        </a:rPr>
                        <a:t>アプリの</a:t>
                      </a:r>
                      <a:r>
                        <a:rPr kumimoji="1" lang="en-US" altLang="ja-JP" sz="1050">
                          <a:solidFill>
                            <a:srgbClr val="0070C0"/>
                          </a:solidFill>
                        </a:rPr>
                        <a:t>API</a:t>
                      </a:r>
                      <a:r>
                        <a:rPr kumimoji="1" lang="ja-JP" altLang="en-US" sz="1050">
                          <a:solidFill>
                            <a:srgbClr val="0070C0"/>
                          </a:solidFill>
                        </a:rPr>
                        <a:t>連携</a:t>
                      </a:r>
                    </a:p>
                  </a:txBody>
                  <a:tcPr marL="90000" marR="90000" marT="46800" marB="46800" anchor="ctr"/>
                </a:tc>
                <a:tc>
                  <a:txBody>
                    <a:bodyPr/>
                    <a:lstStyle/>
                    <a:p>
                      <a:r>
                        <a:rPr kumimoji="1" lang="ja-JP" altLang="en-US" sz="1050">
                          <a:solidFill>
                            <a:srgbClr val="0070C0"/>
                          </a:solidFill>
                        </a:rPr>
                        <a:t>宿泊施設の予約サイト上で、目的地に応じたデジタルチケットの表示及び販売を行う。</a:t>
                      </a:r>
                      <a:endParaRPr kumimoji="1" lang="en-US" altLang="ja-JP" sz="1050">
                        <a:solidFill>
                          <a:srgbClr val="0070C0"/>
                        </a:solidFill>
                      </a:endParaRPr>
                    </a:p>
                  </a:txBody>
                  <a:tcPr marL="90000" marR="90000" marT="46800" marB="46800" anchor="ctr"/>
                </a:tc>
                <a:extLst>
                  <a:ext uri="{0D108BD9-81ED-4DB2-BD59-A6C34878D82A}">
                    <a16:rowId xmlns:a16="http://schemas.microsoft.com/office/drawing/2014/main" val="1596975374"/>
                  </a:ext>
                </a:extLst>
              </a:tr>
              <a:tr h="526146">
                <a:tc>
                  <a:txBody>
                    <a:bodyPr/>
                    <a:lstStyle/>
                    <a:p>
                      <a:r>
                        <a:rPr kumimoji="1" lang="ja-JP" altLang="en-US" sz="1050">
                          <a:solidFill>
                            <a:srgbClr val="0070C0"/>
                          </a:solidFill>
                        </a:rPr>
                        <a:t>企画乗車券の購入機能</a:t>
                      </a:r>
                    </a:p>
                  </a:txBody>
                  <a:tcPr marL="90000" marR="90000" marT="46800" marB="46800" anchor="ctr"/>
                </a:tc>
                <a:tc>
                  <a:txBody>
                    <a:bodyPr/>
                    <a:lstStyle/>
                    <a:p>
                      <a:r>
                        <a:rPr kumimoji="1" lang="ja-JP" altLang="en-US" sz="1050">
                          <a:solidFill>
                            <a:srgbClr val="0070C0"/>
                          </a:solidFill>
                        </a:rPr>
                        <a:t>地域内で提供する企画乗車券を購入する機能。経路検索機能と連携し、経路検索結果から該当する企画乗車券の購入ページへ遷移できる。</a:t>
                      </a:r>
                    </a:p>
                  </a:txBody>
                  <a:tcPr marL="90000" marR="90000" marT="46800" marB="46800" anchor="ctr"/>
                </a:tc>
                <a:extLst>
                  <a:ext uri="{0D108BD9-81ED-4DB2-BD59-A6C34878D82A}">
                    <a16:rowId xmlns:a16="http://schemas.microsoft.com/office/drawing/2014/main" val="3479908594"/>
                  </a:ext>
                </a:extLst>
              </a:tr>
              <a:tr h="601038">
                <a:tc>
                  <a:txBody>
                    <a:bodyPr/>
                    <a:lstStyle/>
                    <a:p>
                      <a:r>
                        <a:rPr kumimoji="1" lang="ja-JP" altLang="en-US" sz="1050">
                          <a:solidFill>
                            <a:srgbClr val="0070C0"/>
                          </a:solidFill>
                        </a:rPr>
                        <a:t>決済機能（既存）</a:t>
                      </a:r>
                    </a:p>
                  </a:txBody>
                  <a:tcPr marL="90000" marR="90000" marT="46800" marB="46800" anchor="ctr"/>
                </a:tc>
                <a:tc>
                  <a:txBody>
                    <a:bodyPr/>
                    <a:lstStyle/>
                    <a:p>
                      <a:r>
                        <a:rPr kumimoji="1" lang="ja-JP" altLang="en-US" sz="1050">
                          <a:solidFill>
                            <a:srgbClr val="0070C0"/>
                          </a:solidFill>
                        </a:rPr>
                        <a:t>企画乗車券を購入した際に、クレジットカードによる決済ができる機能。ユーザー登録及びクレジットカード登録は</a:t>
                      </a:r>
                      <a:r>
                        <a:rPr kumimoji="1" lang="en-US" altLang="ja-JP" sz="1050">
                          <a:solidFill>
                            <a:srgbClr val="0070C0"/>
                          </a:solidFill>
                        </a:rPr>
                        <a:t>SaaS</a:t>
                      </a:r>
                      <a:r>
                        <a:rPr kumimoji="1" lang="ja-JP" altLang="en-US" sz="1050">
                          <a:solidFill>
                            <a:srgbClr val="0070C0"/>
                          </a:solidFill>
                        </a:rPr>
                        <a:t>（</a:t>
                      </a:r>
                      <a:r>
                        <a:rPr kumimoji="1" lang="en-US" altLang="ja-JP" sz="1050">
                          <a:solidFill>
                            <a:srgbClr val="0070C0"/>
                          </a:solidFill>
                        </a:rPr>
                        <a:t>GMO</a:t>
                      </a:r>
                      <a:r>
                        <a:rPr kumimoji="1" lang="ja-JP" altLang="en-US" sz="1050">
                          <a:solidFill>
                            <a:srgbClr val="0070C0"/>
                          </a:solidFill>
                        </a:rPr>
                        <a:t>）を利用する。</a:t>
                      </a:r>
                    </a:p>
                  </a:txBody>
                  <a:tcPr marL="90000" marR="90000" marT="46800" marB="46800" anchor="ctr"/>
                </a:tc>
                <a:extLst>
                  <a:ext uri="{0D108BD9-81ED-4DB2-BD59-A6C34878D82A}">
                    <a16:rowId xmlns:a16="http://schemas.microsoft.com/office/drawing/2014/main" val="213378181"/>
                  </a:ext>
                </a:extLst>
              </a:tr>
              <a:tr h="845525">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チケッティング機能（</a:t>
                      </a:r>
                      <a:r>
                        <a:rPr kumimoji="1" lang="en-US" altLang="ja-JP" sz="1050">
                          <a:solidFill>
                            <a:srgbClr val="0070C0"/>
                          </a:solidFill>
                        </a:rPr>
                        <a:t>QR</a:t>
                      </a:r>
                      <a:r>
                        <a:rPr kumimoji="1" lang="ja-JP" altLang="en-US" sz="1050">
                          <a:solidFill>
                            <a:srgbClr val="0070C0"/>
                          </a:solidFill>
                        </a:rPr>
                        <a:t>）</a:t>
                      </a:r>
                    </a:p>
                  </a:txBody>
                  <a:tcPr marL="90000" marR="90000" marT="46800" marB="46800" anchor="ctr"/>
                </a:tc>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購入した企画乗車券の提示、認証、消込を行う機能。認証は</a:t>
                      </a:r>
                      <a:r>
                        <a:rPr kumimoji="1" lang="en-US" altLang="ja-JP" sz="1050">
                          <a:solidFill>
                            <a:srgbClr val="0070C0"/>
                          </a:solidFill>
                        </a:rPr>
                        <a:t>QR</a:t>
                      </a:r>
                      <a:r>
                        <a:rPr kumimoji="1" lang="ja-JP" altLang="en-US" sz="1050">
                          <a:solidFill>
                            <a:srgbClr val="0070C0"/>
                          </a:solidFill>
                        </a:rPr>
                        <a:t>認証システムで行い、消込はシステム上自動で処理される。</a:t>
                      </a:r>
                    </a:p>
                  </a:txBody>
                  <a:tcPr marL="90000" marR="90000" marT="46800" marB="46800" anchor="ctr"/>
                </a:tc>
                <a:extLst>
                  <a:ext uri="{0D108BD9-81ED-4DB2-BD59-A6C34878D82A}">
                    <a16:rowId xmlns:a16="http://schemas.microsoft.com/office/drawing/2014/main" val="3204529771"/>
                  </a:ext>
                </a:extLst>
              </a:tr>
              <a:tr h="526146">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050">
                        <a:solidFill>
                          <a:srgbClr val="0070C0"/>
                        </a:solidFill>
                      </a:endParaRPr>
                    </a:p>
                  </a:txBody>
                  <a:tcPr marL="90000" marR="90000" marT="46800" marB="46800" anchor="ctr"/>
                </a:tc>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050">
                        <a:solidFill>
                          <a:srgbClr val="0070C0"/>
                        </a:solidFill>
                      </a:endParaRPr>
                    </a:p>
                  </a:txBody>
                  <a:tcPr marL="90000" marR="90000" marT="46800" marB="46800" anchor="ctr"/>
                </a:tc>
                <a:extLst>
                  <a:ext uri="{0D108BD9-81ED-4DB2-BD59-A6C34878D82A}">
                    <a16:rowId xmlns:a16="http://schemas.microsoft.com/office/drawing/2014/main" val="3146275505"/>
                  </a:ext>
                </a:extLst>
              </a:tr>
              <a:tr h="526146">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050">
                        <a:solidFill>
                          <a:srgbClr val="0070C0"/>
                        </a:solidFill>
                      </a:endParaRPr>
                    </a:p>
                  </a:txBody>
                  <a:tcPr marL="90000" marR="90000" marT="46800" marB="46800" anchor="ctr"/>
                </a:tc>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050">
                        <a:solidFill>
                          <a:srgbClr val="0070C0"/>
                        </a:solidFill>
                      </a:endParaRPr>
                    </a:p>
                  </a:txBody>
                  <a:tcPr marL="90000" marR="90000" marT="46800" marB="46800" anchor="ctr"/>
                </a:tc>
                <a:extLst>
                  <a:ext uri="{0D108BD9-81ED-4DB2-BD59-A6C34878D82A}">
                    <a16:rowId xmlns:a16="http://schemas.microsoft.com/office/drawing/2014/main" val="3569301698"/>
                  </a:ext>
                </a:extLst>
              </a:tr>
              <a:tr h="526146">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050">
                        <a:solidFill>
                          <a:srgbClr val="0070C0"/>
                        </a:solidFill>
                      </a:endParaRPr>
                    </a:p>
                  </a:txBody>
                  <a:tcPr marL="90000" marR="90000" marT="46800" marB="46800" anchor="ctr"/>
                </a:tc>
                <a:tc>
                  <a:txBody>
                    <a:bodyPr/>
                    <a:lstStyle/>
                    <a:p>
                      <a:pPr marL="0" lvl="0" indent="0" algn="just">
                        <a:buFont typeface="Arial" panose="020B0604020202020204" pitchFamily="34" charset="0"/>
                        <a:buNone/>
                      </a:pPr>
                      <a:endParaRPr lang="ja-JP" sz="1050" b="0" kern="100">
                        <a:solidFill>
                          <a:srgbClr val="0070C0"/>
                        </a:solidFill>
                        <a:effectLst/>
                        <a:latin typeface="+mn-ea"/>
                        <a:ea typeface="+mn-ea"/>
                        <a:cs typeface="Meiryo UI" panose="020B0604030504040204" pitchFamily="50" charset="-128"/>
                      </a:endParaRPr>
                    </a:p>
                  </a:txBody>
                  <a:tcPr marL="90000" marR="90000" marT="46800" marB="46800" anchor="ctr"/>
                </a:tc>
                <a:extLst>
                  <a:ext uri="{0D108BD9-81ED-4DB2-BD59-A6C34878D82A}">
                    <a16:rowId xmlns:a16="http://schemas.microsoft.com/office/drawing/2014/main" val="4113606418"/>
                  </a:ext>
                </a:extLst>
              </a:tr>
            </a:tbl>
          </a:graphicData>
        </a:graphic>
      </p:graphicFrame>
    </p:spTree>
    <p:extLst>
      <p:ext uri="{BB962C8B-B14F-4D97-AF65-F5344CB8AC3E}">
        <p14:creationId xmlns:p14="http://schemas.microsoft.com/office/powerpoint/2010/main" val="169889471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A45FDDD5-9A42-423D-9ED3-F19DD3567786}"/>
              </a:ext>
            </a:extLst>
          </p:cNvPr>
          <p:cNvSpPr>
            <a:spLocks noGrp="1"/>
          </p:cNvSpPr>
          <p:nvPr>
            <p:ph type="body" sz="quarter" idx="36"/>
          </p:nvPr>
        </p:nvSpPr>
        <p:spPr/>
        <p:txBody>
          <a:bodyPr/>
          <a:lstStyle/>
          <a:p>
            <a:r>
              <a:rPr lang="en-US" altLang="ja-JP"/>
              <a:t>Ⅳ.</a:t>
            </a:r>
            <a:r>
              <a:rPr lang="ja-JP" altLang="en-US"/>
              <a:t>エンドコンテンツとの連携</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４</a:t>
            </a:r>
            <a:r>
              <a:rPr lang="en-US" altLang="ja-JP"/>
              <a:t>.</a:t>
            </a:r>
            <a:r>
              <a:rPr lang="ja-JP" altLang="en-US"/>
              <a:t>プロジェクト実施エリア</a:t>
            </a:r>
          </a:p>
        </p:txBody>
      </p:sp>
      <p:pic>
        <p:nvPicPr>
          <p:cNvPr id="4" name="図 3" descr="グラフ&#10;&#10;自動的に生成された説明">
            <a:extLst>
              <a:ext uri="{FF2B5EF4-FFF2-40B4-BE49-F238E27FC236}">
                <a16:creationId xmlns:a16="http://schemas.microsoft.com/office/drawing/2014/main" id="{45F9E099-4110-7BC2-05FA-9F23A7A3343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62159" y="1505154"/>
            <a:ext cx="7505723" cy="4946065"/>
          </a:xfrm>
          <a:prstGeom prst="rect">
            <a:avLst/>
          </a:prstGeom>
        </p:spPr>
      </p:pic>
      <p:sp>
        <p:nvSpPr>
          <p:cNvPr id="7" name="テキスト ボックス 6">
            <a:extLst>
              <a:ext uri="{FF2B5EF4-FFF2-40B4-BE49-F238E27FC236}">
                <a16:creationId xmlns:a16="http://schemas.microsoft.com/office/drawing/2014/main" id="{4CC34C06-2770-D52E-887C-60A7718811AC}"/>
              </a:ext>
            </a:extLst>
          </p:cNvPr>
          <p:cNvSpPr txBox="1"/>
          <p:nvPr/>
        </p:nvSpPr>
        <p:spPr>
          <a:xfrm>
            <a:off x="4530056" y="3978186"/>
            <a:ext cx="2216924" cy="261610"/>
          </a:xfrm>
          <a:prstGeom prst="rect">
            <a:avLst/>
          </a:prstGeom>
          <a:solidFill>
            <a:srgbClr val="FFC000">
              <a:alpha val="80000"/>
            </a:srgbClr>
          </a:solidFill>
        </p:spPr>
        <p:txBody>
          <a:bodyPr wrap="square">
            <a:spAutoFit/>
          </a:bodyPr>
          <a:lstStyle/>
          <a:p>
            <a:r>
              <a:rPr lang="ja-JP" altLang="en-US" sz="1050">
                <a:solidFill>
                  <a:schemeClr val="bg1"/>
                </a:solidFill>
              </a:rPr>
              <a:t>●●市営デマンドバス</a:t>
            </a:r>
          </a:p>
        </p:txBody>
      </p:sp>
      <p:sp>
        <p:nvSpPr>
          <p:cNvPr id="8" name="正方形/長方形 7">
            <a:extLst>
              <a:ext uri="{FF2B5EF4-FFF2-40B4-BE49-F238E27FC236}">
                <a16:creationId xmlns:a16="http://schemas.microsoft.com/office/drawing/2014/main" id="{1E2378D2-462D-DC21-377B-1F2BE4C99A33}"/>
              </a:ext>
            </a:extLst>
          </p:cNvPr>
          <p:cNvSpPr/>
          <p:nvPr/>
        </p:nvSpPr>
        <p:spPr>
          <a:xfrm rot="18900000">
            <a:off x="6479127" y="2938561"/>
            <a:ext cx="3778202" cy="2190750"/>
          </a:xfrm>
          <a:prstGeom prst="rect">
            <a:avLst/>
          </a:prstGeom>
          <a:solidFill>
            <a:srgbClr val="0070C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テキスト ボックス 10">
            <a:extLst>
              <a:ext uri="{FF2B5EF4-FFF2-40B4-BE49-F238E27FC236}">
                <a16:creationId xmlns:a16="http://schemas.microsoft.com/office/drawing/2014/main" id="{D9546854-B4CE-1F65-2F6D-8A404DD40BB1}"/>
              </a:ext>
            </a:extLst>
          </p:cNvPr>
          <p:cNvSpPr txBox="1"/>
          <p:nvPr/>
        </p:nvSpPr>
        <p:spPr>
          <a:xfrm>
            <a:off x="9767929" y="2296865"/>
            <a:ext cx="2216924" cy="261610"/>
          </a:xfrm>
          <a:prstGeom prst="rect">
            <a:avLst/>
          </a:prstGeom>
          <a:solidFill>
            <a:srgbClr val="0070C0">
              <a:alpha val="80000"/>
            </a:srgbClr>
          </a:solidFill>
        </p:spPr>
        <p:txBody>
          <a:bodyPr wrap="square">
            <a:spAutoFit/>
          </a:bodyPr>
          <a:lstStyle/>
          <a:p>
            <a:r>
              <a:rPr lang="ja-JP" altLang="en-US" sz="1050">
                <a:solidFill>
                  <a:schemeClr val="bg1"/>
                </a:solidFill>
              </a:rPr>
              <a:t>●●交通（タクシー）運行区域</a:t>
            </a:r>
          </a:p>
        </p:txBody>
      </p:sp>
      <p:cxnSp>
        <p:nvCxnSpPr>
          <p:cNvPr id="12" name="直線コネクタ 11">
            <a:extLst>
              <a:ext uri="{FF2B5EF4-FFF2-40B4-BE49-F238E27FC236}">
                <a16:creationId xmlns:a16="http://schemas.microsoft.com/office/drawing/2014/main" id="{36894EAB-405F-0998-1890-37C962DD7CF6}"/>
              </a:ext>
            </a:extLst>
          </p:cNvPr>
          <p:cNvCxnSpPr>
            <a:cxnSpLocks/>
            <a:endCxn id="11" idx="1"/>
          </p:cNvCxnSpPr>
          <p:nvPr/>
        </p:nvCxnSpPr>
        <p:spPr>
          <a:xfrm flipV="1">
            <a:off x="9523132" y="2427670"/>
            <a:ext cx="244797" cy="130805"/>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
        <p:nvSpPr>
          <p:cNvPr id="13" name="フリーフォーム: 図形 12">
            <a:extLst>
              <a:ext uri="{FF2B5EF4-FFF2-40B4-BE49-F238E27FC236}">
                <a16:creationId xmlns:a16="http://schemas.microsoft.com/office/drawing/2014/main" id="{B43B6931-1CB3-5574-1F6D-B4058353AD33}"/>
              </a:ext>
            </a:extLst>
          </p:cNvPr>
          <p:cNvSpPr/>
          <p:nvPr/>
        </p:nvSpPr>
        <p:spPr>
          <a:xfrm>
            <a:off x="6892160" y="3788647"/>
            <a:ext cx="943276" cy="1039529"/>
          </a:xfrm>
          <a:custGeom>
            <a:avLst/>
            <a:gdLst>
              <a:gd name="connsiteX0" fmla="*/ 394636 w 943276"/>
              <a:gd name="connsiteY0" fmla="*/ 0 h 1039529"/>
              <a:gd name="connsiteX1" fmla="*/ 28876 w 943276"/>
              <a:gd name="connsiteY1" fmla="*/ 279133 h 1039529"/>
              <a:gd name="connsiteX2" fmla="*/ 28876 w 943276"/>
              <a:gd name="connsiteY2" fmla="*/ 404261 h 1039529"/>
              <a:gd name="connsiteX3" fmla="*/ 0 w 943276"/>
              <a:gd name="connsiteY3" fmla="*/ 635268 h 1039529"/>
              <a:gd name="connsiteX4" fmla="*/ 356135 w 943276"/>
              <a:gd name="connsiteY4" fmla="*/ 991402 h 1039529"/>
              <a:gd name="connsiteX5" fmla="*/ 567890 w 943276"/>
              <a:gd name="connsiteY5" fmla="*/ 1001028 h 1039529"/>
              <a:gd name="connsiteX6" fmla="*/ 731520 w 943276"/>
              <a:gd name="connsiteY6" fmla="*/ 1039529 h 1039529"/>
              <a:gd name="connsiteX7" fmla="*/ 904775 w 943276"/>
              <a:gd name="connsiteY7" fmla="*/ 827773 h 1039529"/>
              <a:gd name="connsiteX8" fmla="*/ 943276 w 943276"/>
              <a:gd name="connsiteY8" fmla="*/ 298384 h 1039529"/>
              <a:gd name="connsiteX9" fmla="*/ 837398 w 943276"/>
              <a:gd name="connsiteY9" fmla="*/ 144379 h 1039529"/>
              <a:gd name="connsiteX10" fmla="*/ 394636 w 943276"/>
              <a:gd name="connsiteY10" fmla="*/ 0 h 10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3276" h="1039529">
                <a:moveTo>
                  <a:pt x="394636" y="0"/>
                </a:moveTo>
                <a:lnTo>
                  <a:pt x="28876" y="279133"/>
                </a:lnTo>
                <a:lnTo>
                  <a:pt x="28876" y="404261"/>
                </a:lnTo>
                <a:lnTo>
                  <a:pt x="0" y="635268"/>
                </a:lnTo>
                <a:lnTo>
                  <a:pt x="356135" y="991402"/>
                </a:lnTo>
                <a:cubicBezTo>
                  <a:pt x="503611" y="1003693"/>
                  <a:pt x="433004" y="1001028"/>
                  <a:pt x="567890" y="1001028"/>
                </a:cubicBezTo>
                <a:lnTo>
                  <a:pt x="731520" y="1039529"/>
                </a:lnTo>
                <a:cubicBezTo>
                  <a:pt x="909712" y="970993"/>
                  <a:pt x="844038" y="1034274"/>
                  <a:pt x="904775" y="827773"/>
                </a:cubicBezTo>
                <a:lnTo>
                  <a:pt x="943276" y="298384"/>
                </a:lnTo>
                <a:cubicBezTo>
                  <a:pt x="842853" y="157792"/>
                  <a:pt x="871708" y="213003"/>
                  <a:pt x="837398" y="144379"/>
                </a:cubicBezTo>
                <a:lnTo>
                  <a:pt x="394636" y="0"/>
                </a:lnTo>
                <a:close/>
              </a:path>
            </a:pathLst>
          </a:custGeom>
          <a:solidFill>
            <a:srgbClr val="FFC000">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a:extLst>
              <a:ext uri="{FF2B5EF4-FFF2-40B4-BE49-F238E27FC236}">
                <a16:creationId xmlns:a16="http://schemas.microsoft.com/office/drawing/2014/main" id="{3AA73118-94F8-70C1-35F7-26CD5AF7F242}"/>
              </a:ext>
            </a:extLst>
          </p:cNvPr>
          <p:cNvCxnSpPr>
            <a:cxnSpLocks/>
            <a:endCxn id="13" idx="2"/>
          </p:cNvCxnSpPr>
          <p:nvPr/>
        </p:nvCxnSpPr>
        <p:spPr>
          <a:xfrm>
            <a:off x="6746980" y="4108991"/>
            <a:ext cx="174056" cy="83917"/>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graphicFrame>
        <p:nvGraphicFramePr>
          <p:cNvPr id="15" name="表 14">
            <a:extLst>
              <a:ext uri="{FF2B5EF4-FFF2-40B4-BE49-F238E27FC236}">
                <a16:creationId xmlns:a16="http://schemas.microsoft.com/office/drawing/2014/main" id="{6BA7322B-8E83-4959-AED5-CDCB2DC09E66}"/>
              </a:ext>
            </a:extLst>
          </p:cNvPr>
          <p:cNvGraphicFramePr>
            <a:graphicFrameLocks noGrp="1"/>
          </p:cNvGraphicFramePr>
          <p:nvPr>
            <p:extLst>
              <p:ext uri="{D42A27DB-BD31-4B8C-83A1-F6EECF244321}">
                <p14:modId xmlns:p14="http://schemas.microsoft.com/office/powerpoint/2010/main" val="447372308"/>
              </p:ext>
            </p:extLst>
          </p:nvPr>
        </p:nvGraphicFramePr>
        <p:xfrm>
          <a:off x="300779" y="1755865"/>
          <a:ext cx="3763597" cy="3632982"/>
        </p:xfrm>
        <a:graphic>
          <a:graphicData uri="http://schemas.openxmlformats.org/drawingml/2006/table">
            <a:tbl>
              <a:tblPr firstRow="1" bandRow="1">
                <a:tableStyleId>{5940675A-B579-460E-94D1-54222C63F5DA}</a:tableStyleId>
              </a:tblPr>
              <a:tblGrid>
                <a:gridCol w="3763597">
                  <a:extLst>
                    <a:ext uri="{9D8B030D-6E8A-4147-A177-3AD203B41FA5}">
                      <a16:colId xmlns:a16="http://schemas.microsoft.com/office/drawing/2014/main" val="518456691"/>
                    </a:ext>
                  </a:extLst>
                </a:gridCol>
              </a:tblGrid>
              <a:tr h="1061101">
                <a:tc>
                  <a:txBody>
                    <a:bodyPr/>
                    <a:lstStyle/>
                    <a:p>
                      <a:r>
                        <a:rPr kumimoji="1" lang="ja-JP" altLang="en-US" sz="1050">
                          <a:solidFill>
                            <a:srgbClr val="0070C0"/>
                          </a:solidFill>
                          <a:latin typeface="+mj-ea"/>
                          <a:ea typeface="+mj-ea"/>
                        </a:rPr>
                        <a:t>富山県富山市　富山駅周辺～市内主要エリア</a:t>
                      </a:r>
                      <a:endParaRPr kumimoji="1" lang="en-US" altLang="ja-JP" sz="1050">
                        <a:solidFill>
                          <a:srgbClr val="0070C0"/>
                        </a:solidFill>
                        <a:latin typeface="+mj-ea"/>
                        <a:ea typeface="+mj-ea"/>
                      </a:endParaRPr>
                    </a:p>
                    <a:p>
                      <a:r>
                        <a:rPr kumimoji="1" lang="ja-JP" altLang="en-US" sz="1050" u="sng">
                          <a:solidFill>
                            <a:srgbClr val="0070C0"/>
                          </a:solidFill>
                          <a:latin typeface="+mj-ea"/>
                          <a:ea typeface="+mj-ea"/>
                        </a:rPr>
                        <a:t>①交通モード</a:t>
                      </a:r>
                      <a:endParaRPr kumimoji="1" lang="en-US" altLang="ja-JP" sz="1050" u="sng">
                        <a:solidFill>
                          <a:srgbClr val="0070C0"/>
                        </a:solidFill>
                        <a:latin typeface="+mj-ea"/>
                        <a:ea typeface="+mj-ea"/>
                      </a:endParaRPr>
                    </a:p>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50" kern="1200">
                          <a:solidFill>
                            <a:schemeClr val="tx1"/>
                          </a:solidFill>
                          <a:latin typeface="+mj-ea"/>
                          <a:ea typeface="+mn-ea"/>
                          <a:cs typeface="+mn-cs"/>
                        </a:rPr>
                        <a:t>［鉄道］</a:t>
                      </a:r>
                      <a:endParaRPr kumimoji="1" lang="en-US" altLang="ja-JP" sz="1050" kern="1200">
                        <a:solidFill>
                          <a:schemeClr val="tx1"/>
                        </a:solidFill>
                        <a:latin typeface="+mj-ea"/>
                        <a:ea typeface="+mn-ea"/>
                        <a:cs typeface="+mn-cs"/>
                      </a:endParaRPr>
                    </a:p>
                    <a:p>
                      <a:pPr marL="171450" indent="-171450">
                        <a:buFont typeface="Wingdings" panose="05000000000000000000" pitchFamily="2" charset="2"/>
                        <a:buChar char="l"/>
                      </a:pPr>
                      <a:r>
                        <a:rPr kumimoji="1" lang="ja-JP" altLang="en-US" sz="1050" kern="1200">
                          <a:solidFill>
                            <a:srgbClr val="0070C0"/>
                          </a:solidFill>
                          <a:latin typeface="+mj-ea"/>
                          <a:ea typeface="+mn-ea"/>
                          <a:cs typeface="+mn-cs"/>
                        </a:rPr>
                        <a:t>富山軌道線（富山地鉄）</a:t>
                      </a:r>
                      <a:endParaRPr kumimoji="1" lang="en-US" altLang="ja-JP" sz="1050" kern="1200">
                        <a:solidFill>
                          <a:srgbClr val="0070C0"/>
                        </a:solidFill>
                        <a:latin typeface="+mj-ea"/>
                        <a:ea typeface="+mn-ea"/>
                        <a:cs typeface="+mn-cs"/>
                      </a:endParaRPr>
                    </a:p>
                    <a:p>
                      <a:pPr marL="171450" indent="-171450">
                        <a:buFont typeface="Wingdings" panose="05000000000000000000" pitchFamily="2" charset="2"/>
                        <a:buChar char="l"/>
                      </a:pPr>
                      <a:r>
                        <a:rPr kumimoji="1" lang="ja-JP" altLang="en-US" sz="1050" kern="1200">
                          <a:solidFill>
                            <a:srgbClr val="0070C0"/>
                          </a:solidFill>
                          <a:latin typeface="+mj-ea"/>
                          <a:ea typeface="+mn-ea"/>
                          <a:cs typeface="+mn-cs"/>
                        </a:rPr>
                        <a:t>あいの風とやま鉄道（富山駅～東富山駅区間）</a:t>
                      </a:r>
                      <a:endParaRPr kumimoji="1" lang="en-US" altLang="ja-JP" sz="1050" kern="1200">
                        <a:solidFill>
                          <a:srgbClr val="0070C0"/>
                        </a:solidFill>
                        <a:latin typeface="+mj-ea"/>
                        <a:ea typeface="+mn-ea"/>
                        <a:cs typeface="+mn-cs"/>
                      </a:endParaRPr>
                    </a:p>
                    <a:p>
                      <a:pPr marL="171450" indent="-171450">
                        <a:buFont typeface="Wingdings" panose="05000000000000000000" pitchFamily="2" charset="2"/>
                        <a:buChar char="l"/>
                      </a:pPr>
                      <a:r>
                        <a:rPr kumimoji="1" lang="en-US" altLang="ja-JP" sz="1050" kern="1200">
                          <a:solidFill>
                            <a:srgbClr val="0070C0"/>
                          </a:solidFill>
                          <a:latin typeface="+mj-ea"/>
                          <a:ea typeface="+mn-ea"/>
                          <a:cs typeface="+mn-cs"/>
                        </a:rPr>
                        <a:t>JR</a:t>
                      </a:r>
                      <a:r>
                        <a:rPr kumimoji="1" lang="ja-JP" altLang="en-US" sz="1050" kern="1200">
                          <a:solidFill>
                            <a:srgbClr val="0070C0"/>
                          </a:solidFill>
                          <a:latin typeface="+mj-ea"/>
                          <a:ea typeface="+mn-ea"/>
                          <a:cs typeface="+mn-cs"/>
                        </a:rPr>
                        <a:t>東日本高山本線</a:t>
                      </a:r>
                      <a:endParaRPr kumimoji="1" lang="en-US" altLang="ja-JP" sz="1050" kern="1200">
                        <a:solidFill>
                          <a:srgbClr val="0070C0"/>
                        </a:solidFill>
                        <a:latin typeface="+mj-ea"/>
                        <a:ea typeface="+mn-ea"/>
                        <a:cs typeface="+mn-cs"/>
                      </a:endParaRPr>
                    </a:p>
                    <a:p>
                      <a:pPr marL="0" indent="0">
                        <a:buFont typeface="Wingdings" panose="05000000000000000000" pitchFamily="2" charset="2"/>
                        <a:buNone/>
                      </a:pPr>
                      <a:r>
                        <a:rPr kumimoji="1" lang="ja-JP" altLang="en-US" sz="1050" kern="1200">
                          <a:solidFill>
                            <a:schemeClr val="tx1"/>
                          </a:solidFill>
                          <a:latin typeface="+mj-ea"/>
                          <a:ea typeface="+mn-ea"/>
                          <a:cs typeface="+mn-cs"/>
                        </a:rPr>
                        <a:t>［</a:t>
                      </a:r>
                      <a:r>
                        <a:rPr kumimoji="1" lang="ja-JP" altLang="en-US" sz="1050">
                          <a:solidFill>
                            <a:schemeClr val="tx1"/>
                          </a:solidFill>
                          <a:latin typeface="+mj-ea"/>
                          <a:ea typeface="+mj-ea"/>
                        </a:rPr>
                        <a:t>バス］</a:t>
                      </a:r>
                      <a:endParaRPr kumimoji="1" lang="en-US" altLang="ja-JP" sz="1050">
                        <a:solidFill>
                          <a:schemeClr val="tx1"/>
                        </a:solidFill>
                        <a:latin typeface="+mj-ea"/>
                        <a:ea typeface="+mj-ea"/>
                      </a:endParaRPr>
                    </a:p>
                    <a:p>
                      <a:pPr marL="171450" indent="-171450">
                        <a:buFont typeface="Wingdings" panose="05000000000000000000" pitchFamily="2" charset="2"/>
                        <a:buChar char="l"/>
                      </a:pPr>
                      <a:r>
                        <a:rPr kumimoji="1" lang="ja-JP" altLang="en-US" sz="1050">
                          <a:solidFill>
                            <a:srgbClr val="0070C0"/>
                          </a:solidFill>
                          <a:latin typeface="+mj-ea"/>
                          <a:ea typeface="+mj-ea"/>
                        </a:rPr>
                        <a:t>富山地鉄バス（市内全路線）</a:t>
                      </a:r>
                      <a:endParaRPr kumimoji="1" lang="en-US" altLang="ja-JP" sz="1050">
                        <a:solidFill>
                          <a:srgbClr val="0070C0"/>
                        </a:solidFill>
                        <a:latin typeface="+mj-ea"/>
                        <a:ea typeface="+mj-ea"/>
                      </a:endParaRPr>
                    </a:p>
                    <a:p>
                      <a:pPr marL="171450" indent="-171450">
                        <a:buFont typeface="Wingdings" panose="05000000000000000000" pitchFamily="2" charset="2"/>
                        <a:buChar char="l"/>
                      </a:pPr>
                      <a:r>
                        <a:rPr kumimoji="1" lang="ja-JP" altLang="en-US" sz="1050">
                          <a:solidFill>
                            <a:srgbClr val="0070C0"/>
                          </a:solidFill>
                          <a:latin typeface="+mj-ea"/>
                          <a:ea typeface="+mj-ea"/>
                        </a:rPr>
                        <a:t>市営コミュニティバス（大山地域、八尾地域、山田地域）</a:t>
                      </a:r>
                      <a:endParaRPr kumimoji="1" lang="en-US" altLang="ja-JP" sz="1050">
                        <a:solidFill>
                          <a:srgbClr val="0070C0"/>
                        </a:solidFill>
                        <a:latin typeface="+mj-ea"/>
                        <a:ea typeface="+mj-ea"/>
                      </a:endParaRPr>
                    </a:p>
                    <a:p>
                      <a:pPr marL="171450" indent="-171450">
                        <a:buFont typeface="Wingdings" panose="05000000000000000000" pitchFamily="2" charset="2"/>
                        <a:buChar char="l"/>
                      </a:pPr>
                      <a:r>
                        <a:rPr kumimoji="1" lang="ja-JP" altLang="en-US" sz="1050">
                          <a:solidFill>
                            <a:srgbClr val="0070C0"/>
                          </a:solidFill>
                          <a:latin typeface="+mj-ea"/>
                          <a:ea typeface="+mj-ea"/>
                        </a:rPr>
                        <a:t>まいどはやバス（地域自主運行バス）</a:t>
                      </a:r>
                      <a:endParaRPr kumimoji="1" lang="en-US" altLang="ja-JP" sz="1050">
                        <a:solidFill>
                          <a:srgbClr val="0070C0"/>
                        </a:solidFill>
                        <a:latin typeface="+mj-ea"/>
                        <a:ea typeface="+mj-ea"/>
                      </a:endParaRPr>
                    </a:p>
                    <a:p>
                      <a:pPr marL="0" indent="0">
                        <a:buFont typeface="Wingdings" panose="05000000000000000000" pitchFamily="2" charset="2"/>
                        <a:buNone/>
                      </a:pPr>
                      <a:r>
                        <a:rPr kumimoji="1" lang="ja-JP" altLang="en-US" sz="1050">
                          <a:solidFill>
                            <a:schemeClr val="tx1"/>
                          </a:solidFill>
                          <a:latin typeface="+mj-ea"/>
                          <a:ea typeface="+mj-ea"/>
                        </a:rPr>
                        <a:t>［デマンド交通］</a:t>
                      </a:r>
                      <a:endParaRPr kumimoji="1" lang="en-US" altLang="ja-JP" sz="1050">
                        <a:solidFill>
                          <a:schemeClr val="tx1"/>
                        </a:solidFill>
                        <a:latin typeface="+mj-ea"/>
                        <a:ea typeface="+mj-ea"/>
                      </a:endParaRPr>
                    </a:p>
                    <a:p>
                      <a:pPr marL="171450" indent="-171450">
                        <a:buFont typeface="Wingdings" panose="05000000000000000000" pitchFamily="2" charset="2"/>
                        <a:buChar char="l"/>
                      </a:pPr>
                      <a:r>
                        <a:rPr kumimoji="1" lang="ja-JP" altLang="en-US" sz="1050">
                          <a:solidFill>
                            <a:srgbClr val="0070C0"/>
                          </a:solidFill>
                          <a:latin typeface="+mj-ea"/>
                          <a:ea typeface="+mj-ea"/>
                        </a:rPr>
                        <a:t>あいのり大山（市営デマンドバス）</a:t>
                      </a:r>
                      <a:endParaRPr kumimoji="1" lang="en-US" altLang="ja-JP" sz="1050">
                        <a:solidFill>
                          <a:srgbClr val="0070C0"/>
                        </a:solidFill>
                        <a:latin typeface="+mj-ea"/>
                        <a:ea typeface="+mj-ea"/>
                      </a:endParaRPr>
                    </a:p>
                    <a:p>
                      <a:pPr marL="171450" indent="-171450">
                        <a:buFont typeface="Wingdings" panose="05000000000000000000" pitchFamily="2" charset="2"/>
                        <a:buChar char="l"/>
                      </a:pPr>
                      <a:r>
                        <a:rPr kumimoji="1" lang="ja-JP" altLang="en-US" sz="1050">
                          <a:solidFill>
                            <a:srgbClr val="0070C0"/>
                          </a:solidFill>
                          <a:latin typeface="+mj-ea"/>
                          <a:ea typeface="+mj-ea"/>
                        </a:rPr>
                        <a:t>富山交通（タクシー）</a:t>
                      </a:r>
                      <a:endParaRPr kumimoji="1" lang="en-US" altLang="ja-JP" sz="1050">
                        <a:solidFill>
                          <a:srgbClr val="0070C0"/>
                        </a:solidFill>
                        <a:latin typeface="+mj-ea"/>
                        <a:ea typeface="+mj-ea"/>
                      </a:endParaRPr>
                    </a:p>
                    <a:p>
                      <a:pPr marL="0" indent="0">
                        <a:buFont typeface="Wingdings" panose="05000000000000000000" pitchFamily="2" charset="2"/>
                        <a:buNone/>
                      </a:pPr>
                      <a:endParaRPr kumimoji="1" lang="en-US" altLang="ja-JP" sz="1050">
                        <a:solidFill>
                          <a:srgbClr val="0070C0"/>
                        </a:solidFill>
                        <a:latin typeface="+mj-ea"/>
                        <a:ea typeface="+mj-ea"/>
                      </a:endParaRPr>
                    </a:p>
                    <a:p>
                      <a:pPr marL="0" indent="0">
                        <a:buFont typeface="Wingdings" panose="05000000000000000000" pitchFamily="2" charset="2"/>
                        <a:buNone/>
                      </a:pPr>
                      <a:r>
                        <a:rPr kumimoji="1" lang="ja-JP" altLang="en-US" sz="1050">
                          <a:solidFill>
                            <a:srgbClr val="0070C0"/>
                          </a:solidFill>
                          <a:latin typeface="+mj-ea"/>
                          <a:ea typeface="+mj-ea"/>
                        </a:rPr>
                        <a:t>②宿泊施設</a:t>
                      </a:r>
                      <a:endParaRPr kumimoji="1" lang="en-US" altLang="ja-JP" sz="1050">
                        <a:solidFill>
                          <a:srgbClr val="0070C0"/>
                        </a:solidFill>
                        <a:latin typeface="+mj-ea"/>
                        <a:ea typeface="+mj-ea"/>
                      </a:endParaRPr>
                    </a:p>
                    <a:p>
                      <a:pPr marL="171450" indent="-171450">
                        <a:buFont typeface="Wingdings" panose="05000000000000000000" pitchFamily="2" charset="2"/>
                        <a:buChar char="l"/>
                      </a:pPr>
                      <a:r>
                        <a:rPr kumimoji="1" lang="en-US" altLang="ja-JP" sz="1050" kern="1200">
                          <a:solidFill>
                            <a:srgbClr val="0070C0"/>
                          </a:solidFill>
                          <a:latin typeface="+mj-ea"/>
                          <a:ea typeface="+mn-ea"/>
                          <a:cs typeface="+mn-cs"/>
                        </a:rPr>
                        <a:t>AA</a:t>
                      </a:r>
                      <a:r>
                        <a:rPr kumimoji="1" lang="ja-JP" altLang="en-US" sz="1050" kern="1200">
                          <a:solidFill>
                            <a:srgbClr val="0070C0"/>
                          </a:solidFill>
                          <a:latin typeface="+mj-ea"/>
                          <a:ea typeface="+mn-ea"/>
                          <a:cs typeface="+mn-cs"/>
                        </a:rPr>
                        <a:t>ホテル</a:t>
                      </a:r>
                      <a:endParaRPr kumimoji="1" lang="en-US" altLang="ja-JP" sz="1050" kern="1200">
                        <a:solidFill>
                          <a:srgbClr val="0070C0"/>
                        </a:solidFill>
                        <a:latin typeface="+mj-ea"/>
                        <a:ea typeface="+mn-ea"/>
                        <a:cs typeface="+mn-cs"/>
                      </a:endParaRPr>
                    </a:p>
                    <a:p>
                      <a:pPr marL="171450" indent="-171450">
                        <a:buFont typeface="Wingdings" panose="05000000000000000000" pitchFamily="2" charset="2"/>
                        <a:buChar char="l"/>
                      </a:pPr>
                      <a:r>
                        <a:rPr kumimoji="1" lang="en-US" altLang="ja-JP" sz="1050" kern="1200">
                          <a:solidFill>
                            <a:srgbClr val="0070C0"/>
                          </a:solidFill>
                          <a:latin typeface="+mj-ea"/>
                          <a:ea typeface="+mn-ea"/>
                          <a:cs typeface="+mn-cs"/>
                        </a:rPr>
                        <a:t>BB</a:t>
                      </a:r>
                      <a:r>
                        <a:rPr kumimoji="1" lang="ja-JP" altLang="en-US" sz="1050" kern="1200">
                          <a:solidFill>
                            <a:srgbClr val="0070C0"/>
                          </a:solidFill>
                          <a:latin typeface="+mj-ea"/>
                          <a:ea typeface="+mn-ea"/>
                          <a:cs typeface="+mn-cs"/>
                        </a:rPr>
                        <a:t>旅館</a:t>
                      </a:r>
                      <a:endParaRPr kumimoji="1" lang="en-US" altLang="ja-JP" sz="1050" kern="1200">
                        <a:solidFill>
                          <a:srgbClr val="0070C0"/>
                        </a:solidFill>
                        <a:latin typeface="+mj-ea"/>
                        <a:ea typeface="+mn-ea"/>
                        <a:cs typeface="+mn-cs"/>
                      </a:endParaRPr>
                    </a:p>
                    <a:p>
                      <a:pPr marL="0" indent="0">
                        <a:buFont typeface="Wingdings" panose="05000000000000000000" pitchFamily="2" charset="2"/>
                        <a:buNone/>
                      </a:pPr>
                      <a:endParaRPr kumimoji="1" lang="en-US" altLang="ja-JP" sz="1050">
                        <a:solidFill>
                          <a:srgbClr val="0070C0"/>
                        </a:solidFill>
                        <a:latin typeface="+mj-ea"/>
                        <a:ea typeface="+mj-ea"/>
                      </a:endParaRPr>
                    </a:p>
                    <a:p>
                      <a:pPr marL="0" indent="0">
                        <a:buFont typeface="Wingdings" panose="05000000000000000000" pitchFamily="2" charset="2"/>
                        <a:buNone/>
                      </a:pPr>
                      <a:r>
                        <a:rPr kumimoji="1" lang="ja-JP" altLang="en-US" sz="1050">
                          <a:solidFill>
                            <a:srgbClr val="0070C0"/>
                          </a:solidFill>
                          <a:latin typeface="+mj-ea"/>
                          <a:ea typeface="+mj-ea"/>
                        </a:rPr>
                        <a:t>③観光施設</a:t>
                      </a:r>
                      <a:endParaRPr kumimoji="1" lang="en-US" altLang="ja-JP" sz="1050">
                        <a:solidFill>
                          <a:srgbClr val="0070C0"/>
                        </a:solidFill>
                        <a:latin typeface="+mj-ea"/>
                        <a:ea typeface="+mj-ea"/>
                      </a:endParaRPr>
                    </a:p>
                    <a:p>
                      <a:pPr marL="171450" indent="-171450">
                        <a:buFont typeface="Wingdings" panose="05000000000000000000" pitchFamily="2" charset="2"/>
                        <a:buChar char="l"/>
                      </a:pPr>
                      <a:r>
                        <a:rPr kumimoji="1" lang="en-US" altLang="ja-JP" sz="1050" kern="1200">
                          <a:solidFill>
                            <a:srgbClr val="0070C0"/>
                          </a:solidFill>
                          <a:latin typeface="+mj-ea"/>
                          <a:ea typeface="+mn-ea"/>
                          <a:cs typeface="+mn-cs"/>
                        </a:rPr>
                        <a:t>CC</a:t>
                      </a:r>
                      <a:r>
                        <a:rPr kumimoji="1" lang="ja-JP" altLang="en-US" sz="1050" kern="1200">
                          <a:solidFill>
                            <a:srgbClr val="0070C0"/>
                          </a:solidFill>
                          <a:latin typeface="+mj-ea"/>
                          <a:ea typeface="+mn-ea"/>
                          <a:cs typeface="+mn-cs"/>
                        </a:rPr>
                        <a:t>施設</a:t>
                      </a:r>
                      <a:endParaRPr kumimoji="1" lang="en-US" altLang="ja-JP" sz="1050" kern="1200">
                        <a:solidFill>
                          <a:srgbClr val="0070C0"/>
                        </a:solidFill>
                        <a:latin typeface="+mj-ea"/>
                        <a:ea typeface="+mn-ea"/>
                        <a:cs typeface="+mn-cs"/>
                      </a:endParaRPr>
                    </a:p>
                    <a:p>
                      <a:pPr marL="171450" indent="-171450">
                        <a:buFont typeface="Wingdings" panose="05000000000000000000" pitchFamily="2" charset="2"/>
                        <a:buChar char="l"/>
                      </a:pPr>
                      <a:r>
                        <a:rPr kumimoji="1" lang="en-US" altLang="ja-JP" sz="1050" kern="1200">
                          <a:solidFill>
                            <a:srgbClr val="0070C0"/>
                          </a:solidFill>
                          <a:latin typeface="+mj-ea"/>
                          <a:ea typeface="+mn-ea"/>
                          <a:cs typeface="+mn-cs"/>
                        </a:rPr>
                        <a:t>DD</a:t>
                      </a:r>
                      <a:r>
                        <a:rPr kumimoji="1" lang="ja-JP" altLang="en-US" sz="1050" kern="1200">
                          <a:solidFill>
                            <a:srgbClr val="0070C0"/>
                          </a:solidFill>
                          <a:latin typeface="+mj-ea"/>
                          <a:ea typeface="+mn-ea"/>
                          <a:cs typeface="+mn-cs"/>
                        </a:rPr>
                        <a:t>施設</a:t>
                      </a:r>
                      <a:endParaRPr kumimoji="1" lang="en-US" altLang="ja-JP" sz="1050">
                        <a:solidFill>
                          <a:srgbClr val="0070C0"/>
                        </a:solidFill>
                        <a:latin typeface="+mj-ea"/>
                        <a:ea typeface="+mj-ea"/>
                      </a:endParaRPr>
                    </a:p>
                    <a:p>
                      <a:pPr marL="171450" indent="-171450">
                        <a:buFont typeface="Wingdings" panose="05000000000000000000" pitchFamily="2" charset="2"/>
                        <a:buChar char="l"/>
                      </a:pPr>
                      <a:endParaRPr kumimoji="1" lang="en-US" altLang="ja-JP" sz="1050">
                        <a:solidFill>
                          <a:srgbClr val="0070C0"/>
                        </a:solidFill>
                        <a:highlight>
                          <a:srgbClr val="C0C0C0"/>
                        </a:highlight>
                        <a:latin typeface="+mj-ea"/>
                        <a:ea typeface="+mj-ea"/>
                      </a:endParaRPr>
                    </a:p>
                  </a:txBody>
                  <a:tcPr marL="112542" marR="112542" marT="56271" marB="5627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64430111"/>
                  </a:ext>
                </a:extLst>
              </a:tr>
            </a:tbl>
          </a:graphicData>
        </a:graphic>
      </p:graphicFrame>
      <p:sp>
        <p:nvSpPr>
          <p:cNvPr id="17" name="テキスト ボックス 16">
            <a:extLst>
              <a:ext uri="{FF2B5EF4-FFF2-40B4-BE49-F238E27FC236}">
                <a16:creationId xmlns:a16="http://schemas.microsoft.com/office/drawing/2014/main" id="{159BE264-9942-E766-987F-6CA378A61798}"/>
              </a:ext>
            </a:extLst>
          </p:cNvPr>
          <p:cNvSpPr txBox="1"/>
          <p:nvPr/>
        </p:nvSpPr>
        <p:spPr>
          <a:xfrm>
            <a:off x="1588445" y="4938690"/>
            <a:ext cx="8920716" cy="107632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本プロジェクトの具体的なサービス提供事業者名・路線・区間を文言及び図示によって明示してください。</a:t>
            </a: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サービス提供エリアが広域の場合は、地図を複数枚用意のうえ、実施エリアや路線が分かるよう明示してください。</a:t>
            </a: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プロジェクトが過年度からの継続事業の場合、今年度の対象がわかるように記載ください。</a:t>
            </a: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画像はサンプルです。提出時に削除してください。</a:t>
            </a:r>
            <a:endParaRPr kumimoji="0" lang="en-US" altLang="ja-JP" sz="1400" b="0" i="0" u="none" strike="noStrike" kern="0" cap="none" spc="0" normalizeH="0" baseline="0" noProof="0">
              <a:ln>
                <a:noFill/>
              </a:ln>
              <a:solidFill>
                <a:srgbClr val="FFFFFF"/>
              </a:solidFill>
              <a:effectLst/>
              <a:uLnTx/>
              <a:uFillTx/>
            </a:endParaRPr>
          </a:p>
        </p:txBody>
      </p:sp>
      <p:sp>
        <p:nvSpPr>
          <p:cNvPr id="19" name="テキスト ボックス 18">
            <a:extLst>
              <a:ext uri="{FF2B5EF4-FFF2-40B4-BE49-F238E27FC236}">
                <a16:creationId xmlns:a16="http://schemas.microsoft.com/office/drawing/2014/main" id="{F4F6AADC-220D-BFC7-4F32-89892ED6B785}"/>
              </a:ext>
            </a:extLst>
          </p:cNvPr>
          <p:cNvSpPr txBox="1"/>
          <p:nvPr/>
        </p:nvSpPr>
        <p:spPr>
          <a:xfrm>
            <a:off x="377162" y="1507003"/>
            <a:ext cx="3695699" cy="261962"/>
          </a:xfrm>
          <a:prstGeom prst="rect">
            <a:avLst/>
          </a:prstGeom>
          <a:solidFill>
            <a:srgbClr val="636163">
              <a:lumMod val="20000"/>
              <a:lumOff val="8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srgbClr val="000000"/>
                </a:solidFill>
                <a:effectLst/>
                <a:uLnTx/>
                <a:uFillTx/>
              </a:rPr>
              <a:t>本プロジェクトにおけるサービス提供事業者</a:t>
            </a:r>
          </a:p>
        </p:txBody>
      </p:sp>
      <p:grpSp>
        <p:nvGrpSpPr>
          <p:cNvPr id="23" name="グループ化 22">
            <a:extLst>
              <a:ext uri="{FF2B5EF4-FFF2-40B4-BE49-F238E27FC236}">
                <a16:creationId xmlns:a16="http://schemas.microsoft.com/office/drawing/2014/main" id="{A07996F8-B910-E0AB-D4FD-7620B6D4FD6E}"/>
              </a:ext>
            </a:extLst>
          </p:cNvPr>
          <p:cNvGrpSpPr/>
          <p:nvPr/>
        </p:nvGrpSpPr>
        <p:grpSpPr>
          <a:xfrm>
            <a:off x="377162" y="1144962"/>
            <a:ext cx="11327639" cy="310897"/>
            <a:chOff x="609601" y="1337306"/>
            <a:chExt cx="5206999" cy="310897"/>
          </a:xfrm>
        </p:grpSpPr>
        <p:sp>
          <p:nvSpPr>
            <p:cNvPr id="24" name="正方形/長方形 23">
              <a:extLst>
                <a:ext uri="{FF2B5EF4-FFF2-40B4-BE49-F238E27FC236}">
                  <a16:creationId xmlns:a16="http://schemas.microsoft.com/office/drawing/2014/main" id="{C05D70C8-A0E4-1745-E63B-587FB5CC9386}"/>
                </a:ext>
              </a:extLst>
            </p:cNvPr>
            <p:cNvSpPr/>
            <p:nvPr/>
          </p:nvSpPr>
          <p:spPr>
            <a:xfrm>
              <a:off x="609601" y="1337306"/>
              <a:ext cx="5198587" cy="299140"/>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rgbClr val="636163"/>
                </a:solidFill>
                <a:effectLst/>
                <a:uLnTx/>
                <a:uFillTx/>
                <a:latin typeface="Noto Sans CJK JP"/>
                <a:ea typeface="BIZ UDPゴシック"/>
                <a:cs typeface="+mn-cs"/>
              </a:endParaRPr>
            </a:p>
          </p:txBody>
        </p:sp>
        <p:cxnSp>
          <p:nvCxnSpPr>
            <p:cNvPr id="25" name="直線コネクタ 24">
              <a:extLst>
                <a:ext uri="{FF2B5EF4-FFF2-40B4-BE49-F238E27FC236}">
                  <a16:creationId xmlns:a16="http://schemas.microsoft.com/office/drawing/2014/main" id="{9B8C3470-E35E-E2A6-58B9-6E0188FCF49E}"/>
                </a:ext>
              </a:extLst>
            </p:cNvPr>
            <p:cNvCxnSpPr/>
            <p:nvPr/>
          </p:nvCxnSpPr>
          <p:spPr>
            <a:xfrm>
              <a:off x="609601" y="1648203"/>
              <a:ext cx="5206999" cy="0"/>
            </a:xfrm>
            <a:prstGeom prst="line">
              <a:avLst/>
            </a:prstGeom>
            <a:noFill/>
            <a:ln w="9525" cap="flat" cmpd="sng" algn="ctr">
              <a:solidFill>
                <a:srgbClr val="636163"/>
              </a:solidFill>
              <a:prstDash val="solid"/>
            </a:ln>
            <a:effectLst/>
          </p:spPr>
        </p:cxnSp>
      </p:grpSp>
      <p:sp>
        <p:nvSpPr>
          <p:cNvPr id="20" name="テキスト プレースホルダー 19">
            <a:extLst>
              <a:ext uri="{FF2B5EF4-FFF2-40B4-BE49-F238E27FC236}">
                <a16:creationId xmlns:a16="http://schemas.microsoft.com/office/drawing/2014/main" id="{C0739B5E-974C-B8C0-C502-00B3AE8E25D2}"/>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3" name="楕円 2">
            <a:extLst>
              <a:ext uri="{FF2B5EF4-FFF2-40B4-BE49-F238E27FC236}">
                <a16:creationId xmlns:a16="http://schemas.microsoft.com/office/drawing/2014/main" id="{B9D9EB51-848D-3FA9-D4AF-CFDFB21FCB91}"/>
              </a:ext>
            </a:extLst>
          </p:cNvPr>
          <p:cNvSpPr/>
          <p:nvPr/>
        </p:nvSpPr>
        <p:spPr>
          <a:xfrm>
            <a:off x="11422743" y="4717143"/>
            <a:ext cx="45719" cy="221547"/>
          </a:xfrm>
          <a:prstGeom prst="ellipse">
            <a:avLst/>
          </a:prstGeom>
          <a:solidFill>
            <a:srgbClr val="EDEEE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endParaRPr kumimoji="1" lang="ja-JP" altLang="en-US" sz="1600">
              <a:solidFill>
                <a:schemeClr val="tx1"/>
              </a:solidFill>
            </a:endParaRPr>
          </a:p>
        </p:txBody>
      </p:sp>
      <p:sp>
        <p:nvSpPr>
          <p:cNvPr id="6" name="楕円 5">
            <a:extLst>
              <a:ext uri="{FF2B5EF4-FFF2-40B4-BE49-F238E27FC236}">
                <a16:creationId xmlns:a16="http://schemas.microsoft.com/office/drawing/2014/main" id="{1BCCAF6C-F24C-E5FD-6478-8D3B530BE8F1}"/>
              </a:ext>
            </a:extLst>
          </p:cNvPr>
          <p:cNvSpPr/>
          <p:nvPr/>
        </p:nvSpPr>
        <p:spPr>
          <a:xfrm>
            <a:off x="7058998" y="2868364"/>
            <a:ext cx="140088" cy="142975"/>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endParaRPr kumimoji="1" lang="ja-JP" altLang="en-US" sz="1600">
              <a:solidFill>
                <a:schemeClr val="tx1"/>
              </a:solidFill>
            </a:endParaRPr>
          </a:p>
        </p:txBody>
      </p:sp>
      <p:sp>
        <p:nvSpPr>
          <p:cNvPr id="10" name="楕円 9">
            <a:extLst>
              <a:ext uri="{FF2B5EF4-FFF2-40B4-BE49-F238E27FC236}">
                <a16:creationId xmlns:a16="http://schemas.microsoft.com/office/drawing/2014/main" id="{2252D796-44C6-7706-50A4-117F725AF3C7}"/>
              </a:ext>
            </a:extLst>
          </p:cNvPr>
          <p:cNvSpPr/>
          <p:nvPr/>
        </p:nvSpPr>
        <p:spPr>
          <a:xfrm>
            <a:off x="6364890" y="3671247"/>
            <a:ext cx="140088" cy="142975"/>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endParaRPr kumimoji="1" lang="ja-JP" altLang="en-US" sz="1600">
              <a:solidFill>
                <a:schemeClr val="tx1"/>
              </a:solidFill>
            </a:endParaRPr>
          </a:p>
        </p:txBody>
      </p:sp>
      <p:sp>
        <p:nvSpPr>
          <p:cNvPr id="16" name="楕円 15">
            <a:extLst>
              <a:ext uri="{FF2B5EF4-FFF2-40B4-BE49-F238E27FC236}">
                <a16:creationId xmlns:a16="http://schemas.microsoft.com/office/drawing/2014/main" id="{E92CC61A-6FC8-2B5B-9786-A76427C12433}"/>
              </a:ext>
            </a:extLst>
          </p:cNvPr>
          <p:cNvSpPr/>
          <p:nvPr/>
        </p:nvSpPr>
        <p:spPr>
          <a:xfrm>
            <a:off x="9185372" y="3906698"/>
            <a:ext cx="140088" cy="142975"/>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endParaRPr kumimoji="1" lang="ja-JP" altLang="en-US" sz="1600">
              <a:solidFill>
                <a:schemeClr val="tx1"/>
              </a:solidFill>
            </a:endParaRPr>
          </a:p>
        </p:txBody>
      </p:sp>
      <p:sp>
        <p:nvSpPr>
          <p:cNvPr id="18" name="楕円 17">
            <a:extLst>
              <a:ext uri="{FF2B5EF4-FFF2-40B4-BE49-F238E27FC236}">
                <a16:creationId xmlns:a16="http://schemas.microsoft.com/office/drawing/2014/main" id="{3A841820-4871-B5CF-75D9-A007295F251F}"/>
              </a:ext>
            </a:extLst>
          </p:cNvPr>
          <p:cNvSpPr/>
          <p:nvPr/>
        </p:nvSpPr>
        <p:spPr>
          <a:xfrm>
            <a:off x="9137118" y="3245708"/>
            <a:ext cx="140088" cy="142975"/>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endParaRPr kumimoji="1" lang="ja-JP" altLang="en-US" sz="1600">
              <a:solidFill>
                <a:schemeClr val="tx1"/>
              </a:solidFill>
            </a:endParaRPr>
          </a:p>
        </p:txBody>
      </p:sp>
      <p:sp>
        <p:nvSpPr>
          <p:cNvPr id="22" name="テキスト ボックス 21">
            <a:extLst>
              <a:ext uri="{FF2B5EF4-FFF2-40B4-BE49-F238E27FC236}">
                <a16:creationId xmlns:a16="http://schemas.microsoft.com/office/drawing/2014/main" id="{35B30D39-E2DD-4427-4B24-0D262924286A}"/>
              </a:ext>
            </a:extLst>
          </p:cNvPr>
          <p:cNvSpPr txBox="1"/>
          <p:nvPr/>
        </p:nvSpPr>
        <p:spPr>
          <a:xfrm>
            <a:off x="8917535" y="3379919"/>
            <a:ext cx="1167618" cy="307776"/>
          </a:xfrm>
          <a:prstGeom prst="rect">
            <a:avLst/>
          </a:prstGeom>
          <a:noFill/>
        </p:spPr>
        <p:txBody>
          <a:bodyPr wrap="square" rtlCol="0">
            <a:noAutofit/>
          </a:bodyPr>
          <a:lstStyle/>
          <a:p>
            <a:pPr algn="l"/>
            <a:r>
              <a:rPr lang="en-US" altLang="ja-JP" sz="1100">
                <a:latin typeface="+mn-ea"/>
              </a:rPr>
              <a:t>CC</a:t>
            </a:r>
            <a:r>
              <a:rPr lang="ja-JP" altLang="en-US" sz="1100">
                <a:latin typeface="+mn-ea"/>
              </a:rPr>
              <a:t>施設</a:t>
            </a:r>
            <a:endParaRPr kumimoji="1" lang="ja-JP" altLang="en-US" sz="1100">
              <a:latin typeface="+mn-ea"/>
              <a:ea typeface="+mn-ea"/>
            </a:endParaRPr>
          </a:p>
        </p:txBody>
      </p:sp>
      <p:sp>
        <p:nvSpPr>
          <p:cNvPr id="26" name="テキスト ボックス 25">
            <a:extLst>
              <a:ext uri="{FF2B5EF4-FFF2-40B4-BE49-F238E27FC236}">
                <a16:creationId xmlns:a16="http://schemas.microsoft.com/office/drawing/2014/main" id="{A762EE02-749D-90DA-7CE2-66C5082B387D}"/>
              </a:ext>
            </a:extLst>
          </p:cNvPr>
          <p:cNvSpPr txBox="1"/>
          <p:nvPr/>
        </p:nvSpPr>
        <p:spPr>
          <a:xfrm>
            <a:off x="8979455" y="4028786"/>
            <a:ext cx="1167618" cy="307776"/>
          </a:xfrm>
          <a:prstGeom prst="rect">
            <a:avLst/>
          </a:prstGeom>
          <a:noFill/>
        </p:spPr>
        <p:txBody>
          <a:bodyPr wrap="square" rtlCol="0">
            <a:noAutofit/>
          </a:bodyPr>
          <a:lstStyle/>
          <a:p>
            <a:pPr algn="l"/>
            <a:r>
              <a:rPr lang="en-US" altLang="ja-JP" sz="1100">
                <a:latin typeface="+mn-ea"/>
              </a:rPr>
              <a:t>DD</a:t>
            </a:r>
            <a:r>
              <a:rPr lang="ja-JP" altLang="en-US" sz="1100">
                <a:latin typeface="+mn-ea"/>
              </a:rPr>
              <a:t>施設</a:t>
            </a:r>
            <a:endParaRPr kumimoji="1" lang="ja-JP" altLang="en-US" sz="1100">
              <a:latin typeface="+mn-ea"/>
              <a:ea typeface="+mn-ea"/>
            </a:endParaRPr>
          </a:p>
        </p:txBody>
      </p:sp>
      <p:sp>
        <p:nvSpPr>
          <p:cNvPr id="27" name="テキスト ボックス 26">
            <a:extLst>
              <a:ext uri="{FF2B5EF4-FFF2-40B4-BE49-F238E27FC236}">
                <a16:creationId xmlns:a16="http://schemas.microsoft.com/office/drawing/2014/main" id="{08D18F5B-E05B-8C18-7162-D8950224B861}"/>
              </a:ext>
            </a:extLst>
          </p:cNvPr>
          <p:cNvSpPr txBox="1"/>
          <p:nvPr/>
        </p:nvSpPr>
        <p:spPr>
          <a:xfrm>
            <a:off x="6109460" y="3770848"/>
            <a:ext cx="1167618" cy="307776"/>
          </a:xfrm>
          <a:prstGeom prst="rect">
            <a:avLst/>
          </a:prstGeom>
          <a:noFill/>
        </p:spPr>
        <p:txBody>
          <a:bodyPr wrap="square" rtlCol="0">
            <a:noAutofit/>
          </a:bodyPr>
          <a:lstStyle/>
          <a:p>
            <a:pPr algn="l"/>
            <a:r>
              <a:rPr lang="en-US" altLang="ja-JP" sz="1100">
                <a:latin typeface="+mn-ea"/>
              </a:rPr>
              <a:t>BB</a:t>
            </a:r>
            <a:r>
              <a:rPr lang="ja-JP" altLang="en-US" sz="1100">
                <a:latin typeface="+mn-ea"/>
              </a:rPr>
              <a:t>旅館</a:t>
            </a:r>
            <a:endParaRPr kumimoji="1" lang="ja-JP" altLang="en-US" sz="1100">
              <a:latin typeface="+mn-ea"/>
              <a:ea typeface="+mn-ea"/>
            </a:endParaRPr>
          </a:p>
        </p:txBody>
      </p:sp>
      <p:sp>
        <p:nvSpPr>
          <p:cNvPr id="28" name="テキスト ボックス 27">
            <a:extLst>
              <a:ext uri="{FF2B5EF4-FFF2-40B4-BE49-F238E27FC236}">
                <a16:creationId xmlns:a16="http://schemas.microsoft.com/office/drawing/2014/main" id="{89620473-E768-ED47-FA64-6ABAC2E8A609}"/>
              </a:ext>
            </a:extLst>
          </p:cNvPr>
          <p:cNvSpPr txBox="1"/>
          <p:nvPr/>
        </p:nvSpPr>
        <p:spPr>
          <a:xfrm>
            <a:off x="6768134" y="2953791"/>
            <a:ext cx="1167618" cy="307776"/>
          </a:xfrm>
          <a:prstGeom prst="rect">
            <a:avLst/>
          </a:prstGeom>
          <a:noFill/>
        </p:spPr>
        <p:txBody>
          <a:bodyPr wrap="square" rtlCol="0">
            <a:noAutofit/>
          </a:bodyPr>
          <a:lstStyle/>
          <a:p>
            <a:pPr algn="l"/>
            <a:r>
              <a:rPr kumimoji="1" lang="en-US" altLang="ja-JP" sz="1100">
                <a:latin typeface="+mn-ea"/>
                <a:ea typeface="+mn-ea"/>
              </a:rPr>
              <a:t>AA</a:t>
            </a:r>
            <a:r>
              <a:rPr kumimoji="1" lang="ja-JP" altLang="en-US" sz="1100">
                <a:latin typeface="+mn-ea"/>
                <a:ea typeface="+mn-ea"/>
              </a:rPr>
              <a:t>ホテル</a:t>
            </a:r>
          </a:p>
        </p:txBody>
      </p:sp>
    </p:spTree>
    <p:extLst>
      <p:ext uri="{BB962C8B-B14F-4D97-AF65-F5344CB8AC3E}">
        <p14:creationId xmlns:p14="http://schemas.microsoft.com/office/powerpoint/2010/main" val="55405795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235315-9C48-DA83-F90B-A60269B5EF7B}"/>
            </a:ext>
          </a:extLst>
        </p:cNvPr>
        <p:cNvGrpSpPr/>
        <p:nvPr/>
      </p:nvGrpSpPr>
      <p:grpSpPr>
        <a:xfrm>
          <a:off x="0" y="0"/>
          <a:ext cx="0" cy="0"/>
          <a:chOff x="0" y="0"/>
          <a:chExt cx="0" cy="0"/>
        </a:xfrm>
      </p:grpSpPr>
      <p:pic>
        <p:nvPicPr>
          <p:cNvPr id="31" name="図 30">
            <a:extLst>
              <a:ext uri="{FF2B5EF4-FFF2-40B4-BE49-F238E27FC236}">
                <a16:creationId xmlns:a16="http://schemas.microsoft.com/office/drawing/2014/main" id="{16020430-00B1-287F-A924-BAA06D233495}"/>
              </a:ext>
            </a:extLst>
          </p:cNvPr>
          <p:cNvPicPr>
            <a:picLocks noChangeAspect="1"/>
          </p:cNvPicPr>
          <p:nvPr/>
        </p:nvPicPr>
        <p:blipFill>
          <a:blip r:embed="rId3"/>
          <a:stretch>
            <a:fillRect/>
          </a:stretch>
        </p:blipFill>
        <p:spPr>
          <a:xfrm>
            <a:off x="2077459" y="1489767"/>
            <a:ext cx="6519604" cy="4925102"/>
          </a:xfrm>
          <a:prstGeom prst="rect">
            <a:avLst/>
          </a:prstGeom>
        </p:spPr>
      </p:pic>
      <p:graphicFrame>
        <p:nvGraphicFramePr>
          <p:cNvPr id="5" name="オブジェクト 4" hidden="1">
            <a:extLst>
              <a:ext uri="{FF2B5EF4-FFF2-40B4-BE49-F238E27FC236}">
                <a16:creationId xmlns:a16="http://schemas.microsoft.com/office/drawing/2014/main" id="{84E354F3-1957-AAC3-B43F-BEDAC47C5BC8}"/>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84E354F3-1957-AAC3-B43F-BEDAC47C5BC8}"/>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6" name="テキスト プレースホルダー 5">
            <a:extLst>
              <a:ext uri="{FF2B5EF4-FFF2-40B4-BE49-F238E27FC236}">
                <a16:creationId xmlns:a16="http://schemas.microsoft.com/office/drawing/2014/main" id="{71206BDE-1A08-08E6-655E-57D44EBA924B}"/>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2" name="テキスト プレースホルダー 1">
            <a:extLst>
              <a:ext uri="{FF2B5EF4-FFF2-40B4-BE49-F238E27FC236}">
                <a16:creationId xmlns:a16="http://schemas.microsoft.com/office/drawing/2014/main" id="{CBF10691-58CC-75D5-EA23-B36D933D90D3}"/>
              </a:ext>
            </a:extLst>
          </p:cNvPr>
          <p:cNvSpPr>
            <a:spLocks noGrp="1"/>
          </p:cNvSpPr>
          <p:nvPr>
            <p:ph type="body" sz="quarter" idx="36"/>
          </p:nvPr>
        </p:nvSpPr>
        <p:spPr>
          <a:xfrm>
            <a:off x="300779" y="215626"/>
            <a:ext cx="11376000" cy="415498"/>
          </a:xfrm>
        </p:spPr>
        <p:txBody>
          <a:bodyPr/>
          <a:lstStyle/>
          <a:p>
            <a:r>
              <a:rPr lang="en-US" altLang="ja-JP" dirty="0"/>
              <a:t>Ⅳ.</a:t>
            </a:r>
            <a:r>
              <a:rPr lang="ja-JP" altLang="en-US" dirty="0"/>
              <a:t>エンドコンテンツとの連携</a:t>
            </a:r>
          </a:p>
        </p:txBody>
      </p:sp>
      <p:sp>
        <p:nvSpPr>
          <p:cNvPr id="9" name="タイトル 8">
            <a:extLst>
              <a:ext uri="{FF2B5EF4-FFF2-40B4-BE49-F238E27FC236}">
                <a16:creationId xmlns:a16="http://schemas.microsoft.com/office/drawing/2014/main" id="{F7DA7227-3724-60C8-1F06-5A8A2F4AF1F8}"/>
              </a:ext>
            </a:extLst>
          </p:cNvPr>
          <p:cNvSpPr>
            <a:spLocks noGrp="1"/>
          </p:cNvSpPr>
          <p:nvPr>
            <p:ph type="title"/>
          </p:nvPr>
        </p:nvSpPr>
        <p:spPr/>
        <p:txBody>
          <a:bodyPr vert="horz"/>
          <a:lstStyle/>
          <a:p>
            <a:r>
              <a:rPr lang="ja-JP" altLang="en-US"/>
              <a:t>５</a:t>
            </a:r>
            <a:r>
              <a:rPr lang="en-US" altLang="ja-JP"/>
              <a:t>.</a:t>
            </a:r>
            <a:r>
              <a:rPr lang="ja-JP" altLang="en-US"/>
              <a:t>アーキテクチャ全体図</a:t>
            </a:r>
            <a:r>
              <a:rPr lang="en-US" altLang="ja-JP" sz="2400"/>
              <a:t>-</a:t>
            </a:r>
            <a:r>
              <a:rPr lang="ja-JP" altLang="en-US" sz="2400"/>
              <a:t>システムアーキテクチャ図</a:t>
            </a:r>
            <a:r>
              <a:rPr lang="en-US" altLang="ja-JP" sz="2400"/>
              <a:t>-</a:t>
            </a:r>
            <a:endParaRPr lang="ja-JP" altLang="en-US" sz="2800"/>
          </a:p>
        </p:txBody>
      </p:sp>
      <p:sp>
        <p:nvSpPr>
          <p:cNvPr id="4" name="テキスト ボックス 3">
            <a:extLst>
              <a:ext uri="{FF2B5EF4-FFF2-40B4-BE49-F238E27FC236}">
                <a16:creationId xmlns:a16="http://schemas.microsoft.com/office/drawing/2014/main" id="{2D0F773D-7F31-6F9D-4700-F8F75C3164F8}"/>
              </a:ext>
            </a:extLst>
          </p:cNvPr>
          <p:cNvSpPr txBox="1"/>
          <p:nvPr/>
        </p:nvSpPr>
        <p:spPr>
          <a:xfrm>
            <a:off x="2920785" y="2759484"/>
            <a:ext cx="6135987" cy="2385668"/>
          </a:xfrm>
          <a:prstGeom prst="rect">
            <a:avLst/>
          </a:prstGeom>
          <a:solidFill>
            <a:srgbClr val="F3817B">
              <a:alpha val="60000"/>
            </a:srgbClr>
          </a:solidFill>
        </p:spPr>
        <p:txBody>
          <a:bodyPr wrap="square" anchor="ctr">
            <a:noAutofit/>
          </a:bodyPr>
          <a:lstStyle/>
          <a:p>
            <a:pPr>
              <a:spcBef>
                <a:spcPts val="300"/>
              </a:spcBef>
              <a:defRPr/>
            </a:pPr>
            <a:r>
              <a:rPr kumimoji="0" lang="en-US" altLang="ja-JP" sz="1400" b="0" i="0" u="none" strike="noStrike" kern="0" cap="none" spc="0" normalizeH="0" baseline="0" noProof="0" dirty="0">
                <a:ln>
                  <a:noFill/>
                </a:ln>
                <a:solidFill>
                  <a:srgbClr val="FFFFFF"/>
                </a:solidFill>
                <a:effectLst/>
                <a:uLnTx/>
                <a:uFillTx/>
              </a:rPr>
              <a:t>※</a:t>
            </a:r>
            <a:r>
              <a:rPr kumimoji="0" lang="ja-JP" altLang="en-US" sz="1400" b="0" i="0" u="none" strike="noStrike" kern="0" cap="none" spc="0" normalizeH="0" baseline="0" noProof="0" dirty="0">
                <a:ln>
                  <a:noFill/>
                </a:ln>
                <a:solidFill>
                  <a:srgbClr val="FFFFFF"/>
                </a:solidFill>
                <a:effectLst/>
                <a:uLnTx/>
                <a:uFillTx/>
              </a:rPr>
              <a:t>該当あれば</a:t>
            </a:r>
            <a:endParaRPr kumimoji="0" lang="en-US" altLang="ja-JP"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システム全体の構造を視覚的に示し、各コンポーネントの相互関係を明確にするため、システムアーキテクチャを記載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機能モジュールとそのインターフェスを処理フローに従って定義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要件定義を見据え、必要な機能モジュールの定義・分割と</a:t>
            </a:r>
            <a:r>
              <a:rPr kumimoji="0" lang="en-US" altLang="ja-JP" sz="1400" b="0" i="0" u="none" strike="noStrike" kern="0" cap="none" spc="0" normalizeH="0" baseline="0" noProof="0" dirty="0">
                <a:ln>
                  <a:noFill/>
                </a:ln>
                <a:solidFill>
                  <a:srgbClr val="FFFFFF"/>
                </a:solidFill>
                <a:effectLst/>
                <a:uLnTx/>
                <a:uFillTx/>
              </a:rPr>
              <a:t>ID</a:t>
            </a:r>
            <a:r>
              <a:rPr kumimoji="0" lang="ja-JP" altLang="en-US" sz="1400" b="0" i="0" u="none" strike="noStrike" kern="0" cap="none" spc="0" normalizeH="0" baseline="0" noProof="0" dirty="0">
                <a:ln>
                  <a:noFill/>
                </a:ln>
                <a:solidFill>
                  <a:srgbClr val="FFFFFF"/>
                </a:solidFill>
                <a:effectLst/>
                <a:uLnTx/>
                <a:uFillTx/>
              </a:rPr>
              <a:t>付与、フルスクラッチ、</a:t>
            </a:r>
            <a:r>
              <a:rPr kumimoji="0" lang="en-US" altLang="ja-JP" sz="1400" b="0" i="0" u="none" strike="noStrike" kern="0" cap="none" spc="0" normalizeH="0" baseline="0" noProof="0" dirty="0">
                <a:ln>
                  <a:noFill/>
                </a:ln>
                <a:solidFill>
                  <a:srgbClr val="FFFFFF"/>
                </a:solidFill>
                <a:effectLst/>
                <a:uLnTx/>
                <a:uFillTx/>
              </a:rPr>
              <a:t>SaaS</a:t>
            </a:r>
            <a:r>
              <a:rPr kumimoji="0" lang="ja-JP" altLang="en-US" sz="1400" b="0" i="0" u="none" strike="noStrike" kern="0" cap="none" spc="0" normalizeH="0" baseline="0" noProof="0" dirty="0">
                <a:ln>
                  <a:noFill/>
                </a:ln>
                <a:solidFill>
                  <a:srgbClr val="FFFFFF"/>
                </a:solidFill>
                <a:effectLst/>
                <a:uLnTx/>
                <a:uFillTx/>
              </a:rPr>
              <a:t>利用、外部</a:t>
            </a:r>
            <a:r>
              <a:rPr kumimoji="0" lang="en-US" altLang="ja-JP" sz="1400" b="0" i="0" u="none" strike="noStrike" kern="0" cap="none" spc="0" normalizeH="0" baseline="0" noProof="0" dirty="0">
                <a:ln>
                  <a:noFill/>
                </a:ln>
                <a:solidFill>
                  <a:srgbClr val="FFFFFF"/>
                </a:solidFill>
                <a:effectLst/>
                <a:uLnTx/>
                <a:uFillTx/>
              </a:rPr>
              <a:t>API</a:t>
            </a:r>
            <a:r>
              <a:rPr kumimoji="0" lang="ja-JP" altLang="en-US" sz="1400" b="0" i="0" u="none" strike="noStrike" kern="0" cap="none" spc="0" normalizeH="0" baseline="0" noProof="0" dirty="0">
                <a:ln>
                  <a:noFill/>
                </a:ln>
                <a:solidFill>
                  <a:srgbClr val="FFFFFF"/>
                </a:solidFill>
                <a:effectLst/>
                <a:uLnTx/>
                <a:uFillTx/>
              </a:rPr>
              <a:t>利用などの区別など、可能な限り詳細な粒度で記載してください。</a:t>
            </a:r>
            <a:endParaRPr kumimoji="0" lang="en-US" altLang="ja-JP"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右下の凡例を参考に作成してください。</a:t>
            </a:r>
            <a:endParaRPr kumimoji="0" lang="en-US" altLang="ja-JP"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システム利用及び開発を行わない場合は、その旨を記載してください。</a:t>
            </a:r>
            <a:endParaRPr kumimoji="0" lang="en-US" altLang="ja-JP"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画像はサンプルです。提出時に削除してください。</a:t>
            </a:r>
          </a:p>
        </p:txBody>
      </p:sp>
      <p:grpSp>
        <p:nvGrpSpPr>
          <p:cNvPr id="7" name="グループ化 6">
            <a:extLst>
              <a:ext uri="{FF2B5EF4-FFF2-40B4-BE49-F238E27FC236}">
                <a16:creationId xmlns:a16="http://schemas.microsoft.com/office/drawing/2014/main" id="{52002093-DF50-FA02-BA5F-6BBF146BCA66}"/>
              </a:ext>
            </a:extLst>
          </p:cNvPr>
          <p:cNvGrpSpPr/>
          <p:nvPr/>
        </p:nvGrpSpPr>
        <p:grpSpPr>
          <a:xfrm>
            <a:off x="10081737" y="5038356"/>
            <a:ext cx="1630886" cy="1264098"/>
            <a:chOff x="10291234" y="5263193"/>
            <a:chExt cx="1530502" cy="1186290"/>
          </a:xfrm>
        </p:grpSpPr>
        <p:sp>
          <p:nvSpPr>
            <p:cNvPr id="8" name="四角形: 角を丸くする 7">
              <a:extLst>
                <a:ext uri="{FF2B5EF4-FFF2-40B4-BE49-F238E27FC236}">
                  <a16:creationId xmlns:a16="http://schemas.microsoft.com/office/drawing/2014/main" id="{FC1AB3A4-9382-A032-5903-9A510E8475E3}"/>
                </a:ext>
              </a:extLst>
            </p:cNvPr>
            <p:cNvSpPr/>
            <p:nvPr/>
          </p:nvSpPr>
          <p:spPr>
            <a:xfrm>
              <a:off x="10291234" y="5263193"/>
              <a:ext cx="1530502" cy="1186290"/>
            </a:xfrm>
            <a:prstGeom prst="roundRect">
              <a:avLst>
                <a:gd name="adj" fmla="val 3180"/>
              </a:avLst>
            </a:prstGeom>
            <a:noFill/>
            <a:ln w="12700" cap="flat" cmpd="sng" algn="ctr">
              <a:solidFill>
                <a:srgbClr val="636163"/>
              </a:solidFill>
              <a:prstDash val="solid"/>
            </a:ln>
            <a:effectLst/>
          </p:spPr>
          <p:txBody>
            <a:bodyPr rtlCol="0" anchor="ctr"/>
            <a:lstStyle/>
            <a:p>
              <a:pPr algn="ctr">
                <a:defRPr/>
              </a:pPr>
              <a:endParaRPr kumimoji="0" lang="ja-JP" altLang="en-US" sz="2400" kern="0">
                <a:solidFill>
                  <a:srgbClr val="FFFFFF"/>
                </a:solidFill>
                <a:latin typeface="Noto Sans CJK JP"/>
              </a:endParaRPr>
            </a:p>
          </p:txBody>
        </p:sp>
        <p:grpSp>
          <p:nvGrpSpPr>
            <p:cNvPr id="10" name="グループ化 9">
              <a:extLst>
                <a:ext uri="{FF2B5EF4-FFF2-40B4-BE49-F238E27FC236}">
                  <a16:creationId xmlns:a16="http://schemas.microsoft.com/office/drawing/2014/main" id="{B738998B-D1C7-4DA0-CFF5-9A123E597911}"/>
                </a:ext>
              </a:extLst>
            </p:cNvPr>
            <p:cNvGrpSpPr/>
            <p:nvPr/>
          </p:nvGrpSpPr>
          <p:grpSpPr>
            <a:xfrm>
              <a:off x="10446248" y="5791146"/>
              <a:ext cx="1327938" cy="260466"/>
              <a:chOff x="10692611" y="5304251"/>
              <a:chExt cx="1327938" cy="260466"/>
            </a:xfrm>
          </p:grpSpPr>
          <p:pic>
            <p:nvPicPr>
              <p:cNvPr id="20" name="Picture 2">
                <a:extLst>
                  <a:ext uri="{FF2B5EF4-FFF2-40B4-BE49-F238E27FC236}">
                    <a16:creationId xmlns:a16="http://schemas.microsoft.com/office/drawing/2014/main" id="{5F251E6C-56B2-4EEE-259F-0A6F4F938D4F}"/>
                  </a:ext>
                </a:extLst>
              </p:cNvPr>
              <p:cNvPicPr>
                <a:picLocks noChangeAspect="1" noChangeArrowheads="1"/>
              </p:cNvPicPr>
              <p:nvPr/>
            </p:nvPicPr>
            <p:blipFill>
              <a:blip r:embed="rId6">
                <a:extLst>
                  <a:ext uri="{96DAC541-7B7A-43D3-8B79-37D633B846F1}">
                    <asvg:svgBlip xmlns:asvg="http://schemas.microsoft.com/office/drawing/2016/SVG/main" r:embed="rId7"/>
                  </a:ext>
                </a:extLst>
              </a:blip>
              <a:srcRect l="271" r="271"/>
              <a:stretch/>
            </p:blipFill>
            <p:spPr bwMode="auto">
              <a:xfrm>
                <a:off x="10692611" y="5304251"/>
                <a:ext cx="259054" cy="260466"/>
              </a:xfrm>
              <a:prstGeom prst="rect">
                <a:avLst/>
              </a:prstGeom>
              <a:noFill/>
            </p:spPr>
          </p:pic>
          <p:sp>
            <p:nvSpPr>
              <p:cNvPr id="21" name="テキスト ボックス 20">
                <a:extLst>
                  <a:ext uri="{FF2B5EF4-FFF2-40B4-BE49-F238E27FC236}">
                    <a16:creationId xmlns:a16="http://schemas.microsoft.com/office/drawing/2014/main" id="{2795B796-42AA-2A86-F5EC-F78EB5494350}"/>
                  </a:ext>
                </a:extLst>
              </p:cNvPr>
              <p:cNvSpPr txBox="1"/>
              <p:nvPr/>
            </p:nvSpPr>
            <p:spPr>
              <a:xfrm>
                <a:off x="11006912" y="5350898"/>
                <a:ext cx="1013637" cy="175245"/>
              </a:xfrm>
              <a:prstGeom prst="rect">
                <a:avLst/>
              </a:prstGeom>
              <a:noFill/>
            </p:spPr>
            <p:txBody>
              <a:bodyPr wrap="square" lIns="36000" tIns="0" rIns="36000" bIns="0" rtlCol="0" anchor="ctr">
                <a:noAutofit/>
              </a:bodyPr>
              <a:lstStyle/>
              <a:p>
                <a:pPr>
                  <a:defRPr/>
                </a:pPr>
                <a:r>
                  <a:rPr kumimoji="0" lang="ja-JP" altLang="en-US" sz="800" kern="0">
                    <a:solidFill>
                      <a:srgbClr val="000000"/>
                    </a:solidFill>
                    <a:latin typeface="Noto Sans CJK JP"/>
                  </a:rPr>
                  <a:t>システム</a:t>
                </a:r>
                <a:r>
                  <a:rPr kumimoji="0" lang="en-US" altLang="ja-JP" sz="800" kern="0">
                    <a:solidFill>
                      <a:srgbClr val="000000"/>
                    </a:solidFill>
                    <a:latin typeface="Noto Sans CJK JP"/>
                  </a:rPr>
                  <a:t>/</a:t>
                </a:r>
                <a:r>
                  <a:rPr kumimoji="0" lang="ja-JP" altLang="en-US" sz="800" kern="0">
                    <a:solidFill>
                      <a:srgbClr val="000000"/>
                    </a:solidFill>
                    <a:latin typeface="Noto Sans CJK JP"/>
                  </a:rPr>
                  <a:t>ライブラリ</a:t>
                </a:r>
                <a:r>
                  <a:rPr kumimoji="0" lang="en-US" altLang="ja-JP" sz="800" kern="0">
                    <a:solidFill>
                      <a:srgbClr val="000000"/>
                    </a:solidFill>
                    <a:latin typeface="Noto Sans CJK JP"/>
                  </a:rPr>
                  <a:t>/SaaS</a:t>
                </a:r>
              </a:p>
            </p:txBody>
          </p:sp>
        </p:grpSp>
        <p:grpSp>
          <p:nvGrpSpPr>
            <p:cNvPr id="11" name="グループ化 10">
              <a:extLst>
                <a:ext uri="{FF2B5EF4-FFF2-40B4-BE49-F238E27FC236}">
                  <a16:creationId xmlns:a16="http://schemas.microsoft.com/office/drawing/2014/main" id="{F9A3E8B6-D4F7-9975-8B59-D2F396C06F28}"/>
                </a:ext>
              </a:extLst>
            </p:cNvPr>
            <p:cNvGrpSpPr/>
            <p:nvPr/>
          </p:nvGrpSpPr>
          <p:grpSpPr>
            <a:xfrm>
              <a:off x="10446248" y="6114053"/>
              <a:ext cx="1145906" cy="260466"/>
              <a:chOff x="10692611" y="5591252"/>
              <a:chExt cx="1145906" cy="260466"/>
            </a:xfrm>
          </p:grpSpPr>
          <p:pic>
            <p:nvPicPr>
              <p:cNvPr id="18" name="Picture 2">
                <a:extLst>
                  <a:ext uri="{FF2B5EF4-FFF2-40B4-BE49-F238E27FC236}">
                    <a16:creationId xmlns:a16="http://schemas.microsoft.com/office/drawing/2014/main" id="{2507B095-8B76-5E1D-3144-5AC3E998E4FB}"/>
                  </a:ext>
                </a:extLst>
              </p:cNvPr>
              <p:cNvPicPr>
                <a:picLocks noChangeAspect="1" noChangeArrowheads="1"/>
              </p:cNvPicPr>
              <p:nvPr/>
            </p:nvPicPr>
            <p:blipFill>
              <a:blip r:embed="rId8">
                <a:extLst>
                  <a:ext uri="{96DAC541-7B7A-43D3-8B79-37D633B846F1}">
                    <asvg:svgBlip xmlns:asvg="http://schemas.microsoft.com/office/drawing/2016/SVG/main" r:embed="rId9"/>
                  </a:ext>
                </a:extLst>
              </a:blip>
              <a:srcRect l="271" r="271"/>
              <a:stretch/>
            </p:blipFill>
            <p:spPr bwMode="auto">
              <a:xfrm>
                <a:off x="10692611" y="5591252"/>
                <a:ext cx="259054" cy="260466"/>
              </a:xfrm>
              <a:prstGeom prst="rect">
                <a:avLst/>
              </a:prstGeom>
              <a:noFill/>
              <a:extLst>
                <a:ext uri="{909E8E84-426E-40DD-AFC4-6F175D3DCCD1}">
                  <a14:hiddenFill xmlns:a14="http://schemas.microsoft.com/office/drawing/2010/main">
                    <a:solidFill>
                      <a:srgbClr val="FFFFFF"/>
                    </a:solidFill>
                  </a14:hiddenFill>
                </a:ext>
              </a:extLst>
            </p:spPr>
          </p:pic>
          <p:sp>
            <p:nvSpPr>
              <p:cNvPr id="19" name="テキスト ボックス 18">
                <a:extLst>
                  <a:ext uri="{FF2B5EF4-FFF2-40B4-BE49-F238E27FC236}">
                    <a16:creationId xmlns:a16="http://schemas.microsoft.com/office/drawing/2014/main" id="{46CA9831-E830-18A4-36D3-B1CB18F4532A}"/>
                  </a:ext>
                </a:extLst>
              </p:cNvPr>
              <p:cNvSpPr txBox="1"/>
              <p:nvPr/>
            </p:nvSpPr>
            <p:spPr>
              <a:xfrm>
                <a:off x="11006913" y="5637899"/>
                <a:ext cx="831604" cy="175245"/>
              </a:xfrm>
              <a:prstGeom prst="rect">
                <a:avLst/>
              </a:prstGeom>
              <a:noFill/>
            </p:spPr>
            <p:txBody>
              <a:bodyPr wrap="square" lIns="36000" tIns="0" rIns="36000" bIns="0" rtlCol="0" anchor="ctr">
                <a:noAutofit/>
              </a:bodyPr>
              <a:lstStyle/>
              <a:p>
                <a:pPr>
                  <a:defRPr/>
                </a:pPr>
                <a:r>
                  <a:rPr kumimoji="0" lang="ja-JP" altLang="en-US" sz="800" kern="0">
                    <a:solidFill>
                      <a:srgbClr val="000000"/>
                    </a:solidFill>
                    <a:latin typeface="Noto Sans CJK JP"/>
                  </a:rPr>
                  <a:t>アルゴリズム</a:t>
                </a:r>
                <a:endParaRPr kumimoji="0" lang="en-US" altLang="ja-JP" sz="800" kern="0">
                  <a:solidFill>
                    <a:srgbClr val="000000"/>
                  </a:solidFill>
                  <a:latin typeface="Noto Sans CJK JP"/>
                </a:endParaRPr>
              </a:p>
            </p:txBody>
          </p:sp>
        </p:grpSp>
        <p:grpSp>
          <p:nvGrpSpPr>
            <p:cNvPr id="12" name="グループ化 11">
              <a:extLst>
                <a:ext uri="{FF2B5EF4-FFF2-40B4-BE49-F238E27FC236}">
                  <a16:creationId xmlns:a16="http://schemas.microsoft.com/office/drawing/2014/main" id="{F1638528-25FC-34FB-615D-AC43812FAD07}"/>
                </a:ext>
              </a:extLst>
            </p:cNvPr>
            <p:cNvGrpSpPr/>
            <p:nvPr/>
          </p:nvGrpSpPr>
          <p:grpSpPr>
            <a:xfrm>
              <a:off x="10451931" y="5553460"/>
              <a:ext cx="1336838" cy="175245"/>
              <a:chOff x="10698295" y="5102471"/>
              <a:chExt cx="1604126" cy="175245"/>
            </a:xfrm>
          </p:grpSpPr>
          <p:sp>
            <p:nvSpPr>
              <p:cNvPr id="16" name="テキスト ボックス 15">
                <a:extLst>
                  <a:ext uri="{FF2B5EF4-FFF2-40B4-BE49-F238E27FC236}">
                    <a16:creationId xmlns:a16="http://schemas.microsoft.com/office/drawing/2014/main" id="{47DA8D64-CEC9-1F56-B9E9-35C546FFCD9E}"/>
                  </a:ext>
                </a:extLst>
              </p:cNvPr>
              <p:cNvSpPr txBox="1"/>
              <p:nvPr/>
            </p:nvSpPr>
            <p:spPr>
              <a:xfrm>
                <a:off x="11098283" y="5102471"/>
                <a:ext cx="1204138" cy="175245"/>
              </a:xfrm>
              <a:prstGeom prst="rect">
                <a:avLst/>
              </a:prstGeom>
              <a:noFill/>
            </p:spPr>
            <p:txBody>
              <a:bodyPr wrap="square" lIns="36000" tIns="0" rIns="36000" bIns="0" rtlCol="0" anchor="ctr">
                <a:noAutofit/>
              </a:bodyPr>
              <a:lstStyle/>
              <a:p>
                <a:pPr>
                  <a:defRPr/>
                </a:pPr>
                <a:r>
                  <a:rPr kumimoji="0" lang="ja-JP" altLang="en-US" sz="800" kern="0">
                    <a:solidFill>
                      <a:srgbClr val="7EBE9A"/>
                    </a:solidFill>
                    <a:latin typeface="Noto Sans CJK JP"/>
                  </a:rPr>
                  <a:t>フルスクラッチ開発</a:t>
                </a:r>
                <a:endParaRPr kumimoji="0" lang="en-US" altLang="ja-JP" sz="800" kern="0">
                  <a:solidFill>
                    <a:srgbClr val="7EBE9A"/>
                  </a:solidFill>
                  <a:latin typeface="Noto Sans CJK JP"/>
                </a:endParaRPr>
              </a:p>
            </p:txBody>
          </p:sp>
          <p:sp>
            <p:nvSpPr>
              <p:cNvPr id="17" name="四角形: 角を丸くする 16">
                <a:extLst>
                  <a:ext uri="{FF2B5EF4-FFF2-40B4-BE49-F238E27FC236}">
                    <a16:creationId xmlns:a16="http://schemas.microsoft.com/office/drawing/2014/main" id="{2C56FA59-6C77-7FC1-AD1B-BBB66647627D}"/>
                  </a:ext>
                </a:extLst>
              </p:cNvPr>
              <p:cNvSpPr/>
              <p:nvPr/>
            </p:nvSpPr>
            <p:spPr>
              <a:xfrm>
                <a:off x="10698295" y="5164955"/>
                <a:ext cx="247686" cy="75595"/>
              </a:xfrm>
              <a:prstGeom prst="roundRect">
                <a:avLst/>
              </a:prstGeom>
              <a:solidFill>
                <a:srgbClr val="7EBE9A"/>
              </a:solidFill>
              <a:ln w="25400" cap="flat" cmpd="sng" algn="ctr">
                <a:noFill/>
                <a:prstDash val="solid"/>
              </a:ln>
              <a:effectLst/>
            </p:spPr>
            <p:txBody>
              <a:bodyPr rtlCol="0" anchor="ctr"/>
              <a:lstStyle/>
              <a:p>
                <a:pPr algn="ctr">
                  <a:defRPr/>
                </a:pPr>
                <a:endParaRPr kumimoji="0" lang="ja-JP" altLang="en-US" sz="2400" kern="0">
                  <a:solidFill>
                    <a:srgbClr val="FFFFFF"/>
                  </a:solidFill>
                  <a:latin typeface="Noto Sans CJK JP"/>
                </a:endParaRPr>
              </a:p>
            </p:txBody>
          </p:sp>
        </p:grpSp>
        <p:grpSp>
          <p:nvGrpSpPr>
            <p:cNvPr id="13" name="グループ化 12">
              <a:extLst>
                <a:ext uri="{FF2B5EF4-FFF2-40B4-BE49-F238E27FC236}">
                  <a16:creationId xmlns:a16="http://schemas.microsoft.com/office/drawing/2014/main" id="{0C48BC36-F017-A7FD-EFE5-3DD062E75EDB}"/>
                </a:ext>
              </a:extLst>
            </p:cNvPr>
            <p:cNvGrpSpPr/>
            <p:nvPr/>
          </p:nvGrpSpPr>
          <p:grpSpPr>
            <a:xfrm>
              <a:off x="10451932" y="5315774"/>
              <a:ext cx="1317183" cy="175245"/>
              <a:chOff x="10698295" y="4792973"/>
              <a:chExt cx="1580541" cy="175245"/>
            </a:xfrm>
          </p:grpSpPr>
          <p:sp>
            <p:nvSpPr>
              <p:cNvPr id="14" name="テキスト ボックス 13">
                <a:extLst>
                  <a:ext uri="{FF2B5EF4-FFF2-40B4-BE49-F238E27FC236}">
                    <a16:creationId xmlns:a16="http://schemas.microsoft.com/office/drawing/2014/main" id="{5C0D0E8C-3811-F6B0-69BB-69EE7E33FC74}"/>
                  </a:ext>
                </a:extLst>
              </p:cNvPr>
              <p:cNvSpPr txBox="1"/>
              <p:nvPr/>
            </p:nvSpPr>
            <p:spPr>
              <a:xfrm>
                <a:off x="11074698" y="4792973"/>
                <a:ext cx="1204138" cy="175245"/>
              </a:xfrm>
              <a:prstGeom prst="rect">
                <a:avLst/>
              </a:prstGeom>
              <a:noFill/>
            </p:spPr>
            <p:txBody>
              <a:bodyPr wrap="square" lIns="36000" tIns="0" rIns="36000" bIns="0" rtlCol="0" anchor="ctr">
                <a:noAutofit/>
              </a:bodyPr>
              <a:lstStyle/>
              <a:p>
                <a:pPr>
                  <a:defRPr/>
                </a:pPr>
                <a:r>
                  <a:rPr kumimoji="0" lang="ja-JP" altLang="en-US" sz="800" kern="0">
                    <a:solidFill>
                      <a:srgbClr val="F3817B"/>
                    </a:solidFill>
                    <a:latin typeface="Noto Sans CJK JP"/>
                  </a:rPr>
                  <a:t>既存モジュールの改修</a:t>
                </a:r>
                <a:endParaRPr kumimoji="0" lang="en-US" altLang="ja-JP" sz="800" kern="0">
                  <a:solidFill>
                    <a:srgbClr val="F3817B"/>
                  </a:solidFill>
                  <a:latin typeface="Noto Sans CJK JP"/>
                </a:endParaRPr>
              </a:p>
            </p:txBody>
          </p:sp>
          <p:sp>
            <p:nvSpPr>
              <p:cNvPr id="15" name="四角形: 角を丸くする 14">
                <a:extLst>
                  <a:ext uri="{FF2B5EF4-FFF2-40B4-BE49-F238E27FC236}">
                    <a16:creationId xmlns:a16="http://schemas.microsoft.com/office/drawing/2014/main" id="{96FB319F-2503-4EE3-8CBC-47A4CDE48CA8}"/>
                  </a:ext>
                </a:extLst>
              </p:cNvPr>
              <p:cNvSpPr/>
              <p:nvPr/>
            </p:nvSpPr>
            <p:spPr>
              <a:xfrm>
                <a:off x="10698295" y="4848448"/>
                <a:ext cx="247686" cy="75595"/>
              </a:xfrm>
              <a:prstGeom prst="roundRect">
                <a:avLst/>
              </a:prstGeom>
              <a:solidFill>
                <a:srgbClr val="F3817B"/>
              </a:solidFill>
              <a:ln w="25400" cap="flat" cmpd="sng" algn="ctr">
                <a:noFill/>
                <a:prstDash val="solid"/>
              </a:ln>
              <a:effectLst/>
            </p:spPr>
            <p:txBody>
              <a:bodyPr rtlCol="0" anchor="ctr"/>
              <a:lstStyle/>
              <a:p>
                <a:pPr algn="ctr">
                  <a:defRPr/>
                </a:pPr>
                <a:endParaRPr kumimoji="0" lang="ja-JP" altLang="en-US" sz="2400" kern="0">
                  <a:solidFill>
                    <a:srgbClr val="FFFFFF"/>
                  </a:solidFill>
                  <a:latin typeface="Noto Sans CJK JP"/>
                </a:endParaRPr>
              </a:p>
            </p:txBody>
          </p:sp>
        </p:grpSp>
      </p:grpSp>
    </p:spTree>
    <p:extLst>
      <p:ext uri="{BB962C8B-B14F-4D97-AF65-F5344CB8AC3E}">
        <p14:creationId xmlns:p14="http://schemas.microsoft.com/office/powerpoint/2010/main" val="16672857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4AA7A839-18DF-4E64-8C75-214FAE9014E7}"/>
              </a:ext>
            </a:extLst>
          </p:cNvPr>
          <p:cNvSpPr>
            <a:spLocks noGrp="1"/>
          </p:cNvSpPr>
          <p:nvPr>
            <p:ph type="body" sz="quarter" idx="36"/>
          </p:nvPr>
        </p:nvSpPr>
        <p:spPr/>
        <p:txBody>
          <a:bodyPr/>
          <a:lstStyle/>
          <a:p>
            <a:r>
              <a:rPr lang="en-US" altLang="ja-JP"/>
              <a:t>I. </a:t>
            </a:r>
            <a:r>
              <a:rPr lang="ja-JP" altLang="en-US"/>
              <a:t>プロジェクトのビジョン</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en-US" altLang="ja-JP"/>
              <a:t>1.</a:t>
            </a:r>
            <a:r>
              <a:rPr lang="ja-JP" altLang="en-US"/>
              <a:t>解決すべき社会課題</a:t>
            </a:r>
          </a:p>
        </p:txBody>
      </p:sp>
      <p:grpSp>
        <p:nvGrpSpPr>
          <p:cNvPr id="3" name="グループ化 2">
            <a:extLst>
              <a:ext uri="{FF2B5EF4-FFF2-40B4-BE49-F238E27FC236}">
                <a16:creationId xmlns:a16="http://schemas.microsoft.com/office/drawing/2014/main" id="{E30EFB46-2249-4389-3DF3-FEAEF8770046}"/>
              </a:ext>
            </a:extLst>
          </p:cNvPr>
          <p:cNvGrpSpPr/>
          <p:nvPr/>
        </p:nvGrpSpPr>
        <p:grpSpPr>
          <a:xfrm>
            <a:off x="292100" y="1715925"/>
            <a:ext cx="11595100" cy="335510"/>
            <a:chOff x="302400" y="1990800"/>
            <a:chExt cx="11587200" cy="309600"/>
          </a:xfrm>
        </p:grpSpPr>
        <p:grpSp>
          <p:nvGrpSpPr>
            <p:cNvPr id="4" name="PanelGroup1">
              <a:extLst>
                <a:ext uri="{FF2B5EF4-FFF2-40B4-BE49-F238E27FC236}">
                  <a16:creationId xmlns:a16="http://schemas.microsoft.com/office/drawing/2014/main" id="{B6388F1D-16DF-539B-B4B9-E9558C59B409}"/>
                </a:ext>
              </a:extLst>
            </p:cNvPr>
            <p:cNvGrpSpPr/>
            <p:nvPr/>
          </p:nvGrpSpPr>
          <p:grpSpPr>
            <a:xfrm>
              <a:off x="302400" y="1990800"/>
              <a:ext cx="5761200" cy="309600"/>
              <a:chOff x="302400" y="1990800"/>
              <a:chExt cx="5761200" cy="309600"/>
            </a:xfrm>
          </p:grpSpPr>
          <p:sp>
            <p:nvSpPr>
              <p:cNvPr id="12" name="正方形/長方形 11">
                <a:extLst>
                  <a:ext uri="{FF2B5EF4-FFF2-40B4-BE49-F238E27FC236}">
                    <a16:creationId xmlns:a16="http://schemas.microsoft.com/office/drawing/2014/main" id="{ED568297-6BE7-885A-589B-885678064B91}"/>
                  </a:ext>
                </a:extLst>
              </p:cNvPr>
              <p:cNvSpPr/>
              <p:nvPr/>
            </p:nvSpPr>
            <p:spPr>
              <a:xfrm>
                <a:off x="302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解決すべき社会課題</a:t>
                </a:r>
              </a:p>
            </p:txBody>
          </p:sp>
          <p:cxnSp>
            <p:nvCxnSpPr>
              <p:cNvPr id="13" name="直線矢印コネクタ 12">
                <a:extLst>
                  <a:ext uri="{FF2B5EF4-FFF2-40B4-BE49-F238E27FC236}">
                    <a16:creationId xmlns:a16="http://schemas.microsoft.com/office/drawing/2014/main" id="{7730E106-5A99-0E88-94C7-CE870A82BC70}"/>
                  </a:ext>
                </a:extLst>
              </p:cNvPr>
              <p:cNvCxnSpPr/>
              <p:nvPr/>
            </p:nvCxnSpPr>
            <p:spPr>
              <a:xfrm>
                <a:off x="302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6" name="PanelGroup2">
              <a:extLst>
                <a:ext uri="{FF2B5EF4-FFF2-40B4-BE49-F238E27FC236}">
                  <a16:creationId xmlns:a16="http://schemas.microsoft.com/office/drawing/2014/main" id="{80216175-DE75-DF2F-D622-563F97C284CD}"/>
                </a:ext>
              </a:extLst>
            </p:cNvPr>
            <p:cNvGrpSpPr/>
            <p:nvPr/>
          </p:nvGrpSpPr>
          <p:grpSpPr>
            <a:xfrm>
              <a:off x="6128400" y="1990800"/>
              <a:ext cx="5761200" cy="309600"/>
              <a:chOff x="6128400" y="1990800"/>
              <a:chExt cx="5761200" cy="309600"/>
            </a:xfrm>
          </p:grpSpPr>
          <p:sp>
            <p:nvSpPr>
              <p:cNvPr id="8" name="正方形/長方形 7">
                <a:extLst>
                  <a:ext uri="{FF2B5EF4-FFF2-40B4-BE49-F238E27FC236}">
                    <a16:creationId xmlns:a16="http://schemas.microsoft.com/office/drawing/2014/main" id="{57C4ADC8-1E9A-3990-E8C9-6E4184E05599}"/>
                  </a:ext>
                </a:extLst>
              </p:cNvPr>
              <p:cNvSpPr/>
              <p:nvPr/>
            </p:nvSpPr>
            <p:spPr>
              <a:xfrm>
                <a:off x="6128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社会課題のイメージ</a:t>
                </a:r>
              </a:p>
            </p:txBody>
          </p:sp>
          <p:cxnSp>
            <p:nvCxnSpPr>
              <p:cNvPr id="11" name="直線矢印コネクタ 10">
                <a:extLst>
                  <a:ext uri="{FF2B5EF4-FFF2-40B4-BE49-F238E27FC236}">
                    <a16:creationId xmlns:a16="http://schemas.microsoft.com/office/drawing/2014/main" id="{2F583047-B675-76FE-6BB4-1B0EE0DEA009}"/>
                  </a:ext>
                </a:extLst>
              </p:cNvPr>
              <p:cNvCxnSpPr/>
              <p:nvPr/>
            </p:nvCxnSpPr>
            <p:spPr>
              <a:xfrm>
                <a:off x="6128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sp>
        <p:nvSpPr>
          <p:cNvPr id="14" name="正方形/長方形 13">
            <a:extLst>
              <a:ext uri="{FF2B5EF4-FFF2-40B4-BE49-F238E27FC236}">
                <a16:creationId xmlns:a16="http://schemas.microsoft.com/office/drawing/2014/main" id="{C5AE03D3-7F7A-F51B-E6D0-B212D7BC9438}"/>
              </a:ext>
            </a:extLst>
          </p:cNvPr>
          <p:cNvSpPr/>
          <p:nvPr/>
        </p:nvSpPr>
        <p:spPr>
          <a:xfrm>
            <a:off x="300778" y="2107364"/>
            <a:ext cx="5761199" cy="4348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en-US" altLang="ja-JP" sz="14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
        <p:nvSpPr>
          <p:cNvPr id="16" name="テキスト プレースホルダー 15">
            <a:extLst>
              <a:ext uri="{FF2B5EF4-FFF2-40B4-BE49-F238E27FC236}">
                <a16:creationId xmlns:a16="http://schemas.microsoft.com/office/drawing/2014/main" id="{3FFBA183-DD50-1FD4-2F5B-EB3CBBBEFB83}"/>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15" name="テキスト ボックス 14">
            <a:extLst>
              <a:ext uri="{FF2B5EF4-FFF2-40B4-BE49-F238E27FC236}">
                <a16:creationId xmlns:a16="http://schemas.microsoft.com/office/drawing/2014/main" id="{668576EA-FDEE-7E01-3BFC-7913B7EA7A76}"/>
              </a:ext>
            </a:extLst>
          </p:cNvPr>
          <p:cNvSpPr txBox="1"/>
          <p:nvPr/>
        </p:nvSpPr>
        <p:spPr>
          <a:xfrm>
            <a:off x="300778" y="2203662"/>
            <a:ext cx="5626123" cy="2504243"/>
          </a:xfrm>
          <a:prstGeom prst="rect">
            <a:avLst/>
          </a:prstGeom>
          <a:noFill/>
        </p:spPr>
        <p:txBody>
          <a:bodyPr wrap="square" anchor="t">
            <a:noAutofit/>
          </a:bodyPr>
          <a:lstStyle/>
          <a:p>
            <a:pPr marL="171450" marR="0" lvl="0" indent="-171450" algn="l" defTabSz="914400" rtl="0" eaLnBrk="1" fontAlgn="auto" latinLnBrk="0" hangingPunct="1">
              <a:lnSpc>
                <a:spcPct val="100000"/>
              </a:lnSpc>
              <a:spcBef>
                <a:spcPts val="300"/>
              </a:spcBef>
              <a:spcAft>
                <a:spcPts val="0"/>
              </a:spcAft>
              <a:buClrTx/>
              <a:buSzTx/>
              <a:buFont typeface="Wingdings" panose="05000000000000000000" pitchFamily="2" charset="2"/>
              <a:buChar char="l"/>
              <a:tabLst/>
              <a:defRPr/>
            </a:pPr>
            <a:r>
              <a:rPr lang="ja-JP" altLang="en-US" sz="1200">
                <a:solidFill>
                  <a:srgbClr val="0070C0"/>
                </a:solidFill>
                <a:latin typeface="BIZ UDPゴシック"/>
                <a:ea typeface="BIZ UDPゴシック"/>
              </a:rPr>
              <a:t>デマンド交通の運行区域外への外出時の乗換検索が分かりにくい。利用頻度の高い病院を中心とした乗換案内は作成しているが、その他の個別ニーズに対応しきれていない。</a:t>
            </a:r>
            <a:endParaRPr lang="en-US" altLang="ja-JP" sz="1200">
              <a:solidFill>
                <a:srgbClr val="0070C0"/>
              </a:solidFill>
              <a:latin typeface="BIZ UDPゴシック"/>
              <a:ea typeface="BIZ UDPゴシック"/>
            </a:endParaRPr>
          </a:p>
          <a:p>
            <a:pPr marL="171450" marR="0" lvl="0" indent="-171450" algn="l" defTabSz="914400" rtl="0" eaLnBrk="1" fontAlgn="auto" latinLnBrk="0" hangingPunct="1">
              <a:lnSpc>
                <a:spcPct val="100000"/>
              </a:lnSpc>
              <a:spcBef>
                <a:spcPts val="300"/>
              </a:spcBef>
              <a:spcAft>
                <a:spcPts val="0"/>
              </a:spcAft>
              <a:buClrTx/>
              <a:buSzTx/>
              <a:buFont typeface="Wingdings" panose="05000000000000000000" pitchFamily="2" charset="2"/>
              <a:buChar char="l"/>
              <a:tabLst/>
              <a:defRPr/>
            </a:pPr>
            <a:r>
              <a:rPr lang="ja-JP" altLang="en-US" sz="1200">
                <a:solidFill>
                  <a:srgbClr val="0070C0"/>
                </a:solidFill>
                <a:latin typeface="BIZ UDPゴシック"/>
                <a:ea typeface="BIZ UDPゴシック"/>
              </a:rPr>
              <a:t>○○交通は交通系</a:t>
            </a:r>
            <a:r>
              <a:rPr lang="en-US" altLang="ja-JP" sz="1200">
                <a:solidFill>
                  <a:srgbClr val="0070C0"/>
                </a:solidFill>
                <a:latin typeface="BIZ UDPゴシック"/>
                <a:ea typeface="BIZ UDPゴシック"/>
              </a:rPr>
              <a:t>IC</a:t>
            </a:r>
            <a:r>
              <a:rPr lang="ja-JP" altLang="en-US" sz="1200">
                <a:solidFill>
                  <a:srgbClr val="0070C0"/>
                </a:solidFill>
                <a:latin typeface="BIZ UDPゴシック"/>
                <a:ea typeface="BIZ UDPゴシック"/>
              </a:rPr>
              <a:t>カード、△△バスは回数券による高齢者割引など、バス事業者ごとに異なる割引方法であり、各申請や購入に営業所へ出向く必要があるほか、事業者を超えた路線の乗り継ぎの場合は、それぞれに申請をする必要があるなど、利用者の利便性低下を招いている。</a:t>
            </a:r>
            <a:endParaRPr lang="en-US" altLang="ja-JP" sz="1200">
              <a:solidFill>
                <a:srgbClr val="0070C0"/>
              </a:solidFill>
              <a:latin typeface="BIZ UDPゴシック"/>
              <a:ea typeface="BIZ UDPゴシック"/>
            </a:endParaRPr>
          </a:p>
          <a:p>
            <a:pPr marL="171450" marR="0" lvl="0" indent="-171450" algn="l" defTabSz="914400" rtl="0" eaLnBrk="1" fontAlgn="auto" latinLnBrk="0" hangingPunct="1">
              <a:lnSpc>
                <a:spcPct val="100000"/>
              </a:lnSpc>
              <a:spcBef>
                <a:spcPts val="300"/>
              </a:spcBef>
              <a:spcAft>
                <a:spcPts val="0"/>
              </a:spcAft>
              <a:buClrTx/>
              <a:buSzTx/>
              <a:buFont typeface="Wingdings" panose="05000000000000000000" pitchFamily="2" charset="2"/>
              <a:buChar char="l"/>
              <a:tabLst/>
              <a:defRPr/>
            </a:pPr>
            <a:r>
              <a:rPr lang="ja-JP" altLang="en-US" sz="1200">
                <a:solidFill>
                  <a:srgbClr val="0070C0"/>
                </a:solidFill>
                <a:latin typeface="BIZ UDPゴシック"/>
                <a:ea typeface="BIZ UDPゴシック"/>
              </a:rPr>
              <a:t>高齢者のタクシー利用には助成をしているが、毎年度申請が必要、とくに年度当初は申請が集中し、交通事業者及び市の事務負担が増大し、交付までに時間を要している。</a:t>
            </a:r>
            <a:endParaRPr lang="en-US" altLang="ja-JP" sz="1200">
              <a:solidFill>
                <a:srgbClr val="0070C0"/>
              </a:solidFill>
              <a:latin typeface="BIZ UDPゴシック"/>
              <a:ea typeface="BIZ UDPゴシック"/>
            </a:endParaRPr>
          </a:p>
          <a:p>
            <a:pPr marL="171450" marR="0" lvl="0" indent="-171450" algn="l" defTabSz="914400" rtl="0" eaLnBrk="1" fontAlgn="auto" latinLnBrk="0" hangingPunct="1">
              <a:lnSpc>
                <a:spcPct val="100000"/>
              </a:lnSpc>
              <a:spcBef>
                <a:spcPts val="300"/>
              </a:spcBef>
              <a:spcAft>
                <a:spcPts val="0"/>
              </a:spcAft>
              <a:buClrTx/>
              <a:buSzTx/>
              <a:buFont typeface="Wingdings" panose="05000000000000000000" pitchFamily="2" charset="2"/>
              <a:buChar char="l"/>
              <a:tabLst/>
              <a:defRPr/>
            </a:pPr>
            <a:r>
              <a:rPr lang="ja-JP" altLang="en-US" sz="1200">
                <a:solidFill>
                  <a:srgbClr val="0070C0"/>
                </a:solidFill>
                <a:latin typeface="BIZ UDPゴシック"/>
                <a:ea typeface="BIZ UDPゴシック"/>
              </a:rPr>
              <a:t>交通網再編に向けた、市民の移動実態等のデータが不足している。</a:t>
            </a:r>
            <a:endParaRPr lang="en-US" altLang="ja-JP" sz="1200">
              <a:solidFill>
                <a:srgbClr val="0070C0"/>
              </a:solidFill>
              <a:latin typeface="BIZ UDPゴシック"/>
              <a:ea typeface="BIZ UDPゴシック"/>
            </a:endParaRPr>
          </a:p>
        </p:txBody>
      </p:sp>
      <p:sp>
        <p:nvSpPr>
          <p:cNvPr id="17" name="四角形 976">
            <a:extLst>
              <a:ext uri="{FF2B5EF4-FFF2-40B4-BE49-F238E27FC236}">
                <a16:creationId xmlns:a16="http://schemas.microsoft.com/office/drawing/2014/main" id="{9CB049EA-D28B-6871-C398-C1BDC5A9CD85}"/>
              </a:ext>
            </a:extLst>
          </p:cNvPr>
          <p:cNvSpPr/>
          <p:nvPr/>
        </p:nvSpPr>
        <p:spPr>
          <a:xfrm>
            <a:off x="6217002" y="2268902"/>
            <a:ext cx="2828580" cy="358431"/>
          </a:xfrm>
          <a:prstGeom prst="rect">
            <a:avLst/>
          </a:prstGeom>
          <a:solidFill>
            <a:schemeClr val="tx1">
              <a:lumMod val="75000"/>
              <a:lumOff val="25000"/>
            </a:schemeClr>
          </a:solidFill>
        </p:spPr>
        <p:style>
          <a:lnRef idx="1">
            <a:schemeClr val="accent3"/>
          </a:lnRef>
          <a:fillRef idx="2">
            <a:schemeClr val="accent3"/>
          </a:fillRef>
          <a:effectRef idx="1">
            <a:schemeClr val="accent3"/>
          </a:effectRef>
          <a:fontRef idx="minor">
            <a:schemeClr val="dk1"/>
          </a:fontRef>
        </p:style>
        <p:txBody>
          <a:bodyPr anchor="ctr"/>
          <a:lstStyle>
            <a:defPPr>
              <a:defRPr lang="ja-JP"/>
            </a:defPPr>
            <a:lvl1pPr marL="0" algn="l" defTabSz="914400" rtl="0" eaLnBrk="1" latinLnBrk="0" hangingPunct="1">
              <a:defRPr kumimoji="1" sz="1800" kern="1200">
                <a:solidFill>
                  <a:schemeClr val="dk1"/>
                </a:solidFill>
                <a:latin typeface="+mn-lt"/>
                <a:ea typeface="+mn-ea"/>
                <a:cs typeface="+mn-cs"/>
              </a:defRPr>
            </a:lvl1pPr>
            <a:lvl2pPr marL="457200" algn="l" defTabSz="914400" rtl="0" eaLnBrk="1" latinLnBrk="0" hangingPunct="1">
              <a:defRPr kumimoji="1" sz="1800" kern="1200">
                <a:solidFill>
                  <a:schemeClr val="dk1"/>
                </a:solidFill>
                <a:latin typeface="+mn-lt"/>
                <a:ea typeface="+mn-ea"/>
                <a:cs typeface="+mn-cs"/>
              </a:defRPr>
            </a:lvl2pPr>
            <a:lvl3pPr marL="914400" algn="l" defTabSz="914400" rtl="0" eaLnBrk="1" latinLnBrk="0" hangingPunct="1">
              <a:defRPr kumimoji="1" sz="1800" kern="1200">
                <a:solidFill>
                  <a:schemeClr val="dk1"/>
                </a:solidFill>
                <a:latin typeface="+mn-lt"/>
                <a:ea typeface="+mn-ea"/>
                <a:cs typeface="+mn-cs"/>
              </a:defRPr>
            </a:lvl3pPr>
            <a:lvl4pPr marL="1371600" algn="l" defTabSz="914400" rtl="0" eaLnBrk="1" latinLnBrk="0" hangingPunct="1">
              <a:defRPr kumimoji="1" sz="1800" kern="1200">
                <a:solidFill>
                  <a:schemeClr val="dk1"/>
                </a:solidFill>
                <a:latin typeface="+mn-lt"/>
                <a:ea typeface="+mn-ea"/>
                <a:cs typeface="+mn-cs"/>
              </a:defRPr>
            </a:lvl4pPr>
            <a:lvl5pPr marL="1828800" algn="l" defTabSz="914400" rtl="0" eaLnBrk="1" latinLnBrk="0" hangingPunct="1">
              <a:defRPr kumimoji="1" sz="1800" kern="1200">
                <a:solidFill>
                  <a:schemeClr val="dk1"/>
                </a:solidFill>
                <a:latin typeface="+mn-lt"/>
                <a:ea typeface="+mn-ea"/>
                <a:cs typeface="+mn-cs"/>
              </a:defRPr>
            </a:lvl5pPr>
            <a:lvl6pPr marL="2286000" algn="l" defTabSz="914400" rtl="0" eaLnBrk="1" latinLnBrk="0" hangingPunct="1">
              <a:defRPr kumimoji="1" sz="1800" kern="1200">
                <a:solidFill>
                  <a:schemeClr val="dk1"/>
                </a:solidFill>
                <a:latin typeface="+mn-lt"/>
                <a:ea typeface="+mn-ea"/>
                <a:cs typeface="+mn-cs"/>
              </a:defRPr>
            </a:lvl6pPr>
            <a:lvl7pPr marL="2743200" algn="l" defTabSz="914400" rtl="0" eaLnBrk="1" latinLnBrk="0" hangingPunct="1">
              <a:defRPr kumimoji="1" sz="1800" kern="1200">
                <a:solidFill>
                  <a:schemeClr val="dk1"/>
                </a:solidFill>
                <a:latin typeface="+mn-lt"/>
                <a:ea typeface="+mn-ea"/>
                <a:cs typeface="+mn-cs"/>
              </a:defRPr>
            </a:lvl7pPr>
            <a:lvl8pPr marL="3200400" algn="l" defTabSz="914400" rtl="0" eaLnBrk="1" latinLnBrk="0" hangingPunct="1">
              <a:defRPr kumimoji="1" sz="1800" kern="1200">
                <a:solidFill>
                  <a:schemeClr val="dk1"/>
                </a:solidFill>
                <a:latin typeface="+mn-lt"/>
                <a:ea typeface="+mn-ea"/>
                <a:cs typeface="+mn-cs"/>
              </a:defRPr>
            </a:lvl8pPr>
            <a:lvl9pPr marL="3657600" algn="l" defTabSz="914400" rtl="0" eaLnBrk="1" latinLnBrk="0" hangingPunct="1">
              <a:defRPr kumimoji="1" sz="1800" kern="1200">
                <a:solidFill>
                  <a:schemeClr val="dk1"/>
                </a:solidFill>
                <a:latin typeface="+mn-lt"/>
                <a:ea typeface="+mn-ea"/>
                <a:cs typeface="+mn-cs"/>
              </a:defRPr>
            </a:lvl9pPr>
          </a:lstStyle>
          <a:p>
            <a:pPr algn="ctr">
              <a:defRPr lang="ja-JP" altLang="en-US"/>
            </a:pPr>
            <a:r>
              <a:rPr lang="ja-JP" altLang="en-US" sz="1050">
                <a:solidFill>
                  <a:schemeClr val="bg1"/>
                </a:solidFill>
                <a:latin typeface="Meiryo UI"/>
                <a:ea typeface="Meiryo UI"/>
              </a:rPr>
              <a:t>目的地までのデマンド交通を含む</a:t>
            </a:r>
          </a:p>
          <a:p>
            <a:pPr algn="ctr">
              <a:defRPr lang="ja-JP" altLang="en-US"/>
            </a:pPr>
            <a:r>
              <a:rPr lang="ja-JP" altLang="en-US" sz="1050">
                <a:solidFill>
                  <a:schemeClr val="bg1"/>
                </a:solidFill>
                <a:latin typeface="Meiryo UI"/>
                <a:ea typeface="Meiryo UI"/>
              </a:rPr>
              <a:t>経路検索の利便性</a:t>
            </a:r>
          </a:p>
        </p:txBody>
      </p:sp>
      <p:sp>
        <p:nvSpPr>
          <p:cNvPr id="18" name="四角形 976">
            <a:extLst>
              <a:ext uri="{FF2B5EF4-FFF2-40B4-BE49-F238E27FC236}">
                <a16:creationId xmlns:a16="http://schemas.microsoft.com/office/drawing/2014/main" id="{D91B2939-5A22-4165-783E-0B3E2F11331C}"/>
              </a:ext>
            </a:extLst>
          </p:cNvPr>
          <p:cNvSpPr/>
          <p:nvPr/>
        </p:nvSpPr>
        <p:spPr>
          <a:xfrm>
            <a:off x="9082303" y="2268902"/>
            <a:ext cx="2864204" cy="358431"/>
          </a:xfrm>
          <a:prstGeom prst="rect">
            <a:avLst/>
          </a:prstGeom>
          <a:solidFill>
            <a:schemeClr val="tx1">
              <a:lumMod val="75000"/>
              <a:lumOff val="25000"/>
            </a:schemeClr>
          </a:solidFill>
        </p:spPr>
        <p:style>
          <a:lnRef idx="1">
            <a:schemeClr val="accent3"/>
          </a:lnRef>
          <a:fillRef idx="2">
            <a:schemeClr val="accent3"/>
          </a:fillRef>
          <a:effectRef idx="1">
            <a:schemeClr val="accent3"/>
          </a:effectRef>
          <a:fontRef idx="minor">
            <a:schemeClr val="dk1"/>
          </a:fontRef>
        </p:style>
        <p:txBody>
          <a:bodyPr anchor="ctr"/>
          <a:lstStyle>
            <a:defPPr>
              <a:defRPr lang="ja-JP"/>
            </a:defPPr>
            <a:lvl1pPr marL="0" algn="l" defTabSz="914400" rtl="0" eaLnBrk="1" latinLnBrk="0" hangingPunct="1">
              <a:defRPr kumimoji="1" sz="1800" kern="1200">
                <a:solidFill>
                  <a:schemeClr val="dk1"/>
                </a:solidFill>
                <a:latin typeface="+mn-lt"/>
                <a:ea typeface="+mn-ea"/>
                <a:cs typeface="+mn-cs"/>
              </a:defRPr>
            </a:lvl1pPr>
            <a:lvl2pPr marL="457200" algn="l" defTabSz="914400" rtl="0" eaLnBrk="1" latinLnBrk="0" hangingPunct="1">
              <a:defRPr kumimoji="1" sz="1800" kern="1200">
                <a:solidFill>
                  <a:schemeClr val="dk1"/>
                </a:solidFill>
                <a:latin typeface="+mn-lt"/>
                <a:ea typeface="+mn-ea"/>
                <a:cs typeface="+mn-cs"/>
              </a:defRPr>
            </a:lvl2pPr>
            <a:lvl3pPr marL="914400" algn="l" defTabSz="914400" rtl="0" eaLnBrk="1" latinLnBrk="0" hangingPunct="1">
              <a:defRPr kumimoji="1" sz="1800" kern="1200">
                <a:solidFill>
                  <a:schemeClr val="dk1"/>
                </a:solidFill>
                <a:latin typeface="+mn-lt"/>
                <a:ea typeface="+mn-ea"/>
                <a:cs typeface="+mn-cs"/>
              </a:defRPr>
            </a:lvl3pPr>
            <a:lvl4pPr marL="1371600" algn="l" defTabSz="914400" rtl="0" eaLnBrk="1" latinLnBrk="0" hangingPunct="1">
              <a:defRPr kumimoji="1" sz="1800" kern="1200">
                <a:solidFill>
                  <a:schemeClr val="dk1"/>
                </a:solidFill>
                <a:latin typeface="+mn-lt"/>
                <a:ea typeface="+mn-ea"/>
                <a:cs typeface="+mn-cs"/>
              </a:defRPr>
            </a:lvl4pPr>
            <a:lvl5pPr marL="1828800" algn="l" defTabSz="914400" rtl="0" eaLnBrk="1" latinLnBrk="0" hangingPunct="1">
              <a:defRPr kumimoji="1" sz="1800" kern="1200">
                <a:solidFill>
                  <a:schemeClr val="dk1"/>
                </a:solidFill>
                <a:latin typeface="+mn-lt"/>
                <a:ea typeface="+mn-ea"/>
                <a:cs typeface="+mn-cs"/>
              </a:defRPr>
            </a:lvl5pPr>
            <a:lvl6pPr marL="2286000" algn="l" defTabSz="914400" rtl="0" eaLnBrk="1" latinLnBrk="0" hangingPunct="1">
              <a:defRPr kumimoji="1" sz="1800" kern="1200">
                <a:solidFill>
                  <a:schemeClr val="dk1"/>
                </a:solidFill>
                <a:latin typeface="+mn-lt"/>
                <a:ea typeface="+mn-ea"/>
                <a:cs typeface="+mn-cs"/>
              </a:defRPr>
            </a:lvl6pPr>
            <a:lvl7pPr marL="2743200" algn="l" defTabSz="914400" rtl="0" eaLnBrk="1" latinLnBrk="0" hangingPunct="1">
              <a:defRPr kumimoji="1" sz="1800" kern="1200">
                <a:solidFill>
                  <a:schemeClr val="dk1"/>
                </a:solidFill>
                <a:latin typeface="+mn-lt"/>
                <a:ea typeface="+mn-ea"/>
                <a:cs typeface="+mn-cs"/>
              </a:defRPr>
            </a:lvl7pPr>
            <a:lvl8pPr marL="3200400" algn="l" defTabSz="914400" rtl="0" eaLnBrk="1" latinLnBrk="0" hangingPunct="1">
              <a:defRPr kumimoji="1" sz="1800" kern="1200">
                <a:solidFill>
                  <a:schemeClr val="dk1"/>
                </a:solidFill>
                <a:latin typeface="+mn-lt"/>
                <a:ea typeface="+mn-ea"/>
                <a:cs typeface="+mn-cs"/>
              </a:defRPr>
            </a:lvl8pPr>
            <a:lvl9pPr marL="3657600" algn="l" defTabSz="914400" rtl="0" eaLnBrk="1" latinLnBrk="0" hangingPunct="1">
              <a:defRPr kumimoji="1" sz="1800" kern="1200">
                <a:solidFill>
                  <a:schemeClr val="dk1"/>
                </a:solidFill>
                <a:latin typeface="+mn-lt"/>
                <a:ea typeface="+mn-ea"/>
                <a:cs typeface="+mn-cs"/>
              </a:defRPr>
            </a:lvl9pPr>
          </a:lstStyle>
          <a:p>
            <a:pPr algn="ctr">
              <a:defRPr lang="ja-JP" altLang="en-US"/>
            </a:pPr>
            <a:r>
              <a:rPr lang="ja-JP" altLang="en-US" sz="1050">
                <a:solidFill>
                  <a:schemeClr val="bg1"/>
                </a:solidFill>
                <a:latin typeface="Meiryo UI"/>
                <a:ea typeface="Meiryo UI"/>
              </a:rPr>
              <a:t>目的地までのデマンド交通を含む</a:t>
            </a:r>
          </a:p>
          <a:p>
            <a:pPr algn="ctr">
              <a:defRPr lang="ja-JP" altLang="en-US"/>
            </a:pPr>
            <a:r>
              <a:rPr lang="ja-JP" altLang="en-US" sz="1050">
                <a:solidFill>
                  <a:schemeClr val="bg1"/>
                </a:solidFill>
                <a:latin typeface="Meiryo UI"/>
                <a:ea typeface="Meiryo UI"/>
              </a:rPr>
              <a:t>経路検索の利便性</a:t>
            </a:r>
          </a:p>
        </p:txBody>
      </p:sp>
      <p:sp>
        <p:nvSpPr>
          <p:cNvPr id="19" name="図形 399">
            <a:extLst>
              <a:ext uri="{FF2B5EF4-FFF2-40B4-BE49-F238E27FC236}">
                <a16:creationId xmlns:a16="http://schemas.microsoft.com/office/drawing/2014/main" id="{02558BF2-3EDA-7025-0ECE-C89ECFB64967}"/>
              </a:ext>
            </a:extLst>
          </p:cNvPr>
          <p:cNvSpPr/>
          <p:nvPr/>
        </p:nvSpPr>
        <p:spPr>
          <a:xfrm>
            <a:off x="6789542" y="2719828"/>
            <a:ext cx="2218330" cy="813117"/>
          </a:xfrm>
          <a:prstGeom prst="wedgeRoundRectCallout">
            <a:avLst>
              <a:gd name="adj1" fmla="val -57354"/>
              <a:gd name="adj2" fmla="val -26368"/>
              <a:gd name="adj3" fmla="val 16667"/>
            </a:avLst>
          </a:prstGeom>
          <a:solidFill>
            <a:schemeClr val="bg1">
              <a:lumMod val="8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marL="171450" indent="-171450">
              <a:buFont typeface="Arial"/>
              <a:buChar char="•"/>
              <a:defRPr lang="ja-JP" altLang="en-US"/>
            </a:pPr>
            <a:r>
              <a:rPr lang="ja-JP" altLang="en-US" sz="800">
                <a:solidFill>
                  <a:schemeClr val="tx1"/>
                </a:solidFill>
                <a:latin typeface="Meiryo UI"/>
                <a:ea typeface="Meiryo UI"/>
              </a:rPr>
              <a:t>目的地は運行区域外だから、直接行けない</a:t>
            </a:r>
            <a:endParaRPr sz="2400"/>
          </a:p>
          <a:p>
            <a:pPr marL="171450" indent="-171450">
              <a:buFont typeface="Arial"/>
              <a:buChar char="•"/>
              <a:defRPr lang="ja-JP" altLang="en-US"/>
            </a:pPr>
            <a:r>
              <a:rPr lang="ja-JP" altLang="en-US" sz="800">
                <a:solidFill>
                  <a:schemeClr val="tx1"/>
                </a:solidFill>
                <a:latin typeface="Meiryo UI"/>
                <a:ea typeface="Meiryo UI"/>
              </a:rPr>
              <a:t>どうやって行けば良いのか分からない</a:t>
            </a:r>
            <a:endParaRPr sz="2400"/>
          </a:p>
          <a:p>
            <a:pPr marL="171450" indent="-171450">
              <a:buFont typeface="Arial"/>
              <a:buChar char="•"/>
              <a:defRPr lang="ja-JP" altLang="en-US"/>
            </a:pPr>
            <a:r>
              <a:rPr lang="ja-JP" altLang="en-US" sz="800">
                <a:solidFill>
                  <a:schemeClr val="tx1"/>
                </a:solidFill>
                <a:latin typeface="Meiryo UI"/>
                <a:ea typeface="Meiryo UI"/>
              </a:rPr>
              <a:t>乗り継ぎ方法や時間が分からない</a:t>
            </a:r>
            <a:endParaRPr sz="2400"/>
          </a:p>
          <a:p>
            <a:pPr marL="171450" indent="-171450">
              <a:buFont typeface="Arial"/>
              <a:buChar char="•"/>
              <a:defRPr lang="ja-JP" altLang="en-US"/>
            </a:pPr>
            <a:r>
              <a:rPr lang="ja-JP" altLang="en-US" sz="800">
                <a:solidFill>
                  <a:schemeClr val="tx1"/>
                </a:solidFill>
                <a:latin typeface="Meiryo UI"/>
                <a:ea typeface="Meiryo UI"/>
              </a:rPr>
              <a:t>乗換案内を作成しても、それぞれニーズが違うため、補いきれない</a:t>
            </a:r>
            <a:endParaRPr sz="2400"/>
          </a:p>
        </p:txBody>
      </p:sp>
      <p:pic>
        <p:nvPicPr>
          <p:cNvPr id="20" name="図 19">
            <a:extLst>
              <a:ext uri="{FF2B5EF4-FFF2-40B4-BE49-F238E27FC236}">
                <a16:creationId xmlns:a16="http://schemas.microsoft.com/office/drawing/2014/main" id="{F08B9873-A595-97A3-E2F1-005F23AA848A}"/>
              </a:ext>
            </a:extLst>
          </p:cNvPr>
          <p:cNvPicPr>
            <a:picLocks noChangeAspect="1"/>
          </p:cNvPicPr>
          <p:nvPr/>
        </p:nvPicPr>
        <p:blipFill>
          <a:blip r:embed="rId5"/>
          <a:stretch>
            <a:fillRect/>
          </a:stretch>
        </p:blipFill>
        <p:spPr>
          <a:xfrm>
            <a:off x="6217002" y="2702894"/>
            <a:ext cx="530907" cy="628465"/>
          </a:xfrm>
          <a:prstGeom prst="rect">
            <a:avLst/>
          </a:prstGeom>
        </p:spPr>
      </p:pic>
      <p:sp>
        <p:nvSpPr>
          <p:cNvPr id="21" name="図形 418">
            <a:extLst>
              <a:ext uri="{FF2B5EF4-FFF2-40B4-BE49-F238E27FC236}">
                <a16:creationId xmlns:a16="http://schemas.microsoft.com/office/drawing/2014/main" id="{FBFBD771-18DC-7EA0-6AD9-BB8AC11C534C}"/>
              </a:ext>
            </a:extLst>
          </p:cNvPr>
          <p:cNvSpPr/>
          <p:nvPr/>
        </p:nvSpPr>
        <p:spPr>
          <a:xfrm>
            <a:off x="9339925" y="2725682"/>
            <a:ext cx="2242475" cy="919318"/>
          </a:xfrm>
          <a:prstGeom prst="wedgeRoundRectCallout">
            <a:avLst>
              <a:gd name="adj1" fmla="val 54518"/>
              <a:gd name="adj2" fmla="val -41508"/>
              <a:gd name="adj3" fmla="val 16667"/>
            </a:avLst>
          </a:prstGeom>
          <a:solidFill>
            <a:schemeClr val="bg1">
              <a:lumMod val="8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anchor="ctr" anchorCtr="0"/>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marL="171450" indent="-171450">
              <a:buFont typeface="Arial" panose="020B0604020202020204" pitchFamily="34" charset="0"/>
              <a:buChar char="•"/>
              <a:defRPr lang="ja-JP" altLang="en-US"/>
            </a:pPr>
            <a:r>
              <a:rPr lang="ja-JP" altLang="en-US" sz="800">
                <a:solidFill>
                  <a:schemeClr val="tx1"/>
                </a:solidFill>
                <a:latin typeface="Meiryo UI"/>
                <a:ea typeface="Meiryo UI"/>
              </a:rPr>
              <a:t>色々な制度があって、条件も違うし、良く分からない</a:t>
            </a:r>
            <a:endParaRPr sz="2400"/>
          </a:p>
          <a:p>
            <a:pPr marL="171450" indent="-171450">
              <a:buFont typeface="Arial" panose="020B0604020202020204" pitchFamily="34" charset="0"/>
              <a:buChar char="•"/>
              <a:defRPr lang="ja-JP" altLang="en-US"/>
            </a:pPr>
            <a:r>
              <a:rPr lang="ja-JP" altLang="en-US" sz="800">
                <a:solidFill>
                  <a:schemeClr val="tx1"/>
                </a:solidFill>
                <a:latin typeface="Meiryo UI"/>
                <a:ea typeface="Meiryo UI"/>
              </a:rPr>
              <a:t>毎年申請するのは面倒</a:t>
            </a:r>
            <a:endParaRPr sz="2400"/>
          </a:p>
          <a:p>
            <a:pPr marL="171450" indent="-171450">
              <a:buFont typeface="Arial" panose="020B0604020202020204" pitchFamily="34" charset="0"/>
              <a:buChar char="•"/>
              <a:defRPr lang="ja-JP" altLang="en-US"/>
            </a:pPr>
            <a:r>
              <a:rPr lang="ja-JP" altLang="en-US" sz="800">
                <a:solidFill>
                  <a:schemeClr val="tx1"/>
                </a:solidFill>
                <a:latin typeface="Meiryo UI"/>
                <a:ea typeface="Meiryo UI"/>
              </a:rPr>
              <a:t>運転免許証を返納した人を対象とした公共交通の利用助成を行っているが、返納後の生活不安を理由として返納できない人がいる</a:t>
            </a:r>
          </a:p>
        </p:txBody>
      </p:sp>
      <p:pic>
        <p:nvPicPr>
          <p:cNvPr id="22" name="図 21">
            <a:extLst>
              <a:ext uri="{FF2B5EF4-FFF2-40B4-BE49-F238E27FC236}">
                <a16:creationId xmlns:a16="http://schemas.microsoft.com/office/drawing/2014/main" id="{FDF8B75C-A5FE-721C-F10A-C2FF03DB1DD7}"/>
              </a:ext>
            </a:extLst>
          </p:cNvPr>
          <p:cNvPicPr>
            <a:picLocks noChangeAspect="1"/>
          </p:cNvPicPr>
          <p:nvPr/>
        </p:nvPicPr>
        <p:blipFill>
          <a:blip r:embed="rId6"/>
          <a:stretch>
            <a:fillRect/>
          </a:stretch>
        </p:blipFill>
        <p:spPr>
          <a:xfrm>
            <a:off x="9136206" y="3220595"/>
            <a:ext cx="385677" cy="392627"/>
          </a:xfrm>
          <a:prstGeom prst="rect">
            <a:avLst/>
          </a:prstGeom>
        </p:spPr>
      </p:pic>
      <p:pic>
        <p:nvPicPr>
          <p:cNvPr id="23" name="図 22">
            <a:extLst>
              <a:ext uri="{FF2B5EF4-FFF2-40B4-BE49-F238E27FC236}">
                <a16:creationId xmlns:a16="http://schemas.microsoft.com/office/drawing/2014/main" id="{19B86BB0-C810-ACDA-84A7-1423ACE08B6D}"/>
              </a:ext>
            </a:extLst>
          </p:cNvPr>
          <p:cNvPicPr>
            <a:picLocks noChangeAspect="1"/>
          </p:cNvPicPr>
          <p:nvPr/>
        </p:nvPicPr>
        <p:blipFill>
          <a:blip r:embed="rId7"/>
          <a:stretch>
            <a:fillRect/>
          </a:stretch>
        </p:blipFill>
        <p:spPr>
          <a:xfrm>
            <a:off x="11599888" y="2725682"/>
            <a:ext cx="352400" cy="424380"/>
          </a:xfrm>
          <a:prstGeom prst="rect">
            <a:avLst/>
          </a:prstGeom>
        </p:spPr>
      </p:pic>
      <p:grpSp>
        <p:nvGrpSpPr>
          <p:cNvPr id="24" name="グループ 982">
            <a:extLst>
              <a:ext uri="{FF2B5EF4-FFF2-40B4-BE49-F238E27FC236}">
                <a16:creationId xmlns:a16="http://schemas.microsoft.com/office/drawing/2014/main" id="{686DFB0C-C623-8B17-FEDE-424CD4686420}"/>
              </a:ext>
            </a:extLst>
          </p:cNvPr>
          <p:cNvGrpSpPr/>
          <p:nvPr/>
        </p:nvGrpSpPr>
        <p:grpSpPr>
          <a:xfrm>
            <a:off x="6428901" y="3589365"/>
            <a:ext cx="2417767" cy="1265760"/>
            <a:chOff x="685627" y="3494973"/>
            <a:chExt cx="3767698" cy="2280563"/>
          </a:xfrm>
        </p:grpSpPr>
        <p:pic>
          <p:nvPicPr>
            <p:cNvPr id="25" name="図 24">
              <a:extLst>
                <a:ext uri="{FF2B5EF4-FFF2-40B4-BE49-F238E27FC236}">
                  <a16:creationId xmlns:a16="http://schemas.microsoft.com/office/drawing/2014/main" id="{D8086974-7749-B75F-2E25-1848E7CE38E3}"/>
                </a:ext>
              </a:extLst>
            </p:cNvPr>
            <p:cNvPicPr>
              <a:picLocks noChangeAspect="1"/>
            </p:cNvPicPr>
            <p:nvPr/>
          </p:nvPicPr>
          <p:blipFill>
            <a:blip r:embed="rId8">
              <a:duotone>
                <a:schemeClr val="accent6">
                  <a:shade val="45000"/>
                  <a:satMod val="135000"/>
                </a:schemeClr>
                <a:prstClr val="white"/>
              </a:duotone>
            </a:blip>
            <a:stretch>
              <a:fillRect/>
            </a:stretch>
          </p:blipFill>
          <p:spPr>
            <a:xfrm>
              <a:off x="688147" y="3494973"/>
              <a:ext cx="3765178" cy="2280563"/>
            </a:xfrm>
            <a:prstGeom prst="rect">
              <a:avLst/>
            </a:prstGeom>
            <a:ln/>
            <a:effectLst/>
          </p:spPr>
        </p:pic>
        <p:sp>
          <p:nvSpPr>
            <p:cNvPr id="26" name="楕円 25">
              <a:extLst>
                <a:ext uri="{FF2B5EF4-FFF2-40B4-BE49-F238E27FC236}">
                  <a16:creationId xmlns:a16="http://schemas.microsoft.com/office/drawing/2014/main" id="{1D38DAB1-96DD-7D1F-B90C-0624BE546C7C}"/>
                </a:ext>
              </a:extLst>
            </p:cNvPr>
            <p:cNvSpPr/>
            <p:nvPr/>
          </p:nvSpPr>
          <p:spPr>
            <a:xfrm>
              <a:off x="1109314" y="3600819"/>
              <a:ext cx="1837794" cy="827093"/>
            </a:xfrm>
            <a:prstGeom prst="ellipse">
              <a:avLst/>
            </a:prstGeom>
            <a:noFill/>
            <a:ln w="19050" cap="flat" cmpd="sng" algn="ctr">
              <a:solidFill>
                <a:srgbClr val="FF5757"/>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defRPr lang="ja-JP" altLang="en-US"/>
              </a:pPr>
              <a:r>
                <a:rPr lang="ja-JP" altLang="en-US" sz="600">
                  <a:solidFill>
                    <a:schemeClr val="accent1">
                      <a:lumMod val="50000"/>
                    </a:schemeClr>
                  </a:solidFill>
                  <a:latin typeface="Meiryo UI"/>
                  <a:ea typeface="Meiryo UI"/>
                </a:rPr>
                <a:t>デマンド</a:t>
              </a:r>
            </a:p>
            <a:p>
              <a:pPr algn="ctr">
                <a:defRPr lang="ja-JP" altLang="en-US"/>
              </a:pPr>
              <a:r>
                <a:rPr lang="ja-JP" altLang="en-US" sz="600">
                  <a:solidFill>
                    <a:schemeClr val="accent1">
                      <a:lumMod val="50000"/>
                    </a:schemeClr>
                  </a:solidFill>
                  <a:latin typeface="Meiryo UI"/>
                  <a:ea typeface="Meiryo UI"/>
                </a:rPr>
                <a:t>運行エリアＢ</a:t>
              </a:r>
            </a:p>
            <a:p>
              <a:pPr algn="ctr">
                <a:defRPr lang="ja-JP" altLang="en-US"/>
              </a:pPr>
              <a:endParaRPr lang="ja-JP" altLang="en-US" sz="600">
                <a:solidFill>
                  <a:schemeClr val="accent1">
                    <a:lumMod val="50000"/>
                  </a:schemeClr>
                </a:solidFill>
                <a:latin typeface="Meiryo UI"/>
                <a:ea typeface="Meiryo UI"/>
              </a:endParaRPr>
            </a:p>
          </p:txBody>
        </p:sp>
        <p:pic>
          <p:nvPicPr>
            <p:cNvPr id="27" name="図 26">
              <a:extLst>
                <a:ext uri="{FF2B5EF4-FFF2-40B4-BE49-F238E27FC236}">
                  <a16:creationId xmlns:a16="http://schemas.microsoft.com/office/drawing/2014/main" id="{4516B0E5-388C-2FD1-63EE-8B810E73ED71}"/>
                </a:ext>
              </a:extLst>
            </p:cNvPr>
            <p:cNvPicPr>
              <a:picLocks noChangeAspect="1"/>
            </p:cNvPicPr>
            <p:nvPr/>
          </p:nvPicPr>
          <p:blipFill>
            <a:blip r:embed="rId9"/>
            <a:stretch>
              <a:fillRect/>
            </a:stretch>
          </p:blipFill>
          <p:spPr>
            <a:xfrm>
              <a:off x="1387723" y="4218799"/>
              <a:ext cx="319543" cy="280235"/>
            </a:xfrm>
            <a:prstGeom prst="rect">
              <a:avLst/>
            </a:prstGeom>
          </p:spPr>
        </p:pic>
        <p:sp>
          <p:nvSpPr>
            <p:cNvPr id="28" name="楕円 27">
              <a:extLst>
                <a:ext uri="{FF2B5EF4-FFF2-40B4-BE49-F238E27FC236}">
                  <a16:creationId xmlns:a16="http://schemas.microsoft.com/office/drawing/2014/main" id="{9B1DB169-59DF-7705-4C89-16425D1EDB43}"/>
                </a:ext>
              </a:extLst>
            </p:cNvPr>
            <p:cNvSpPr/>
            <p:nvPr/>
          </p:nvSpPr>
          <p:spPr>
            <a:xfrm>
              <a:off x="2176926" y="4705952"/>
              <a:ext cx="969190" cy="961632"/>
            </a:xfrm>
            <a:prstGeom prst="ellipse">
              <a:avLst/>
            </a:prstGeom>
            <a:noFill/>
            <a:ln w="19050" cap="flat" cmpd="sng" algn="ctr">
              <a:solidFill>
                <a:srgbClr val="FF5757"/>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defRPr lang="ja-JP" altLang="en-US"/>
              </a:pPr>
              <a:r>
                <a:rPr lang="ja-JP" altLang="en-US" sz="600">
                  <a:solidFill>
                    <a:schemeClr val="accent1">
                      <a:lumMod val="50000"/>
                    </a:schemeClr>
                  </a:solidFill>
                  <a:latin typeface="Meiryo UI"/>
                  <a:ea typeface="Meiryo UI"/>
                </a:rPr>
                <a:t>デマンド</a:t>
              </a:r>
            </a:p>
            <a:p>
              <a:pPr algn="ctr">
                <a:defRPr lang="ja-JP" altLang="en-US"/>
              </a:pPr>
              <a:r>
                <a:rPr lang="ja-JP" altLang="en-US" sz="600">
                  <a:solidFill>
                    <a:schemeClr val="accent1">
                      <a:lumMod val="50000"/>
                    </a:schemeClr>
                  </a:solidFill>
                  <a:latin typeface="Meiryo UI"/>
                  <a:ea typeface="Meiryo UI"/>
                </a:rPr>
                <a:t>運行エリアＡ</a:t>
              </a:r>
            </a:p>
            <a:p>
              <a:pPr algn="ctr">
                <a:defRPr lang="ja-JP" altLang="en-US"/>
              </a:pPr>
              <a:endParaRPr lang="ja-JP" altLang="en-US" sz="600">
                <a:solidFill>
                  <a:schemeClr val="accent1">
                    <a:lumMod val="50000"/>
                  </a:schemeClr>
                </a:solidFill>
                <a:latin typeface="Meiryo UI"/>
                <a:ea typeface="Meiryo UI"/>
              </a:endParaRPr>
            </a:p>
          </p:txBody>
        </p:sp>
        <p:pic>
          <p:nvPicPr>
            <p:cNvPr id="29" name="図 28">
              <a:extLst>
                <a:ext uri="{FF2B5EF4-FFF2-40B4-BE49-F238E27FC236}">
                  <a16:creationId xmlns:a16="http://schemas.microsoft.com/office/drawing/2014/main" id="{D68CA6EF-1347-4371-2BFE-550A2DB9F963}"/>
                </a:ext>
              </a:extLst>
            </p:cNvPr>
            <p:cNvPicPr>
              <a:picLocks noChangeAspect="1"/>
            </p:cNvPicPr>
            <p:nvPr/>
          </p:nvPicPr>
          <p:blipFill>
            <a:blip r:embed="rId10"/>
            <a:stretch>
              <a:fillRect/>
            </a:stretch>
          </p:blipFill>
          <p:spPr>
            <a:xfrm>
              <a:off x="2232230" y="4427913"/>
              <a:ext cx="263670" cy="332634"/>
            </a:xfrm>
            <a:prstGeom prst="rect">
              <a:avLst/>
            </a:prstGeom>
          </p:spPr>
        </p:pic>
        <p:pic>
          <p:nvPicPr>
            <p:cNvPr id="30" name="図 29">
              <a:extLst>
                <a:ext uri="{FF2B5EF4-FFF2-40B4-BE49-F238E27FC236}">
                  <a16:creationId xmlns:a16="http://schemas.microsoft.com/office/drawing/2014/main" id="{06579AA3-3295-8DA0-A1C0-E5329AFEE840}"/>
                </a:ext>
              </a:extLst>
            </p:cNvPr>
            <p:cNvPicPr>
              <a:picLocks noChangeAspect="1"/>
            </p:cNvPicPr>
            <p:nvPr/>
          </p:nvPicPr>
          <p:blipFill>
            <a:blip r:embed="rId11"/>
            <a:stretch>
              <a:fillRect/>
            </a:stretch>
          </p:blipFill>
          <p:spPr>
            <a:xfrm rot="1260000">
              <a:off x="2886532" y="4774971"/>
              <a:ext cx="442395" cy="241314"/>
            </a:xfrm>
            <a:prstGeom prst="rect">
              <a:avLst/>
            </a:prstGeom>
          </p:spPr>
        </p:pic>
        <p:pic>
          <p:nvPicPr>
            <p:cNvPr id="31" name="図 30">
              <a:extLst>
                <a:ext uri="{FF2B5EF4-FFF2-40B4-BE49-F238E27FC236}">
                  <a16:creationId xmlns:a16="http://schemas.microsoft.com/office/drawing/2014/main" id="{A5B5361E-8DE7-3E8A-2152-B1E6FD80039C}"/>
                </a:ext>
              </a:extLst>
            </p:cNvPr>
            <p:cNvPicPr>
              <a:picLocks noChangeAspect="1"/>
            </p:cNvPicPr>
            <p:nvPr/>
          </p:nvPicPr>
          <p:blipFill>
            <a:blip r:embed="rId12"/>
            <a:stretch>
              <a:fillRect/>
            </a:stretch>
          </p:blipFill>
          <p:spPr>
            <a:xfrm flipH="1">
              <a:off x="1043899" y="3735171"/>
              <a:ext cx="450990" cy="246003"/>
            </a:xfrm>
            <a:prstGeom prst="rect">
              <a:avLst/>
            </a:prstGeom>
          </p:spPr>
        </p:pic>
        <p:pic>
          <p:nvPicPr>
            <p:cNvPr id="32" name="図 31">
              <a:extLst>
                <a:ext uri="{FF2B5EF4-FFF2-40B4-BE49-F238E27FC236}">
                  <a16:creationId xmlns:a16="http://schemas.microsoft.com/office/drawing/2014/main" id="{7ED8AE22-77A3-3C5B-BD73-65CB68E83860}"/>
                </a:ext>
              </a:extLst>
            </p:cNvPr>
            <p:cNvPicPr>
              <a:picLocks noChangeAspect="1"/>
            </p:cNvPicPr>
            <p:nvPr/>
          </p:nvPicPr>
          <p:blipFill>
            <a:blip r:embed="rId13"/>
            <a:stretch>
              <a:fillRect/>
            </a:stretch>
          </p:blipFill>
          <p:spPr>
            <a:xfrm>
              <a:off x="2692358" y="5230931"/>
              <a:ext cx="352989" cy="438274"/>
            </a:xfrm>
            <a:prstGeom prst="rect">
              <a:avLst/>
            </a:prstGeom>
          </p:spPr>
        </p:pic>
        <p:sp>
          <p:nvSpPr>
            <p:cNvPr id="33" name="楕円 32">
              <a:extLst>
                <a:ext uri="{FF2B5EF4-FFF2-40B4-BE49-F238E27FC236}">
                  <a16:creationId xmlns:a16="http://schemas.microsoft.com/office/drawing/2014/main" id="{25C46C6B-F9FE-9E50-E54C-41F861C18348}"/>
                </a:ext>
              </a:extLst>
            </p:cNvPr>
            <p:cNvSpPr/>
            <p:nvPr/>
          </p:nvSpPr>
          <p:spPr>
            <a:xfrm>
              <a:off x="1867600" y="4160996"/>
              <a:ext cx="1078524" cy="679363"/>
            </a:xfrm>
            <a:prstGeom prst="ellipse">
              <a:avLst/>
            </a:prstGeom>
            <a:noFill/>
            <a:ln w="28575" cap="flat" cmpd="sng" algn="ctr">
              <a:solidFill>
                <a:schemeClr val="accent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defRPr lang="ja-JP" altLang="en-US"/>
              </a:pPr>
              <a:endParaRPr lang="ja-JP" altLang="en-US" sz="600"/>
            </a:p>
          </p:txBody>
        </p:sp>
        <p:pic>
          <p:nvPicPr>
            <p:cNvPr id="34" name="図 33">
              <a:extLst>
                <a:ext uri="{FF2B5EF4-FFF2-40B4-BE49-F238E27FC236}">
                  <a16:creationId xmlns:a16="http://schemas.microsoft.com/office/drawing/2014/main" id="{B6947A11-F9FA-1202-D780-EE6B51BFB0B5}"/>
                </a:ext>
              </a:extLst>
            </p:cNvPr>
            <p:cNvPicPr>
              <a:picLocks noChangeAspect="1"/>
            </p:cNvPicPr>
            <p:nvPr/>
          </p:nvPicPr>
          <p:blipFill>
            <a:blip r:embed="rId14"/>
            <a:stretch>
              <a:fillRect/>
            </a:stretch>
          </p:blipFill>
          <p:spPr>
            <a:xfrm>
              <a:off x="2495901" y="4021038"/>
              <a:ext cx="300989" cy="279914"/>
            </a:xfrm>
            <a:prstGeom prst="rect">
              <a:avLst/>
            </a:prstGeom>
          </p:spPr>
        </p:pic>
        <p:pic>
          <p:nvPicPr>
            <p:cNvPr id="35" name="図 34">
              <a:extLst>
                <a:ext uri="{FF2B5EF4-FFF2-40B4-BE49-F238E27FC236}">
                  <a16:creationId xmlns:a16="http://schemas.microsoft.com/office/drawing/2014/main" id="{67D9B4DD-F543-A820-5BF9-14D81B1E14C2}"/>
                </a:ext>
              </a:extLst>
            </p:cNvPr>
            <p:cNvPicPr>
              <a:picLocks noChangeAspect="1"/>
            </p:cNvPicPr>
            <p:nvPr/>
          </p:nvPicPr>
          <p:blipFill>
            <a:blip r:embed="rId15"/>
            <a:stretch>
              <a:fillRect/>
            </a:stretch>
          </p:blipFill>
          <p:spPr>
            <a:xfrm>
              <a:off x="2692421" y="4315726"/>
              <a:ext cx="456603" cy="248147"/>
            </a:xfrm>
            <a:prstGeom prst="rect">
              <a:avLst/>
            </a:prstGeom>
          </p:spPr>
        </p:pic>
        <p:pic>
          <p:nvPicPr>
            <p:cNvPr id="36" name="図 35">
              <a:extLst>
                <a:ext uri="{FF2B5EF4-FFF2-40B4-BE49-F238E27FC236}">
                  <a16:creationId xmlns:a16="http://schemas.microsoft.com/office/drawing/2014/main" id="{1223F50B-5FA4-75CA-51DB-2FB21EA45BEA}"/>
                </a:ext>
              </a:extLst>
            </p:cNvPr>
            <p:cNvPicPr>
              <a:picLocks noChangeAspect="1"/>
            </p:cNvPicPr>
            <p:nvPr/>
          </p:nvPicPr>
          <p:blipFill>
            <a:blip r:embed="rId16"/>
            <a:stretch>
              <a:fillRect/>
            </a:stretch>
          </p:blipFill>
          <p:spPr>
            <a:xfrm>
              <a:off x="1529271" y="4917613"/>
              <a:ext cx="338329" cy="269078"/>
            </a:xfrm>
            <a:prstGeom prst="rect">
              <a:avLst/>
            </a:prstGeom>
          </p:spPr>
        </p:pic>
        <p:pic>
          <p:nvPicPr>
            <p:cNvPr id="37" name="図 36">
              <a:extLst>
                <a:ext uri="{FF2B5EF4-FFF2-40B4-BE49-F238E27FC236}">
                  <a16:creationId xmlns:a16="http://schemas.microsoft.com/office/drawing/2014/main" id="{622BE5ED-FF9F-E45B-EF8F-1F647BEB23A7}"/>
                </a:ext>
              </a:extLst>
            </p:cNvPr>
            <p:cNvPicPr>
              <a:picLocks noChangeAspect="1"/>
            </p:cNvPicPr>
            <p:nvPr/>
          </p:nvPicPr>
          <p:blipFill>
            <a:blip r:embed="rId17"/>
            <a:stretch>
              <a:fillRect/>
            </a:stretch>
          </p:blipFill>
          <p:spPr>
            <a:xfrm>
              <a:off x="685627" y="4029162"/>
              <a:ext cx="582219" cy="674529"/>
            </a:xfrm>
            <a:prstGeom prst="rect">
              <a:avLst/>
            </a:prstGeom>
            <a:ln>
              <a:solidFill>
                <a:schemeClr val="accent1"/>
              </a:solidFill>
            </a:ln>
          </p:spPr>
        </p:pic>
        <p:sp>
          <p:nvSpPr>
            <p:cNvPr id="38" name="図形 423">
              <a:extLst>
                <a:ext uri="{FF2B5EF4-FFF2-40B4-BE49-F238E27FC236}">
                  <a16:creationId xmlns:a16="http://schemas.microsoft.com/office/drawing/2014/main" id="{24B41715-EF6C-7100-1503-B5FE68BDF0B6}"/>
                </a:ext>
              </a:extLst>
            </p:cNvPr>
            <p:cNvSpPr/>
            <p:nvPr/>
          </p:nvSpPr>
          <p:spPr>
            <a:xfrm>
              <a:off x="2947108" y="4570023"/>
              <a:ext cx="127845" cy="174412"/>
            </a:xfrm>
            <a:prstGeom prst="up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defRPr lang="ja-JP" altLang="en-US"/>
              </a:pPr>
              <a:endParaRPr lang="ja-JP" altLang="en-US" sz="600"/>
            </a:p>
          </p:txBody>
        </p:sp>
        <p:sp>
          <p:nvSpPr>
            <p:cNvPr id="39" name="図形 424">
              <a:extLst>
                <a:ext uri="{FF2B5EF4-FFF2-40B4-BE49-F238E27FC236}">
                  <a16:creationId xmlns:a16="http://schemas.microsoft.com/office/drawing/2014/main" id="{738B8C2A-F2EC-A193-911C-471E55B5CA5F}"/>
                </a:ext>
              </a:extLst>
            </p:cNvPr>
            <p:cNvSpPr/>
            <p:nvPr/>
          </p:nvSpPr>
          <p:spPr>
            <a:xfrm rot="18840000">
              <a:off x="2804950" y="4107206"/>
              <a:ext cx="127845" cy="174412"/>
            </a:xfrm>
            <a:prstGeom prst="up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defRPr lang="ja-JP" altLang="en-US"/>
              </a:pPr>
              <a:endParaRPr lang="ja-JP" altLang="en-US" sz="600"/>
            </a:p>
          </p:txBody>
        </p:sp>
      </p:grpSp>
      <p:grpSp>
        <p:nvGrpSpPr>
          <p:cNvPr id="40" name="グループ 998">
            <a:extLst>
              <a:ext uri="{FF2B5EF4-FFF2-40B4-BE49-F238E27FC236}">
                <a16:creationId xmlns:a16="http://schemas.microsoft.com/office/drawing/2014/main" id="{0B947C4C-99B2-0B97-0BB3-F7F50213961B}"/>
              </a:ext>
            </a:extLst>
          </p:cNvPr>
          <p:cNvGrpSpPr/>
          <p:nvPr/>
        </p:nvGrpSpPr>
        <p:grpSpPr>
          <a:xfrm>
            <a:off x="9128253" y="3604439"/>
            <a:ext cx="2795923" cy="1106101"/>
            <a:chOff x="4747049" y="3865133"/>
            <a:chExt cx="3997244" cy="1790603"/>
          </a:xfrm>
        </p:grpSpPr>
        <p:sp>
          <p:nvSpPr>
            <p:cNvPr id="41" name="図形 426">
              <a:extLst>
                <a:ext uri="{FF2B5EF4-FFF2-40B4-BE49-F238E27FC236}">
                  <a16:creationId xmlns:a16="http://schemas.microsoft.com/office/drawing/2014/main" id="{56D91AD4-499F-6353-E7A6-3BD8200981F4}"/>
                </a:ext>
              </a:extLst>
            </p:cNvPr>
            <p:cNvSpPr/>
            <p:nvPr/>
          </p:nvSpPr>
          <p:spPr>
            <a:xfrm>
              <a:off x="5466805" y="4151455"/>
              <a:ext cx="3175498" cy="1488232"/>
            </a:xfrm>
            <a:prstGeom prst="wedgeRoundRectCallout">
              <a:avLst>
                <a:gd name="adj1" fmla="val -55553"/>
                <a:gd name="adj2" fmla="val -26002"/>
                <a:gd name="adj3" fmla="val 16667"/>
              </a:avLst>
            </a:prstGeom>
            <a:solidFill>
              <a:schemeClr val="bg1">
                <a:lumMod val="8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tIns="0" bIns="0" anchor="ctr" anchorCtr="0"/>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marL="171450" indent="-171450">
                <a:buFont typeface="Arial"/>
                <a:buChar char="•"/>
                <a:defRPr lang="ja-JP" altLang="en-US"/>
              </a:pPr>
              <a:r>
                <a:rPr lang="ja-JP" altLang="en-US" sz="800">
                  <a:solidFill>
                    <a:schemeClr val="tx1"/>
                  </a:solidFill>
                  <a:latin typeface="Meiryo UI"/>
                  <a:ea typeface="Meiryo UI"/>
                </a:rPr>
                <a:t>わざわざ営業所まで行かないと申請できない</a:t>
              </a:r>
              <a:endParaRPr sz="2400"/>
            </a:p>
            <a:p>
              <a:pPr marL="171450" indent="-171450">
                <a:buFont typeface="Arial"/>
                <a:buChar char="•"/>
                <a:defRPr lang="ja-JP" altLang="en-US"/>
              </a:pPr>
              <a:r>
                <a:rPr lang="ja-JP" altLang="en-US" sz="800">
                  <a:solidFill>
                    <a:schemeClr val="tx1"/>
                  </a:solidFill>
                  <a:latin typeface="Meiryo UI"/>
                  <a:ea typeface="Meiryo UI"/>
                </a:rPr>
                <a:t>申請して交付された登録証を提示して交通系ICカードで決済する割引と、申請して割引価格で回数券を購入する方法などバス事業者ごとに違う方法での助成</a:t>
              </a:r>
            </a:p>
          </p:txBody>
        </p:sp>
        <p:pic>
          <p:nvPicPr>
            <p:cNvPr id="42" name="図 41">
              <a:extLst>
                <a:ext uri="{FF2B5EF4-FFF2-40B4-BE49-F238E27FC236}">
                  <a16:creationId xmlns:a16="http://schemas.microsoft.com/office/drawing/2014/main" id="{1E6BB4EE-0223-A1E5-0B99-06C784E2C30F}"/>
                </a:ext>
              </a:extLst>
            </p:cNvPr>
            <p:cNvPicPr>
              <a:picLocks noChangeAspect="1"/>
            </p:cNvPicPr>
            <p:nvPr/>
          </p:nvPicPr>
          <p:blipFill>
            <a:blip r:embed="rId18"/>
            <a:stretch>
              <a:fillRect/>
            </a:stretch>
          </p:blipFill>
          <p:spPr>
            <a:xfrm>
              <a:off x="4747049" y="4072915"/>
              <a:ext cx="626896" cy="729771"/>
            </a:xfrm>
            <a:prstGeom prst="rect">
              <a:avLst/>
            </a:prstGeom>
          </p:spPr>
        </p:pic>
        <p:pic>
          <p:nvPicPr>
            <p:cNvPr id="43" name="図 42">
              <a:extLst>
                <a:ext uri="{FF2B5EF4-FFF2-40B4-BE49-F238E27FC236}">
                  <a16:creationId xmlns:a16="http://schemas.microsoft.com/office/drawing/2014/main" id="{B0A04C2B-BAC4-C4F0-1B58-287294764C8E}"/>
                </a:ext>
              </a:extLst>
            </p:cNvPr>
            <p:cNvPicPr>
              <a:picLocks noChangeAspect="1"/>
            </p:cNvPicPr>
            <p:nvPr/>
          </p:nvPicPr>
          <p:blipFill>
            <a:blip r:embed="rId19"/>
            <a:stretch>
              <a:fillRect/>
            </a:stretch>
          </p:blipFill>
          <p:spPr>
            <a:xfrm>
              <a:off x="8072817" y="3865133"/>
              <a:ext cx="643324" cy="541126"/>
            </a:xfrm>
            <a:prstGeom prst="rect">
              <a:avLst/>
            </a:prstGeom>
          </p:spPr>
        </p:pic>
        <p:pic>
          <p:nvPicPr>
            <p:cNvPr id="44" name="図 43">
              <a:extLst>
                <a:ext uri="{FF2B5EF4-FFF2-40B4-BE49-F238E27FC236}">
                  <a16:creationId xmlns:a16="http://schemas.microsoft.com/office/drawing/2014/main" id="{B41605BD-42F8-A5F8-3AF8-BD2BCD7599EB}"/>
                </a:ext>
              </a:extLst>
            </p:cNvPr>
            <p:cNvPicPr>
              <a:picLocks noChangeAspect="1"/>
            </p:cNvPicPr>
            <p:nvPr/>
          </p:nvPicPr>
          <p:blipFill>
            <a:blip r:embed="rId20"/>
            <a:stretch>
              <a:fillRect/>
            </a:stretch>
          </p:blipFill>
          <p:spPr>
            <a:xfrm rot="21000000">
              <a:off x="5175637" y="5240448"/>
              <a:ext cx="543400" cy="348462"/>
            </a:xfrm>
            <a:prstGeom prst="rect">
              <a:avLst/>
            </a:prstGeom>
          </p:spPr>
        </p:pic>
        <p:pic>
          <p:nvPicPr>
            <p:cNvPr id="45" name="図 44">
              <a:extLst>
                <a:ext uri="{FF2B5EF4-FFF2-40B4-BE49-F238E27FC236}">
                  <a16:creationId xmlns:a16="http://schemas.microsoft.com/office/drawing/2014/main" id="{FBB6C2F5-C74F-45B0-174F-DBB2780927C0}"/>
                </a:ext>
              </a:extLst>
            </p:cNvPr>
            <p:cNvPicPr>
              <a:picLocks noChangeAspect="1"/>
            </p:cNvPicPr>
            <p:nvPr/>
          </p:nvPicPr>
          <p:blipFill>
            <a:blip r:embed="rId21"/>
            <a:stretch>
              <a:fillRect/>
            </a:stretch>
          </p:blipFill>
          <p:spPr>
            <a:xfrm rot="1200000">
              <a:off x="8050562" y="5272281"/>
              <a:ext cx="693731" cy="383455"/>
            </a:xfrm>
            <a:prstGeom prst="rect">
              <a:avLst/>
            </a:prstGeom>
          </p:spPr>
        </p:pic>
      </p:grpSp>
      <p:sp>
        <p:nvSpPr>
          <p:cNvPr id="47" name="テキスト ボックス 46">
            <a:extLst>
              <a:ext uri="{FF2B5EF4-FFF2-40B4-BE49-F238E27FC236}">
                <a16:creationId xmlns:a16="http://schemas.microsoft.com/office/drawing/2014/main" id="{E1B0BCC6-24C3-1AA3-6FBA-54BB8409049A}"/>
              </a:ext>
            </a:extLst>
          </p:cNvPr>
          <p:cNvSpPr txBox="1"/>
          <p:nvPr/>
        </p:nvSpPr>
        <p:spPr>
          <a:xfrm>
            <a:off x="1445299" y="4502489"/>
            <a:ext cx="3511202" cy="1539532"/>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本プロジェクトが前提とする、解決すべき社会課題を具体的に記載してください。</a:t>
            </a:r>
          </a:p>
        </p:txBody>
      </p:sp>
      <p:sp>
        <p:nvSpPr>
          <p:cNvPr id="49" name="テキスト ボックス 48">
            <a:extLst>
              <a:ext uri="{FF2B5EF4-FFF2-40B4-BE49-F238E27FC236}">
                <a16:creationId xmlns:a16="http://schemas.microsoft.com/office/drawing/2014/main" id="{47CF5BA8-C018-387E-8ACC-4C42E184EA89}"/>
              </a:ext>
            </a:extLst>
          </p:cNvPr>
          <p:cNvSpPr txBox="1"/>
          <p:nvPr/>
        </p:nvSpPr>
        <p:spPr>
          <a:xfrm>
            <a:off x="7279319" y="4500543"/>
            <a:ext cx="3511202" cy="1555299"/>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解決すべき社会課題のイメージビジュアルや統計グラフ、リファレンスなどを掲載してください。</a:t>
            </a:r>
          </a:p>
        </p:txBody>
      </p:sp>
    </p:spTree>
    <p:extLst>
      <p:ext uri="{BB962C8B-B14F-4D97-AF65-F5344CB8AC3E}">
        <p14:creationId xmlns:p14="http://schemas.microsoft.com/office/powerpoint/2010/main" val="294847341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235315-9C48-DA83-F90B-A60269B5EF7B}"/>
            </a:ext>
          </a:extLst>
        </p:cNvPr>
        <p:cNvGrpSpPr/>
        <p:nvPr/>
      </p:nvGrpSpPr>
      <p:grpSpPr>
        <a:xfrm>
          <a:off x="0" y="0"/>
          <a:ext cx="0" cy="0"/>
          <a:chOff x="0" y="0"/>
          <a:chExt cx="0" cy="0"/>
        </a:xfrm>
      </p:grpSpPr>
      <p:pic>
        <p:nvPicPr>
          <p:cNvPr id="14" name="図 13">
            <a:extLst>
              <a:ext uri="{FF2B5EF4-FFF2-40B4-BE49-F238E27FC236}">
                <a16:creationId xmlns:a16="http://schemas.microsoft.com/office/drawing/2014/main" id="{14F881AA-A9DD-5D4C-6B41-DC64E37C5F31}"/>
              </a:ext>
            </a:extLst>
          </p:cNvPr>
          <p:cNvPicPr>
            <a:picLocks noChangeAspect="1"/>
          </p:cNvPicPr>
          <p:nvPr/>
        </p:nvPicPr>
        <p:blipFill>
          <a:blip r:embed="rId3"/>
          <a:stretch>
            <a:fillRect/>
          </a:stretch>
        </p:blipFill>
        <p:spPr>
          <a:xfrm>
            <a:off x="1527382" y="1582517"/>
            <a:ext cx="9137236" cy="3692966"/>
          </a:xfrm>
          <a:prstGeom prst="rect">
            <a:avLst/>
          </a:prstGeom>
        </p:spPr>
      </p:pic>
      <p:graphicFrame>
        <p:nvGraphicFramePr>
          <p:cNvPr id="5" name="オブジェクト 4" hidden="1">
            <a:extLst>
              <a:ext uri="{FF2B5EF4-FFF2-40B4-BE49-F238E27FC236}">
                <a16:creationId xmlns:a16="http://schemas.microsoft.com/office/drawing/2014/main" id="{84E354F3-1957-AAC3-B43F-BEDAC47C5BC8}"/>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84E354F3-1957-AAC3-B43F-BEDAC47C5BC8}"/>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6" name="テキスト プレースホルダー 5">
            <a:extLst>
              <a:ext uri="{FF2B5EF4-FFF2-40B4-BE49-F238E27FC236}">
                <a16:creationId xmlns:a16="http://schemas.microsoft.com/office/drawing/2014/main" id="{71206BDE-1A08-08E6-655E-57D44EBA924B}"/>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2" name="テキスト プレースホルダー 1">
            <a:extLst>
              <a:ext uri="{FF2B5EF4-FFF2-40B4-BE49-F238E27FC236}">
                <a16:creationId xmlns:a16="http://schemas.microsoft.com/office/drawing/2014/main" id="{CBF10691-58CC-75D5-EA23-B36D933D90D3}"/>
              </a:ext>
            </a:extLst>
          </p:cNvPr>
          <p:cNvSpPr>
            <a:spLocks noGrp="1"/>
          </p:cNvSpPr>
          <p:nvPr>
            <p:ph type="body" sz="quarter" idx="36"/>
          </p:nvPr>
        </p:nvSpPr>
        <p:spPr/>
        <p:txBody>
          <a:bodyPr/>
          <a:lstStyle/>
          <a:p>
            <a:r>
              <a:rPr lang="en-US" altLang="ja-JP" dirty="0"/>
              <a:t>Ⅳ.</a:t>
            </a:r>
            <a:r>
              <a:rPr lang="ja-JP" altLang="en-US" dirty="0"/>
              <a:t>エンドコンテンツとの連携</a:t>
            </a:r>
          </a:p>
        </p:txBody>
      </p:sp>
      <p:sp>
        <p:nvSpPr>
          <p:cNvPr id="9" name="タイトル 8">
            <a:extLst>
              <a:ext uri="{FF2B5EF4-FFF2-40B4-BE49-F238E27FC236}">
                <a16:creationId xmlns:a16="http://schemas.microsoft.com/office/drawing/2014/main" id="{F7DA7227-3724-60C8-1F06-5A8A2F4AF1F8}"/>
              </a:ext>
            </a:extLst>
          </p:cNvPr>
          <p:cNvSpPr>
            <a:spLocks noGrp="1"/>
          </p:cNvSpPr>
          <p:nvPr>
            <p:ph type="title"/>
          </p:nvPr>
        </p:nvSpPr>
        <p:spPr/>
        <p:txBody>
          <a:bodyPr vert="horz"/>
          <a:lstStyle/>
          <a:p>
            <a:r>
              <a:rPr lang="ja-JP" altLang="en-US" dirty="0"/>
              <a:t>６</a:t>
            </a:r>
            <a:r>
              <a:rPr lang="en-US" altLang="ja-JP" dirty="0"/>
              <a:t>.</a:t>
            </a:r>
            <a:r>
              <a:rPr lang="ja-JP" altLang="en-US" dirty="0"/>
              <a:t>ハードウェアアーキテクチャ</a:t>
            </a:r>
          </a:p>
        </p:txBody>
      </p:sp>
      <p:sp>
        <p:nvSpPr>
          <p:cNvPr id="7" name="テキスト ボックス 6">
            <a:extLst>
              <a:ext uri="{FF2B5EF4-FFF2-40B4-BE49-F238E27FC236}">
                <a16:creationId xmlns:a16="http://schemas.microsoft.com/office/drawing/2014/main" id="{753EDDE2-9BD8-2942-AFF5-CB0966A2B583}"/>
              </a:ext>
            </a:extLst>
          </p:cNvPr>
          <p:cNvSpPr txBox="1"/>
          <p:nvPr/>
        </p:nvSpPr>
        <p:spPr>
          <a:xfrm>
            <a:off x="3083206" y="2820813"/>
            <a:ext cx="6135987" cy="2385668"/>
          </a:xfrm>
          <a:prstGeom prst="rect">
            <a:avLst/>
          </a:prstGeom>
          <a:solidFill>
            <a:srgbClr val="F3817B">
              <a:alpha val="60000"/>
            </a:srgbClr>
          </a:solidFill>
        </p:spPr>
        <p:txBody>
          <a:bodyPr wrap="square" anchor="ctr">
            <a:noAutofit/>
          </a:bodyPr>
          <a:lstStyle/>
          <a:p>
            <a:pPr>
              <a:spcBef>
                <a:spcPts val="300"/>
              </a:spcBef>
              <a:defRPr/>
            </a:pPr>
            <a:r>
              <a:rPr kumimoji="0" lang="en-US" altLang="ja-JP" sz="1400" b="0" i="0" u="none" strike="noStrike" kern="0" cap="none" spc="0" normalizeH="0" baseline="0" noProof="0" dirty="0">
                <a:ln>
                  <a:noFill/>
                </a:ln>
                <a:solidFill>
                  <a:srgbClr val="FFFFFF"/>
                </a:solidFill>
                <a:effectLst/>
                <a:uLnTx/>
                <a:uFillTx/>
              </a:rPr>
              <a:t>※</a:t>
            </a:r>
            <a:r>
              <a:rPr kumimoji="0" lang="ja-JP" altLang="en-US" sz="1400" b="0" i="0" u="none" strike="noStrike" kern="0" cap="none" spc="0" normalizeH="0" baseline="0" noProof="0" dirty="0">
                <a:ln>
                  <a:noFill/>
                </a:ln>
                <a:solidFill>
                  <a:srgbClr val="FFFFFF"/>
                </a:solidFill>
                <a:effectLst/>
                <a:uLnTx/>
                <a:uFillTx/>
              </a:rPr>
              <a:t>該当あれば</a:t>
            </a:r>
            <a:endParaRPr kumimoji="0" lang="en-US" altLang="ja-JP"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システム全体において稼働するデバイスやインフラを把握するため、ハードウェアアーキテクチャを記載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特に</a:t>
            </a:r>
            <a:r>
              <a:rPr kumimoji="0" lang="en-US" altLang="ja-JP" sz="1400" b="0" i="0" u="none" strike="noStrike" kern="0" cap="none" spc="0" normalizeH="0" baseline="0" noProof="0" dirty="0">
                <a:ln>
                  <a:noFill/>
                </a:ln>
                <a:solidFill>
                  <a:srgbClr val="FFFFFF"/>
                </a:solidFill>
                <a:effectLst/>
                <a:uLnTx/>
                <a:uFillTx/>
              </a:rPr>
              <a:t>IaaS</a:t>
            </a:r>
            <a:r>
              <a:rPr kumimoji="0" lang="ja-JP" altLang="en-US" sz="1400" b="0" i="0" u="none" strike="noStrike" kern="0" cap="none" spc="0" normalizeH="0" baseline="0" noProof="0" dirty="0">
                <a:ln>
                  <a:noFill/>
                </a:ln>
                <a:solidFill>
                  <a:srgbClr val="FFFFFF"/>
                </a:solidFill>
                <a:effectLst/>
                <a:uLnTx/>
                <a:uFillTx/>
              </a:rPr>
              <a:t>や</a:t>
            </a:r>
            <a:r>
              <a:rPr kumimoji="0" lang="en-US" altLang="ja-JP" sz="1400" b="0" i="0" u="none" strike="noStrike" kern="0" cap="none" spc="0" normalizeH="0" baseline="0" noProof="0" dirty="0">
                <a:ln>
                  <a:noFill/>
                </a:ln>
                <a:solidFill>
                  <a:srgbClr val="FFFFFF"/>
                </a:solidFill>
                <a:effectLst/>
                <a:uLnTx/>
                <a:uFillTx/>
              </a:rPr>
              <a:t>PaaS</a:t>
            </a:r>
            <a:r>
              <a:rPr kumimoji="0" lang="ja-JP" altLang="en-US" sz="1400" b="0" i="0" u="none" strike="noStrike" kern="0" cap="none" spc="0" normalizeH="0" baseline="0" noProof="0" dirty="0">
                <a:ln>
                  <a:noFill/>
                </a:ln>
                <a:solidFill>
                  <a:srgbClr val="FFFFFF"/>
                </a:solidFill>
                <a:effectLst/>
                <a:uLnTx/>
                <a:uFillTx/>
              </a:rPr>
              <a:t>など外部クラウドサーバを利用する場合、利用するコンポーネント名を記載してください。</a:t>
            </a:r>
            <a:endParaRPr kumimoji="0" lang="en-US" altLang="ja-JP"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外部デバイス（改札機や認証端末など）と接続する場合などは、デバイスの製品名を記載してください。</a:t>
            </a:r>
            <a:endParaRPr kumimoji="0" lang="en-US" altLang="ja-JP"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srgbClr val="FFFFFF"/>
                </a:solidFill>
                <a:effectLst/>
                <a:uLnTx/>
                <a:uFillTx/>
              </a:rPr>
              <a:t>また画像はサンプルです。提出時に削除してください。</a:t>
            </a:r>
          </a:p>
        </p:txBody>
      </p:sp>
    </p:spTree>
    <p:extLst>
      <p:ext uri="{BB962C8B-B14F-4D97-AF65-F5344CB8AC3E}">
        <p14:creationId xmlns:p14="http://schemas.microsoft.com/office/powerpoint/2010/main" val="157578563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6" name="テキスト プレースホルダー 5">
            <a:extLst>
              <a:ext uri="{FF2B5EF4-FFF2-40B4-BE49-F238E27FC236}">
                <a16:creationId xmlns:a16="http://schemas.microsoft.com/office/drawing/2014/main" id="{85E02E86-1857-0430-484E-BB6E2039FE47}"/>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2" name="テキスト プレースホルダー 1">
            <a:extLst>
              <a:ext uri="{FF2B5EF4-FFF2-40B4-BE49-F238E27FC236}">
                <a16:creationId xmlns:a16="http://schemas.microsoft.com/office/drawing/2014/main" id="{A45FDDD5-9A42-423D-9ED3-F19DD3567786}"/>
              </a:ext>
            </a:extLst>
          </p:cNvPr>
          <p:cNvSpPr>
            <a:spLocks noGrp="1"/>
          </p:cNvSpPr>
          <p:nvPr>
            <p:ph type="body" sz="quarter" idx="36"/>
          </p:nvPr>
        </p:nvSpPr>
        <p:spPr/>
        <p:txBody>
          <a:bodyPr/>
          <a:lstStyle/>
          <a:p>
            <a:r>
              <a:rPr lang="en-US" altLang="ja-JP"/>
              <a:t>Ⅳ.</a:t>
            </a:r>
            <a:r>
              <a:rPr lang="ja-JP" altLang="en-US"/>
              <a:t>エンドコンテンツとの連携</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dirty="0"/>
              <a:t>７</a:t>
            </a:r>
            <a:r>
              <a:rPr lang="en-US" altLang="ja-JP" dirty="0"/>
              <a:t>.</a:t>
            </a:r>
            <a:r>
              <a:rPr lang="ja-JP" altLang="en-US" dirty="0"/>
              <a:t>利用する技術要素</a:t>
            </a:r>
          </a:p>
        </p:txBody>
      </p:sp>
      <p:graphicFrame>
        <p:nvGraphicFramePr>
          <p:cNvPr id="3" name="表 2">
            <a:extLst>
              <a:ext uri="{FF2B5EF4-FFF2-40B4-BE49-F238E27FC236}">
                <a16:creationId xmlns:a16="http://schemas.microsoft.com/office/drawing/2014/main" id="{1E352AD7-4D05-33EE-61E0-3F07FA0F915F}"/>
              </a:ext>
            </a:extLst>
          </p:cNvPr>
          <p:cNvGraphicFramePr>
            <a:graphicFrameLocks noGrp="1"/>
          </p:cNvGraphicFramePr>
          <p:nvPr/>
        </p:nvGraphicFramePr>
        <p:xfrm>
          <a:off x="300777" y="2050275"/>
          <a:ext cx="11595948" cy="2731151"/>
        </p:xfrm>
        <a:graphic>
          <a:graphicData uri="http://schemas.openxmlformats.org/drawingml/2006/table">
            <a:tbl>
              <a:tblPr firstRow="1">
                <a:tableStyleId>{5940675A-B579-460E-94D1-54222C63F5DA}</a:tableStyleId>
              </a:tblPr>
              <a:tblGrid>
                <a:gridCol w="2239223">
                  <a:extLst>
                    <a:ext uri="{9D8B030D-6E8A-4147-A177-3AD203B41FA5}">
                      <a16:colId xmlns:a16="http://schemas.microsoft.com/office/drawing/2014/main" val="3505984062"/>
                    </a:ext>
                  </a:extLst>
                </a:gridCol>
                <a:gridCol w="2917825">
                  <a:extLst>
                    <a:ext uri="{9D8B030D-6E8A-4147-A177-3AD203B41FA5}">
                      <a16:colId xmlns:a16="http://schemas.microsoft.com/office/drawing/2014/main" val="1183473455"/>
                    </a:ext>
                  </a:extLst>
                </a:gridCol>
                <a:gridCol w="6438900">
                  <a:extLst>
                    <a:ext uri="{9D8B030D-6E8A-4147-A177-3AD203B41FA5}">
                      <a16:colId xmlns:a16="http://schemas.microsoft.com/office/drawing/2014/main" val="1554345629"/>
                    </a:ext>
                  </a:extLst>
                </a:gridCol>
              </a:tblGrid>
              <a:tr h="252938">
                <a:tc>
                  <a:txBody>
                    <a:bodyPr/>
                    <a:lstStyle/>
                    <a:p>
                      <a:pPr algn="l"/>
                      <a:r>
                        <a:rPr lang="ja-JP" sz="1400" b="1" kern="100">
                          <a:effectLst/>
                          <a:latin typeface="+mn-ea"/>
                          <a:ea typeface="+mn-ea"/>
                        </a:rPr>
                        <a:t>項目</a:t>
                      </a:r>
                      <a:endParaRPr lang="ja-JP" sz="1400" b="1" kern="100">
                        <a:effectLst/>
                        <a:latin typeface="+mn-ea"/>
                        <a:ea typeface="+mn-ea"/>
                        <a:cs typeface="Meiryo UI" panose="020B0604030504040204" pitchFamily="50" charset="-128"/>
                      </a:endParaRPr>
                    </a:p>
                  </a:txBody>
                  <a:tcPr marL="36195" marR="36195" marT="46800" marB="46800">
                    <a:solidFill>
                      <a:schemeClr val="bg1">
                        <a:lumMod val="75000"/>
                      </a:schemeClr>
                    </a:solidFill>
                  </a:tcPr>
                </a:tc>
                <a:tc>
                  <a:txBody>
                    <a:bodyPr/>
                    <a:lstStyle/>
                    <a:p>
                      <a:pPr algn="l"/>
                      <a:r>
                        <a:rPr lang="ja-JP" altLang="en-US" sz="1400" b="1" kern="100">
                          <a:effectLst/>
                          <a:latin typeface="+mn-ea"/>
                          <a:ea typeface="+mn-ea"/>
                          <a:cs typeface="Meiryo UI" panose="020B0604030504040204" pitchFamily="50" charset="-128"/>
                        </a:rPr>
                        <a:t>名称</a:t>
                      </a:r>
                      <a:endParaRPr lang="ja-JP" sz="1400" b="1" kern="100">
                        <a:effectLst/>
                        <a:latin typeface="+mn-ea"/>
                        <a:ea typeface="+mn-ea"/>
                        <a:cs typeface="Meiryo UI" panose="020B0604030504040204" pitchFamily="50" charset="-128"/>
                      </a:endParaRPr>
                    </a:p>
                  </a:txBody>
                  <a:tcPr marL="36195" marR="36195" marT="46800" marB="46800">
                    <a:solidFill>
                      <a:schemeClr val="bg1">
                        <a:lumMod val="75000"/>
                      </a:schemeClr>
                    </a:solidFill>
                  </a:tcPr>
                </a:tc>
                <a:tc>
                  <a:txBody>
                    <a:bodyPr/>
                    <a:lstStyle/>
                    <a:p>
                      <a:pPr algn="l"/>
                      <a:endParaRPr lang="ja-JP" sz="1400" b="1" kern="100">
                        <a:effectLst/>
                        <a:latin typeface="+mn-ea"/>
                        <a:ea typeface="+mn-ea"/>
                        <a:cs typeface="Meiryo UI" panose="020B0604030504040204" pitchFamily="50" charset="-128"/>
                      </a:endParaRPr>
                    </a:p>
                  </a:txBody>
                  <a:tcPr marL="36195" marR="36195" marT="46800" marB="46800">
                    <a:solidFill>
                      <a:schemeClr val="bg1">
                        <a:lumMod val="75000"/>
                      </a:schemeClr>
                    </a:solidFill>
                  </a:tcPr>
                </a:tc>
                <a:extLst>
                  <a:ext uri="{0D108BD9-81ED-4DB2-BD59-A6C34878D82A}">
                    <a16:rowId xmlns:a16="http://schemas.microsoft.com/office/drawing/2014/main" val="2329924580"/>
                  </a:ext>
                </a:extLst>
              </a:tr>
              <a:tr h="338114">
                <a:tc>
                  <a:txBody>
                    <a:bodyPr/>
                    <a:lstStyle/>
                    <a:p>
                      <a:pPr algn="just"/>
                      <a:r>
                        <a:rPr lang="ja-JP" altLang="en-US" sz="1400" kern="100">
                          <a:solidFill>
                            <a:srgbClr val="0070C0"/>
                          </a:solidFill>
                          <a:effectLst/>
                          <a:latin typeface="+mn-ea"/>
                          <a:ea typeface="+mn-ea"/>
                          <a:cs typeface="Meiryo UI" panose="020B0604030504040204" pitchFamily="50" charset="-128"/>
                        </a:rPr>
                        <a:t>プログラミング言語</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ja-JP" altLang="en-US" sz="1400">
                          <a:solidFill>
                            <a:srgbClr val="0070C0"/>
                          </a:solidFill>
                          <a:latin typeface="+mn-ea"/>
                          <a:ea typeface="+mn-ea"/>
                        </a:rPr>
                        <a:t>Python, JavaScript</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XXXXXX</a:t>
                      </a:r>
                      <a:endParaRPr lang="ja-JP"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3614498428"/>
                  </a:ext>
                </a:extLst>
              </a:tr>
              <a:tr h="338114">
                <a:tc>
                  <a:txBody>
                    <a:bodyPr/>
                    <a:lstStyle/>
                    <a:p>
                      <a:pPr marL="0" marR="0" lvl="0" indent="0" algn="just" defTabSz="742950" rtl="0" eaLnBrk="1" fontAlgn="auto" latinLnBrk="0" hangingPunct="1">
                        <a:lnSpc>
                          <a:spcPct val="100000"/>
                        </a:lnSpc>
                        <a:spcBef>
                          <a:spcPts val="0"/>
                        </a:spcBef>
                        <a:spcAft>
                          <a:spcPts val="0"/>
                        </a:spcAft>
                        <a:buClrTx/>
                        <a:buSzTx/>
                        <a:buFontTx/>
                        <a:buNone/>
                        <a:tabLst/>
                        <a:defRPr/>
                      </a:pPr>
                      <a:r>
                        <a:rPr lang="en-US" altLang="ja-JP" sz="1400" kern="100">
                          <a:solidFill>
                            <a:srgbClr val="0070C0"/>
                          </a:solidFill>
                          <a:effectLst/>
                          <a:latin typeface="+mn-ea"/>
                          <a:ea typeface="+mn-ea"/>
                          <a:cs typeface="Meiryo UI" panose="020B0604030504040204" pitchFamily="50" charset="-128"/>
                        </a:rPr>
                        <a:t>RDBMS</a:t>
                      </a:r>
                      <a:endParaRPr lang="ja-JP" alt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Amazon RDS for PostgreSQL</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XXXXXX</a:t>
                      </a:r>
                      <a:endParaRPr lang="ja-JP"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2270619158"/>
                  </a:ext>
                </a:extLst>
              </a:tr>
              <a:tr h="338114">
                <a:tc>
                  <a:txBody>
                    <a:bodyPr/>
                    <a:lstStyle/>
                    <a:p>
                      <a:pPr marL="0" marR="0" lvl="0" indent="0" algn="just" defTabSz="742950" rtl="0" eaLnBrk="1" fontAlgn="auto" latinLnBrk="0" hangingPunct="1">
                        <a:lnSpc>
                          <a:spcPct val="100000"/>
                        </a:lnSpc>
                        <a:spcBef>
                          <a:spcPts val="0"/>
                        </a:spcBef>
                        <a:spcAft>
                          <a:spcPts val="0"/>
                        </a:spcAft>
                        <a:buClrTx/>
                        <a:buSzTx/>
                        <a:buFontTx/>
                        <a:buNone/>
                        <a:tabLst/>
                        <a:defRPr/>
                      </a:pPr>
                      <a:r>
                        <a:rPr lang="en-US" altLang="ja-JP" sz="1400" kern="100">
                          <a:solidFill>
                            <a:srgbClr val="0070C0"/>
                          </a:solidFill>
                          <a:effectLst/>
                          <a:latin typeface="+mn-ea"/>
                          <a:ea typeface="+mn-ea"/>
                          <a:cs typeface="Meiryo UI" panose="020B0604030504040204" pitchFamily="50" charset="-128"/>
                        </a:rPr>
                        <a:t>NoSQL</a:t>
                      </a:r>
                      <a:endParaRPr lang="ja-JP" alt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MongoDB Atlas</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endParaRPr lang="ja-JP"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1352402600"/>
                  </a:ext>
                </a:extLst>
              </a:tr>
              <a:tr h="395507">
                <a:tc>
                  <a:txBody>
                    <a:bodyPr/>
                    <a:lstStyle/>
                    <a:p>
                      <a:pPr algn="just"/>
                      <a:r>
                        <a:rPr lang="en-US" altLang="ja-JP" sz="1400" kern="100">
                          <a:solidFill>
                            <a:srgbClr val="0070C0"/>
                          </a:solidFill>
                          <a:effectLst/>
                          <a:latin typeface="+mn-ea"/>
                          <a:ea typeface="+mn-ea"/>
                          <a:cs typeface="Meiryo UI" panose="020B0604030504040204" pitchFamily="50" charset="-128"/>
                        </a:rPr>
                        <a:t>WebGIS</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Mapribre, Deck.gl</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XXXXXX</a:t>
                      </a:r>
                      <a:endParaRPr lang="ja-JP"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2173848345"/>
                  </a:ext>
                </a:extLst>
              </a:tr>
              <a:tr h="338114">
                <a:tc>
                  <a:txBody>
                    <a:bodyPr/>
                    <a:lstStyle/>
                    <a:p>
                      <a:pPr algn="just"/>
                      <a:r>
                        <a:rPr lang="en-US" altLang="ja-JP" sz="1400" kern="100">
                          <a:solidFill>
                            <a:srgbClr val="0070C0"/>
                          </a:solidFill>
                          <a:effectLst/>
                          <a:latin typeface="+mn-ea"/>
                          <a:ea typeface="+mn-ea"/>
                          <a:cs typeface="Meiryo UI" panose="020B0604030504040204" pitchFamily="50" charset="-128"/>
                        </a:rPr>
                        <a:t>BI</a:t>
                      </a:r>
                      <a:r>
                        <a:rPr lang="ja-JP" altLang="en-US" sz="1400" kern="100">
                          <a:solidFill>
                            <a:srgbClr val="0070C0"/>
                          </a:solidFill>
                          <a:effectLst/>
                          <a:latin typeface="+mn-ea"/>
                          <a:ea typeface="+mn-ea"/>
                          <a:cs typeface="Meiryo UI" panose="020B0604030504040204" pitchFamily="50" charset="-128"/>
                        </a:rPr>
                        <a:t>ツール</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a:solidFill>
                            <a:srgbClr val="0070C0"/>
                          </a:solidFill>
                          <a:latin typeface="+mn-ea"/>
                          <a:ea typeface="+mn-ea"/>
                        </a:rPr>
                        <a:t>Tableau</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XXXXXX</a:t>
                      </a:r>
                      <a:endParaRPr lang="ja-JP"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3231779892"/>
                  </a:ext>
                </a:extLst>
              </a:tr>
              <a:tr h="338114">
                <a:tc>
                  <a:txBody>
                    <a:bodyPr/>
                    <a:lstStyle/>
                    <a:p>
                      <a:pPr algn="just"/>
                      <a:r>
                        <a:rPr lang="ja-JP" altLang="en-US" sz="1400" kern="100">
                          <a:solidFill>
                            <a:srgbClr val="0070C0"/>
                          </a:solidFill>
                          <a:effectLst/>
                          <a:latin typeface="+mn-ea"/>
                          <a:ea typeface="+mn-ea"/>
                          <a:cs typeface="Meiryo UI" panose="020B0604030504040204" pitchFamily="50" charset="-128"/>
                        </a:rPr>
                        <a:t>経路検索</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Mixway API</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endParaRPr lang="ja-JP" altLang="en-US"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3668803341"/>
                  </a:ext>
                </a:extLst>
              </a:tr>
              <a:tr h="338114">
                <a:tc>
                  <a:txBody>
                    <a:bodyPr/>
                    <a:lstStyle/>
                    <a:p>
                      <a:pPr algn="just"/>
                      <a:r>
                        <a:rPr lang="en-US" altLang="ja-JP" sz="1400" kern="100">
                          <a:solidFill>
                            <a:srgbClr val="0070C0"/>
                          </a:solidFill>
                          <a:effectLst/>
                          <a:latin typeface="+mn-ea"/>
                          <a:ea typeface="+mn-ea"/>
                          <a:cs typeface="Meiryo UI" panose="020B0604030504040204" pitchFamily="50" charset="-128"/>
                        </a:rPr>
                        <a:t>NW</a:t>
                      </a:r>
                      <a:r>
                        <a:rPr lang="ja-JP" altLang="en-US" sz="1400" kern="100">
                          <a:solidFill>
                            <a:srgbClr val="0070C0"/>
                          </a:solidFill>
                          <a:effectLst/>
                          <a:latin typeface="+mn-ea"/>
                          <a:ea typeface="+mn-ea"/>
                          <a:cs typeface="Meiryo UI" panose="020B0604030504040204" pitchFamily="50" charset="-128"/>
                        </a:rPr>
                        <a:t>検索</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NAVITIME API</a:t>
                      </a:r>
                    </a:p>
                  </a:txBody>
                  <a:tcPr marL="36195" marR="36195" marT="46800" marB="46800"/>
                </a:tc>
                <a:tc>
                  <a:txBody>
                    <a:bodyPr/>
                    <a:lstStyle/>
                    <a:p>
                      <a:pPr algn="just"/>
                      <a:endParaRPr lang="ja-JP" altLang="en-US"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430931605"/>
                  </a:ext>
                </a:extLst>
              </a:tr>
            </a:tbl>
          </a:graphicData>
        </a:graphic>
      </p:graphicFrame>
      <p:sp>
        <p:nvSpPr>
          <p:cNvPr id="4" name="テキスト ボックス 3">
            <a:extLst>
              <a:ext uri="{FF2B5EF4-FFF2-40B4-BE49-F238E27FC236}">
                <a16:creationId xmlns:a16="http://schemas.microsoft.com/office/drawing/2014/main" id="{A1277F05-26FA-BC40-8E8E-34D0007C0DF7}"/>
              </a:ext>
            </a:extLst>
          </p:cNvPr>
          <p:cNvSpPr txBox="1"/>
          <p:nvPr/>
        </p:nvSpPr>
        <p:spPr>
          <a:xfrm>
            <a:off x="3028006" y="3816975"/>
            <a:ext cx="6135987" cy="1234162"/>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システム開発において、使用する技術スタックやツールを明示し、それらの機能を説明してください。</a:t>
            </a:r>
          </a:p>
        </p:txBody>
      </p:sp>
    </p:spTree>
    <p:extLst>
      <p:ext uri="{BB962C8B-B14F-4D97-AF65-F5344CB8AC3E}">
        <p14:creationId xmlns:p14="http://schemas.microsoft.com/office/powerpoint/2010/main" val="94148934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920D49B5-780A-0B0E-081E-8188B35BACC6}"/>
              </a:ext>
            </a:extLst>
          </p:cNvPr>
          <p:cNvPicPr>
            <a:picLocks noChangeAspect="1"/>
          </p:cNvPicPr>
          <p:nvPr/>
        </p:nvPicPr>
        <p:blipFill>
          <a:blip r:embed="rId3"/>
          <a:stretch>
            <a:fillRect/>
          </a:stretch>
        </p:blipFill>
        <p:spPr>
          <a:xfrm>
            <a:off x="883308" y="1338394"/>
            <a:ext cx="9797121" cy="5303980"/>
          </a:xfrm>
          <a:prstGeom prst="rect">
            <a:avLst/>
          </a:prstGeom>
        </p:spPr>
      </p:pic>
      <p:graphicFrame>
        <p:nvGraphicFramePr>
          <p:cNvPr id="6" name="think-cell data - do not delete" hidden="1">
            <a:extLst>
              <a:ext uri="{FF2B5EF4-FFF2-40B4-BE49-F238E27FC236}">
                <a16:creationId xmlns:a16="http://schemas.microsoft.com/office/drawing/2014/main" id="{474E5002-D1F2-D774-C181-0B3C4AA38F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08" imgH="608" progId="TCLayout.ActiveDocument.1">
                  <p:embed/>
                </p:oleObj>
              </mc:Choice>
              <mc:Fallback>
                <p:oleObj name="think-cell スライド" r:id="rId4" imgW="608" imgH="608" progId="TCLayout.ActiveDocument.1">
                  <p:embed/>
                  <p:pic>
                    <p:nvPicPr>
                      <p:cNvPr id="6" name="think-cell data - do not delete" hidden="1">
                        <a:extLst>
                          <a:ext uri="{FF2B5EF4-FFF2-40B4-BE49-F238E27FC236}">
                            <a16:creationId xmlns:a16="http://schemas.microsoft.com/office/drawing/2014/main" id="{474E5002-D1F2-D774-C181-0B3C4AA38F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0E5D0AD9-2BA7-E85C-4211-2AC064C1CB7E}"/>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kumimoji="1" lang="ja-JP" altLang="en-US"/>
          </a:p>
        </p:txBody>
      </p:sp>
      <p:sp>
        <p:nvSpPr>
          <p:cNvPr id="3" name="テキスト プレースホルダー 2">
            <a:extLst>
              <a:ext uri="{FF2B5EF4-FFF2-40B4-BE49-F238E27FC236}">
                <a16:creationId xmlns:a16="http://schemas.microsoft.com/office/drawing/2014/main" id="{417A18CA-0059-03EF-FE57-D2DBA870D210}"/>
              </a:ext>
            </a:extLst>
          </p:cNvPr>
          <p:cNvSpPr>
            <a:spLocks noGrp="1"/>
          </p:cNvSpPr>
          <p:nvPr>
            <p:ph type="body" sz="quarter" idx="36"/>
          </p:nvPr>
        </p:nvSpPr>
        <p:spPr>
          <a:xfrm>
            <a:off x="300779" y="215626"/>
            <a:ext cx="11376000" cy="415498"/>
          </a:xfrm>
        </p:spPr>
        <p:txBody>
          <a:bodyPr/>
          <a:lstStyle/>
          <a:p>
            <a:r>
              <a:rPr lang="en-US" altLang="ja-JP"/>
              <a:t>Ⅳ.</a:t>
            </a:r>
            <a:r>
              <a:rPr lang="ja-JP" altLang="en-US"/>
              <a:t>エンドコンテンツとの連携</a:t>
            </a:r>
          </a:p>
        </p:txBody>
      </p:sp>
      <p:sp>
        <p:nvSpPr>
          <p:cNvPr id="4" name="タイトル 3">
            <a:extLst>
              <a:ext uri="{FF2B5EF4-FFF2-40B4-BE49-F238E27FC236}">
                <a16:creationId xmlns:a16="http://schemas.microsoft.com/office/drawing/2014/main" id="{4F1B8C31-A2AA-E8B5-6842-B8CA68666E37}"/>
              </a:ext>
            </a:extLst>
          </p:cNvPr>
          <p:cNvSpPr>
            <a:spLocks noGrp="1"/>
          </p:cNvSpPr>
          <p:nvPr>
            <p:ph type="title"/>
          </p:nvPr>
        </p:nvSpPr>
        <p:spPr/>
        <p:txBody>
          <a:bodyPr vert="horz"/>
          <a:lstStyle/>
          <a:p>
            <a:r>
              <a:rPr kumimoji="1" lang="ja-JP" altLang="en-US" dirty="0"/>
              <a:t>８</a:t>
            </a:r>
            <a:r>
              <a:rPr kumimoji="1" lang="en-US" altLang="ja-JP" dirty="0"/>
              <a:t>.</a:t>
            </a:r>
            <a:r>
              <a:rPr kumimoji="1" lang="ja-JP" altLang="en-US" dirty="0"/>
              <a:t>ユーザインタフェース｜全体</a:t>
            </a:r>
            <a:r>
              <a:rPr lang="en-US" altLang="ja-JP" dirty="0"/>
              <a:t>UI/UX</a:t>
            </a:r>
            <a:r>
              <a:rPr lang="ja-JP" altLang="en-US" dirty="0"/>
              <a:t>、画面遷移図</a:t>
            </a:r>
            <a:endParaRPr kumimoji="1" lang="ja-JP" altLang="en-US" dirty="0"/>
          </a:p>
        </p:txBody>
      </p:sp>
      <p:sp>
        <p:nvSpPr>
          <p:cNvPr id="7" name="テキスト ボックス 6">
            <a:extLst>
              <a:ext uri="{FF2B5EF4-FFF2-40B4-BE49-F238E27FC236}">
                <a16:creationId xmlns:a16="http://schemas.microsoft.com/office/drawing/2014/main" id="{4AF50D1B-B984-2378-E84F-10D1B7500960}"/>
              </a:ext>
            </a:extLst>
          </p:cNvPr>
          <p:cNvSpPr txBox="1"/>
          <p:nvPr/>
        </p:nvSpPr>
        <p:spPr>
          <a:xfrm>
            <a:off x="2290774" y="2797550"/>
            <a:ext cx="6982188" cy="2385668"/>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エンドユーザー（コンシューマ）とシステム管理者等（交通事業者や自治体）の両面からユーザーインターフェースを定義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予定を含む基本的な設計方針と構成要素でも構いません。​</a:t>
            </a:r>
          </a:p>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UI</a:t>
            </a:r>
            <a:r>
              <a:rPr kumimoji="0" lang="ja-JP" altLang="en-US" sz="1400" b="0" i="0" u="none" strike="noStrike" kern="0" cap="none" spc="0" normalizeH="0" baseline="0" noProof="0">
                <a:ln>
                  <a:noFill/>
                </a:ln>
                <a:solidFill>
                  <a:srgbClr val="FFFFFF"/>
                </a:solidFill>
                <a:effectLst/>
                <a:uLnTx/>
                <a:uFillTx/>
              </a:rPr>
              <a:t>設計には、画面遷移図、主要な</a:t>
            </a:r>
            <a:r>
              <a:rPr kumimoji="0" lang="en-US" altLang="ja-JP" sz="1400" b="0" i="0" u="none" strike="noStrike" kern="0" cap="none" spc="0" normalizeH="0" baseline="0" noProof="0">
                <a:ln>
                  <a:noFill/>
                </a:ln>
                <a:solidFill>
                  <a:srgbClr val="FFFFFF"/>
                </a:solidFill>
                <a:effectLst/>
                <a:uLnTx/>
                <a:uFillTx/>
              </a:rPr>
              <a:t>UI</a:t>
            </a:r>
            <a:r>
              <a:rPr kumimoji="0" lang="ja-JP" altLang="en-US" sz="1400" b="0" i="0" u="none" strike="noStrike" kern="0" cap="none" spc="0" normalizeH="0" baseline="0" noProof="0">
                <a:ln>
                  <a:noFill/>
                </a:ln>
                <a:solidFill>
                  <a:srgbClr val="FFFFFF"/>
                </a:solidFill>
                <a:effectLst/>
                <a:uLnTx/>
                <a:uFillTx/>
              </a:rPr>
              <a:t>コンポーネント、ユーザーフローを含めてください。</a:t>
            </a:r>
            <a:endParaRPr kumimoji="0" lang="en-US" altLang="ja-JP" sz="1400" b="0" i="0" u="none" strike="noStrike" kern="0" cap="none" spc="0" normalizeH="0" baseline="0" noProof="0">
              <a:ln>
                <a:noFill/>
              </a:ln>
              <a:solidFill>
                <a:srgbClr val="FFFFFF"/>
              </a:solidFill>
              <a:effectLst/>
              <a:uLnTx/>
              <a:uFillTx/>
            </a:endParaRPr>
          </a:p>
          <a:p>
            <a:pPr>
              <a:spcBef>
                <a:spcPts val="300"/>
              </a:spcBef>
              <a:defRPr/>
            </a:pPr>
            <a:r>
              <a:rPr kumimoji="1" lang="ja-JP" altLang="en-US" sz="1400" b="0" i="0" u="none" strike="noStrike" kern="1200" cap="none" spc="0" normalizeH="0" baseline="0" noProof="0">
                <a:ln>
                  <a:noFill/>
                </a:ln>
                <a:solidFill>
                  <a:schemeClr val="bg1"/>
                </a:solidFill>
                <a:effectLst/>
                <a:uLnTx/>
                <a:uFillTx/>
                <a:latin typeface="BIZ UDPゴシック"/>
                <a:ea typeface="BIZ UDPゴシック"/>
                <a:cs typeface="+mn-cs"/>
              </a:rPr>
              <a:t>画像はサンプルです。提出時に削除してください。</a:t>
            </a:r>
            <a:r>
              <a:rPr kumimoji="0" lang="ja-JP" altLang="en-US" sz="1400" b="0" i="0" u="none" strike="noStrike" kern="0" cap="none" spc="0" normalizeH="0" baseline="0" noProof="0">
                <a:ln>
                  <a:noFill/>
                </a:ln>
                <a:solidFill>
                  <a:srgbClr val="FFFFFF"/>
                </a:solidFill>
                <a:effectLst/>
                <a:uLnTx/>
                <a:uFillTx/>
              </a:rPr>
              <a:t>​</a:t>
            </a:r>
          </a:p>
        </p:txBody>
      </p:sp>
    </p:spTree>
    <p:extLst>
      <p:ext uri="{BB962C8B-B14F-4D97-AF65-F5344CB8AC3E}">
        <p14:creationId xmlns:p14="http://schemas.microsoft.com/office/powerpoint/2010/main" val="340756965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74E5002-D1F2-D774-C181-0B3C4AA38F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08" imgH="608" progId="TCLayout.ActiveDocument.1">
                  <p:embed/>
                </p:oleObj>
              </mc:Choice>
              <mc:Fallback>
                <p:oleObj name="think-cell スライド" r:id="rId3" imgW="608" imgH="608" progId="TCLayout.ActiveDocument.1">
                  <p:embed/>
                  <p:pic>
                    <p:nvPicPr>
                      <p:cNvPr id="6" name="think-cell data - do not delete" hidden="1">
                        <a:extLst>
                          <a:ext uri="{FF2B5EF4-FFF2-40B4-BE49-F238E27FC236}">
                            <a16:creationId xmlns:a16="http://schemas.microsoft.com/office/drawing/2014/main" id="{474E5002-D1F2-D774-C181-0B3C4AA38F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0E5D0AD9-2BA7-E85C-4211-2AC064C1CB7E}"/>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kumimoji="1" lang="ja-JP" altLang="en-US"/>
          </a:p>
        </p:txBody>
      </p:sp>
      <p:sp>
        <p:nvSpPr>
          <p:cNvPr id="3" name="テキスト プレースホルダー 2">
            <a:extLst>
              <a:ext uri="{FF2B5EF4-FFF2-40B4-BE49-F238E27FC236}">
                <a16:creationId xmlns:a16="http://schemas.microsoft.com/office/drawing/2014/main" id="{417A18CA-0059-03EF-FE57-D2DBA870D210}"/>
              </a:ext>
            </a:extLst>
          </p:cNvPr>
          <p:cNvSpPr>
            <a:spLocks noGrp="1"/>
          </p:cNvSpPr>
          <p:nvPr>
            <p:ph type="body" sz="quarter" idx="36"/>
          </p:nvPr>
        </p:nvSpPr>
        <p:spPr>
          <a:xfrm>
            <a:off x="300779" y="215626"/>
            <a:ext cx="11376000" cy="415498"/>
          </a:xfrm>
        </p:spPr>
        <p:txBody>
          <a:bodyPr/>
          <a:lstStyle/>
          <a:p>
            <a:r>
              <a:rPr lang="en-US" altLang="ja-JP"/>
              <a:t>Ⅳ.</a:t>
            </a:r>
            <a:r>
              <a:rPr lang="ja-JP" altLang="en-US"/>
              <a:t>エンドコンテンツとの連携</a:t>
            </a:r>
          </a:p>
        </p:txBody>
      </p:sp>
      <p:sp>
        <p:nvSpPr>
          <p:cNvPr id="4" name="タイトル 3">
            <a:extLst>
              <a:ext uri="{FF2B5EF4-FFF2-40B4-BE49-F238E27FC236}">
                <a16:creationId xmlns:a16="http://schemas.microsoft.com/office/drawing/2014/main" id="{4F1B8C31-A2AA-E8B5-6842-B8CA68666E37}"/>
              </a:ext>
            </a:extLst>
          </p:cNvPr>
          <p:cNvSpPr>
            <a:spLocks noGrp="1"/>
          </p:cNvSpPr>
          <p:nvPr>
            <p:ph type="title"/>
          </p:nvPr>
        </p:nvSpPr>
        <p:spPr/>
        <p:txBody>
          <a:bodyPr vert="horz"/>
          <a:lstStyle/>
          <a:p>
            <a:r>
              <a:rPr kumimoji="1" lang="ja-JP" altLang="en-US" dirty="0"/>
              <a:t>８</a:t>
            </a:r>
            <a:r>
              <a:rPr kumimoji="1" lang="en-US" altLang="ja-JP" dirty="0"/>
              <a:t>.</a:t>
            </a:r>
            <a:r>
              <a:rPr kumimoji="1" lang="ja-JP" altLang="en-US" dirty="0"/>
              <a:t>ユーザインタフェース｜画面ごとの機能一覧</a:t>
            </a:r>
          </a:p>
        </p:txBody>
      </p:sp>
      <p:graphicFrame>
        <p:nvGraphicFramePr>
          <p:cNvPr id="5" name="表 4">
            <a:extLst>
              <a:ext uri="{FF2B5EF4-FFF2-40B4-BE49-F238E27FC236}">
                <a16:creationId xmlns:a16="http://schemas.microsoft.com/office/drawing/2014/main" id="{61B29258-DA16-BE71-3B81-5C7F078688CC}"/>
              </a:ext>
            </a:extLst>
          </p:cNvPr>
          <p:cNvGraphicFramePr>
            <a:graphicFrameLocks noGrp="1"/>
          </p:cNvGraphicFramePr>
          <p:nvPr/>
        </p:nvGraphicFramePr>
        <p:xfrm>
          <a:off x="300779" y="2071102"/>
          <a:ext cx="11591184" cy="2796749"/>
        </p:xfrm>
        <a:graphic>
          <a:graphicData uri="http://schemas.openxmlformats.org/drawingml/2006/table">
            <a:tbl>
              <a:tblPr firstRow="1" firstCol="1" bandRow="1">
                <a:tableStyleId>{5C22544A-7EE6-4342-B048-85BDC9FD1C3A}</a:tableStyleId>
              </a:tblPr>
              <a:tblGrid>
                <a:gridCol w="1713172">
                  <a:extLst>
                    <a:ext uri="{9D8B030D-6E8A-4147-A177-3AD203B41FA5}">
                      <a16:colId xmlns:a16="http://schemas.microsoft.com/office/drawing/2014/main" val="816785244"/>
                    </a:ext>
                  </a:extLst>
                </a:gridCol>
                <a:gridCol w="2792382">
                  <a:extLst>
                    <a:ext uri="{9D8B030D-6E8A-4147-A177-3AD203B41FA5}">
                      <a16:colId xmlns:a16="http://schemas.microsoft.com/office/drawing/2014/main" val="3259469306"/>
                    </a:ext>
                  </a:extLst>
                </a:gridCol>
                <a:gridCol w="7085630">
                  <a:extLst>
                    <a:ext uri="{9D8B030D-6E8A-4147-A177-3AD203B41FA5}">
                      <a16:colId xmlns:a16="http://schemas.microsoft.com/office/drawing/2014/main" val="1071912486"/>
                    </a:ext>
                  </a:extLst>
                </a:gridCol>
              </a:tblGrid>
              <a:tr h="356134">
                <a:tc>
                  <a:txBody>
                    <a:bodyPr/>
                    <a:lstStyle/>
                    <a:p>
                      <a:pPr algn="just"/>
                      <a:r>
                        <a:rPr lang="en-US" sz="1400" b="0" kern="100">
                          <a:solidFill>
                            <a:schemeClr val="tx1"/>
                          </a:solidFill>
                          <a:effectLst/>
                        </a:rPr>
                        <a:t>ID</a:t>
                      </a:r>
                      <a:endParaRPr lang="ja-JP" sz="1400" b="0" kern="100">
                        <a:solidFill>
                          <a:schemeClr val="tx1"/>
                        </a:solidFill>
                        <a:effectLst/>
                        <a:latin typeface="游ゴシック Medium" panose="020B0500000000000000" pitchFamily="50" charset="-128"/>
                        <a:ea typeface="游ゴシック Medium" panose="020B0500000000000000" pitchFamily="50" charset="-128"/>
                        <a:cs typeface="Meiryo UI" panose="020B0604030504040204" pitchFamily="50" charset="-128"/>
                      </a:endParaRPr>
                    </a:p>
                  </a:txBody>
                  <a:tcPr marL="90000" marR="90000" marT="46800" marB="468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algn="just"/>
                      <a:r>
                        <a:rPr lang="ja-JP" sz="1400" b="0" kern="100">
                          <a:solidFill>
                            <a:schemeClr val="tx1"/>
                          </a:solidFill>
                          <a:effectLst/>
                        </a:rPr>
                        <a:t>画面名</a:t>
                      </a:r>
                      <a:endParaRPr lang="ja-JP" sz="1400" b="0" kern="100">
                        <a:solidFill>
                          <a:schemeClr val="tx1"/>
                        </a:solidFill>
                        <a:effectLst/>
                        <a:latin typeface="游ゴシック Medium" panose="020B0500000000000000" pitchFamily="50" charset="-128"/>
                        <a:ea typeface="游ゴシック Medium" panose="020B0500000000000000" pitchFamily="50" charset="-128"/>
                        <a:cs typeface="Meiryo UI" panose="020B0604030504040204" pitchFamily="50" charset="-128"/>
                      </a:endParaRPr>
                    </a:p>
                  </a:txBody>
                  <a:tcPr marL="90000" marR="90000" marT="46800" marB="468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algn="just"/>
                      <a:r>
                        <a:rPr lang="ja-JP" sz="1400" b="0" kern="100">
                          <a:solidFill>
                            <a:schemeClr val="tx1"/>
                          </a:solidFill>
                          <a:effectLst/>
                        </a:rPr>
                        <a:t>画面説明</a:t>
                      </a:r>
                      <a:endParaRPr lang="ja-JP" sz="1400" b="0" kern="100">
                        <a:solidFill>
                          <a:schemeClr val="tx1"/>
                        </a:solidFill>
                        <a:effectLst/>
                        <a:latin typeface="游ゴシック Medium" panose="020B0500000000000000" pitchFamily="50" charset="-128"/>
                        <a:ea typeface="游ゴシック Medium" panose="020B0500000000000000" pitchFamily="50" charset="-128"/>
                        <a:cs typeface="Meiryo UI" panose="020B0604030504040204" pitchFamily="50" charset="-128"/>
                      </a:endParaRPr>
                    </a:p>
                  </a:txBody>
                  <a:tcPr marL="90000" marR="90000" marT="46800" marB="468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972877939"/>
                  </a:ext>
                </a:extLst>
              </a:tr>
              <a:tr h="356134">
                <a:tc>
                  <a:txBody>
                    <a:bodyPr/>
                    <a:lstStyle/>
                    <a:p>
                      <a:pPr algn="l"/>
                      <a:r>
                        <a:rPr lang="en-US" sz="1400" b="0" kern="100">
                          <a:solidFill>
                            <a:srgbClr val="0070C0"/>
                          </a:solidFill>
                          <a:effectLst/>
                          <a:latin typeface="+mn-ea"/>
                          <a:ea typeface="+mn-ea"/>
                        </a:rPr>
                        <a:t>SC001</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ja-JP" sz="1400" b="0" kern="100">
                          <a:solidFill>
                            <a:srgbClr val="0070C0"/>
                          </a:solidFill>
                          <a:effectLst/>
                          <a:latin typeface="+mn-ea"/>
                          <a:ea typeface="+mn-ea"/>
                        </a:rPr>
                        <a:t>認証画面</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42900" lvl="0" indent="-342900" algn="just">
                        <a:buFont typeface="Wingdings" panose="05000000000000000000" pitchFamily="2" charset="2"/>
                        <a:buChar char=""/>
                      </a:pPr>
                      <a:r>
                        <a:rPr lang="ja-JP" altLang="en-US" sz="1400" b="0" kern="100">
                          <a:solidFill>
                            <a:srgbClr val="0070C0"/>
                          </a:solidFill>
                          <a:effectLst/>
                          <a:latin typeface="+mn-ea"/>
                          <a:ea typeface="+mn-ea"/>
                          <a:cs typeface="Meiryo UI" panose="020B0604030504040204" pitchFamily="50" charset="-128"/>
                        </a:rPr>
                        <a:t>メールアカウントとパスワードで認証する。</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03418220"/>
                  </a:ext>
                </a:extLst>
              </a:tr>
              <a:tr h="687707">
                <a:tc>
                  <a:txBody>
                    <a:bodyPr/>
                    <a:lstStyle/>
                    <a:p>
                      <a:pPr algn="l"/>
                      <a:r>
                        <a:rPr lang="en-US" sz="1400" b="0" kern="100">
                          <a:solidFill>
                            <a:srgbClr val="0070C0"/>
                          </a:solidFill>
                          <a:effectLst/>
                          <a:latin typeface="+mn-ea"/>
                          <a:ea typeface="+mn-ea"/>
                        </a:rPr>
                        <a:t>SC002</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ja-JP" sz="1400" b="0" kern="100">
                          <a:solidFill>
                            <a:srgbClr val="0070C0"/>
                          </a:solidFill>
                          <a:effectLst/>
                          <a:latin typeface="+mn-ea"/>
                          <a:ea typeface="+mn-ea"/>
                        </a:rPr>
                        <a:t>メインビュー</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42900" lvl="0" indent="-342900" algn="just">
                        <a:buFont typeface="Wingdings" panose="05000000000000000000" pitchFamily="2" charset="2"/>
                        <a:buChar char=""/>
                      </a:pPr>
                      <a:r>
                        <a:rPr lang="ja-JP" altLang="en-US" sz="1400" b="0" kern="100">
                          <a:solidFill>
                            <a:srgbClr val="0070C0"/>
                          </a:solidFill>
                          <a:effectLst/>
                          <a:latin typeface="+mn-ea"/>
                          <a:ea typeface="+mn-ea"/>
                          <a:cs typeface="Meiryo UI" panose="020B0604030504040204" pitchFamily="50" charset="-128"/>
                        </a:rPr>
                        <a:t>各種データを用いて、該当エリアの公共交通の状態を評価する指標を提示する。</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78847348"/>
                  </a:ext>
                </a:extLst>
              </a:tr>
              <a:tr h="487716">
                <a:tc>
                  <a:txBody>
                    <a:bodyPr/>
                    <a:lstStyle/>
                    <a:p>
                      <a:pPr algn="l"/>
                      <a:r>
                        <a:rPr lang="en-US" sz="1400" b="0" kern="100">
                          <a:solidFill>
                            <a:srgbClr val="0070C0"/>
                          </a:solidFill>
                          <a:effectLst/>
                          <a:latin typeface="+mn-ea"/>
                          <a:ea typeface="+mn-ea"/>
                        </a:rPr>
                        <a:t>SC003</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ja-JP" altLang="en-US" sz="1400" b="0" kern="100">
                          <a:solidFill>
                            <a:srgbClr val="0070C0"/>
                          </a:solidFill>
                          <a:effectLst/>
                          <a:latin typeface="+mn-ea"/>
                          <a:ea typeface="+mn-ea"/>
                          <a:cs typeface="Meiryo UI" panose="020B0604030504040204" pitchFamily="50" charset="-128"/>
                        </a:rPr>
                        <a:t>自治体職員向け設定画面</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42900" marR="0" lvl="0" indent="-342900" algn="just" defTabSz="74295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ja-JP" altLang="en-US" sz="1400" b="0" kern="100">
                          <a:solidFill>
                            <a:srgbClr val="0070C0"/>
                          </a:solidFill>
                          <a:effectLst/>
                          <a:latin typeface="+mn-ea"/>
                          <a:ea typeface="+mn-ea"/>
                          <a:cs typeface="Meiryo UI" panose="020B0604030504040204" pitchFamily="50" charset="-128"/>
                        </a:rPr>
                        <a:t>職員がデータ分析における各指標の目標値を設定する画面。</a:t>
                      </a:r>
                      <a:endParaRPr lang="ja-JP" altLang="ja-JP" sz="1400" b="0" kern="100">
                        <a:solidFill>
                          <a:srgbClr val="0070C0"/>
                        </a:solidFill>
                        <a:effectLst/>
                        <a:latin typeface="+mn-ea"/>
                        <a:ea typeface="+mn-ea"/>
                        <a:cs typeface="Meiryo UI" panose="020B0604030504040204" pitchFamily="50" charset="-128"/>
                      </a:endParaRPr>
                    </a:p>
                    <a:p>
                      <a:pPr marL="342900" lvl="0" indent="-342900" algn="just">
                        <a:buFont typeface="Wingdings" panose="05000000000000000000" pitchFamily="2" charset="2"/>
                        <a:buChar char=""/>
                      </a:pP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10099281"/>
                  </a:ext>
                </a:extLst>
              </a:tr>
              <a:tr h="356134">
                <a:tc>
                  <a:txBody>
                    <a:bodyPr/>
                    <a:lstStyle/>
                    <a:p>
                      <a:pPr algn="l"/>
                      <a:r>
                        <a:rPr lang="en-US" sz="1400" b="0" kern="100">
                          <a:solidFill>
                            <a:srgbClr val="0070C0"/>
                          </a:solidFill>
                          <a:effectLst/>
                          <a:latin typeface="+mn-ea"/>
                          <a:ea typeface="+mn-ea"/>
                        </a:rPr>
                        <a:t>SC004</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ja-JP" altLang="en-US" sz="1400" b="0" kern="100">
                          <a:solidFill>
                            <a:srgbClr val="0070C0"/>
                          </a:solidFill>
                          <a:effectLst/>
                          <a:latin typeface="+mn-ea"/>
                          <a:ea typeface="+mn-ea"/>
                          <a:cs typeface="Meiryo UI" panose="020B0604030504040204" pitchFamily="50" charset="-128"/>
                        </a:rPr>
                        <a:t>ユーザー管理画面</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42900" lvl="0" indent="-342900" algn="just">
                        <a:buFont typeface="Wingdings" panose="05000000000000000000" pitchFamily="2" charset="2"/>
                        <a:buChar char=""/>
                      </a:pPr>
                      <a:r>
                        <a:rPr lang="ja-JP" altLang="en-US" sz="1400" b="0" kern="100">
                          <a:solidFill>
                            <a:srgbClr val="0070C0"/>
                          </a:solidFill>
                          <a:effectLst/>
                          <a:latin typeface="+mn-ea"/>
                          <a:ea typeface="+mn-ea"/>
                          <a:cs typeface="Meiryo UI" panose="020B0604030504040204" pitchFamily="50" charset="-128"/>
                        </a:rPr>
                        <a:t>ユーザーに応じた権限付与を実施する画面</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480707"/>
                  </a:ext>
                </a:extLst>
              </a:tr>
              <a:tr h="356134">
                <a:tc>
                  <a:txBody>
                    <a:bodyPr/>
                    <a:lstStyle/>
                    <a:p>
                      <a:pPr algn="l"/>
                      <a:r>
                        <a:rPr lang="en-US" sz="1400" b="0" kern="100">
                          <a:solidFill>
                            <a:srgbClr val="0070C0"/>
                          </a:solidFill>
                          <a:effectLst/>
                          <a:latin typeface="+mn-ea"/>
                          <a:ea typeface="+mn-ea"/>
                        </a:rPr>
                        <a:t>SC005</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en-US" altLang="ja-JP" sz="1400" b="0" kern="100">
                          <a:solidFill>
                            <a:srgbClr val="0070C0"/>
                          </a:solidFill>
                          <a:effectLst/>
                          <a:latin typeface="+mn-ea"/>
                          <a:ea typeface="+mn-ea"/>
                          <a:cs typeface="Meiryo UI" panose="020B0604030504040204" pitchFamily="50" charset="-128"/>
                        </a:rPr>
                        <a:t>XXXXXXXXX</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42900" marR="0" lvl="0" indent="-342900" algn="just" defTabSz="74295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altLang="ja-JP" sz="1400" b="0" kern="100">
                          <a:solidFill>
                            <a:srgbClr val="0070C0"/>
                          </a:solidFill>
                          <a:effectLst/>
                          <a:latin typeface="+mn-ea"/>
                          <a:ea typeface="+mn-ea"/>
                          <a:cs typeface="Meiryo UI" panose="020B0604030504040204" pitchFamily="50" charset="-128"/>
                        </a:rPr>
                        <a:t>XXXXXXXXXX</a:t>
                      </a:r>
                      <a:endParaRPr lang="ja-JP" altLang="ja-JP" sz="1400" b="0" kern="100">
                        <a:solidFill>
                          <a:srgbClr val="0070C0"/>
                        </a:solidFill>
                        <a:effectLst/>
                        <a:latin typeface="+mn-ea"/>
                        <a:ea typeface="+mn-ea"/>
                        <a:cs typeface="Meiryo UI" panose="020B0604030504040204" pitchFamily="50" charset="-128"/>
                      </a:endParaRPr>
                    </a:p>
                    <a:p>
                      <a:pPr marL="342900" lvl="0" indent="-342900" algn="just">
                        <a:buFont typeface="Wingdings" panose="05000000000000000000" pitchFamily="2" charset="2"/>
                        <a:buChar char=""/>
                      </a:pP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8800064"/>
                  </a:ext>
                </a:extLst>
              </a:tr>
            </a:tbl>
          </a:graphicData>
        </a:graphic>
      </p:graphicFrame>
      <p:sp>
        <p:nvSpPr>
          <p:cNvPr id="7" name="テキスト ボックス 6">
            <a:extLst>
              <a:ext uri="{FF2B5EF4-FFF2-40B4-BE49-F238E27FC236}">
                <a16:creationId xmlns:a16="http://schemas.microsoft.com/office/drawing/2014/main" id="{8ACCDA4C-8810-C7E1-7188-E18006A44257}"/>
              </a:ext>
            </a:extLst>
          </p:cNvPr>
          <p:cNvSpPr txBox="1"/>
          <p:nvPr/>
        </p:nvSpPr>
        <p:spPr>
          <a:xfrm>
            <a:off x="2920785" y="3675017"/>
            <a:ext cx="6135987" cy="2385668"/>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前項で定義した画面設計に従い、各画面が提供する機能について記載してください。</a:t>
            </a:r>
          </a:p>
        </p:txBody>
      </p:sp>
    </p:spTree>
    <p:extLst>
      <p:ext uri="{BB962C8B-B14F-4D97-AF65-F5344CB8AC3E}">
        <p14:creationId xmlns:p14="http://schemas.microsoft.com/office/powerpoint/2010/main" val="137625636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7">
            <a:extLst>
              <a:ext uri="{FF2B5EF4-FFF2-40B4-BE49-F238E27FC236}">
                <a16:creationId xmlns:a16="http://schemas.microsoft.com/office/drawing/2014/main" id="{12ACD507-CDCD-7967-B093-33A8EA8B50AD}"/>
              </a:ext>
            </a:extLst>
          </p:cNvPr>
          <p:cNvGraphicFramePr>
            <a:graphicFrameLocks noGrp="1"/>
          </p:cNvGraphicFramePr>
          <p:nvPr>
            <p:extLst>
              <p:ext uri="{D42A27DB-BD31-4B8C-83A1-F6EECF244321}">
                <p14:modId xmlns:p14="http://schemas.microsoft.com/office/powerpoint/2010/main" val="3109570082"/>
              </p:ext>
            </p:extLst>
          </p:nvPr>
        </p:nvGraphicFramePr>
        <p:xfrm>
          <a:off x="293687" y="1505156"/>
          <a:ext cx="11604626" cy="4907927"/>
        </p:xfrm>
        <a:graphic>
          <a:graphicData uri="http://schemas.openxmlformats.org/drawingml/2006/table">
            <a:tbl>
              <a:tblPr>
                <a:tableStyleId>{5C22544A-7EE6-4342-B048-85BDC9FD1C3A}</a:tableStyleId>
              </a:tblPr>
              <a:tblGrid>
                <a:gridCol w="5116513">
                  <a:extLst>
                    <a:ext uri="{9D8B030D-6E8A-4147-A177-3AD203B41FA5}">
                      <a16:colId xmlns:a16="http://schemas.microsoft.com/office/drawing/2014/main" val="564283603"/>
                    </a:ext>
                  </a:extLst>
                </a:gridCol>
                <a:gridCol w="6488113">
                  <a:extLst>
                    <a:ext uri="{9D8B030D-6E8A-4147-A177-3AD203B41FA5}">
                      <a16:colId xmlns:a16="http://schemas.microsoft.com/office/drawing/2014/main" val="1942113200"/>
                    </a:ext>
                  </a:extLst>
                </a:gridCol>
              </a:tblGrid>
              <a:tr h="406886">
                <a:tc>
                  <a:txBody>
                    <a:bodyPr/>
                    <a:lstStyle/>
                    <a:p>
                      <a:r>
                        <a:rPr kumimoji="1" lang="ja-JP" altLang="en-US" sz="1400" b="1">
                          <a:latin typeface="+mn-ea"/>
                          <a:ea typeface="+mn-ea"/>
                        </a:rPr>
                        <a:t>関係者（名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400" b="1">
                          <a:latin typeface="+mn-ea"/>
                          <a:ea typeface="+mn-ea"/>
                        </a:rPr>
                        <a:t>役割</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9378519"/>
                  </a:ext>
                </a:extLst>
              </a:tr>
              <a:tr h="437416">
                <a:tc>
                  <a:txBody>
                    <a:bodyPr/>
                    <a:lstStyle/>
                    <a:p>
                      <a:r>
                        <a:rPr kumimoji="1" lang="en-US" altLang="ja-JP" sz="1400">
                          <a:solidFill>
                            <a:srgbClr val="0070C0"/>
                          </a:solidFill>
                          <a:latin typeface="+mn-ea"/>
                          <a:ea typeface="+mn-ea"/>
                        </a:rPr>
                        <a:t>AA</a:t>
                      </a:r>
                      <a:r>
                        <a:rPr kumimoji="1" lang="ja-JP" altLang="en-US" sz="1400">
                          <a:solidFill>
                            <a:srgbClr val="0070C0"/>
                          </a:solidFill>
                          <a:latin typeface="+mn-ea"/>
                          <a:ea typeface="+mn-ea"/>
                        </a:rPr>
                        <a:t>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全体統括、企画運営</a:t>
                      </a:r>
                      <a:endParaRPr kumimoji="1" lang="en-US" altLang="ja-JP" sz="140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94776207"/>
                  </a:ext>
                </a:extLst>
              </a:tr>
              <a:tr h="4374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a:solidFill>
                            <a:srgbClr val="0070C0"/>
                          </a:solidFill>
                          <a:latin typeface="+mn-ea"/>
                          <a:ea typeface="+mn-ea"/>
                        </a:rPr>
                        <a:t>BB</a:t>
                      </a:r>
                      <a:r>
                        <a:rPr kumimoji="1" lang="ja-JP" altLang="en-US" sz="1400">
                          <a:solidFill>
                            <a:srgbClr val="0070C0"/>
                          </a:solidFill>
                          <a:latin typeface="+mn-ea"/>
                          <a:ea typeface="+mn-ea"/>
                        </a:rPr>
                        <a:t>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400">
                          <a:solidFill>
                            <a:srgbClr val="0070C0"/>
                          </a:solidFill>
                          <a:latin typeface="+mn-ea"/>
                          <a:ea typeface="+mn-ea"/>
                        </a:rPr>
                        <a:t>MaaS</a:t>
                      </a:r>
                      <a:r>
                        <a:rPr kumimoji="1" lang="ja-JP" altLang="en-US" sz="1400">
                          <a:solidFill>
                            <a:srgbClr val="0070C0"/>
                          </a:solidFill>
                          <a:latin typeface="+mn-ea"/>
                          <a:ea typeface="+mn-ea"/>
                        </a:rPr>
                        <a:t>アプリ改修、乗車券と宿泊</a:t>
                      </a:r>
                      <a:r>
                        <a:rPr kumimoji="1" lang="en-US" altLang="ja-JP" sz="1400">
                          <a:solidFill>
                            <a:srgbClr val="0070C0"/>
                          </a:solidFill>
                          <a:latin typeface="+mn-ea"/>
                          <a:ea typeface="+mn-ea"/>
                        </a:rPr>
                        <a:t>/</a:t>
                      </a:r>
                      <a:r>
                        <a:rPr kumimoji="1" lang="ja-JP" altLang="en-US" sz="1400">
                          <a:solidFill>
                            <a:srgbClr val="0070C0"/>
                          </a:solidFill>
                          <a:latin typeface="+mn-ea"/>
                          <a:ea typeface="+mn-ea"/>
                        </a:rPr>
                        <a:t>観光施設の利用チケットの造成</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44902017"/>
                  </a:ext>
                </a:extLst>
              </a:tr>
              <a:tr h="5026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a:solidFill>
                            <a:srgbClr val="0070C0"/>
                          </a:solidFill>
                          <a:latin typeface="+mn-ea"/>
                          <a:ea typeface="+mn-ea"/>
                        </a:rPr>
                        <a:t>C</a:t>
                      </a:r>
                      <a:r>
                        <a:rPr kumimoji="1" lang="ja-JP" altLang="en-US" sz="1400">
                          <a:solidFill>
                            <a:srgbClr val="0070C0"/>
                          </a:solidFill>
                          <a:latin typeface="+mn-ea"/>
                          <a:ea typeface="+mn-ea"/>
                        </a:rPr>
                        <a:t>鉄道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鉄道運行自動車</a:t>
                      </a:r>
                      <a:endParaRPr kumimoji="1" lang="en-US" altLang="ja-JP" sz="1400">
                        <a:solidFill>
                          <a:srgbClr val="0070C0"/>
                        </a:solidFill>
                        <a:latin typeface="+mn-ea"/>
                        <a:ea typeface="+mn-ea"/>
                      </a:endParaRPr>
                    </a:p>
                    <a:p>
                      <a:r>
                        <a:rPr kumimoji="1" lang="ja-JP" altLang="en-US" sz="1400">
                          <a:solidFill>
                            <a:srgbClr val="0070C0"/>
                          </a:solidFill>
                          <a:latin typeface="+mn-ea"/>
                          <a:ea typeface="+mn-ea"/>
                        </a:rPr>
                        <a:t>●●線（全線），●●線（●●空港⇔●●）、･･･</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16460124"/>
                  </a:ext>
                </a:extLst>
              </a:tr>
              <a:tr h="502689">
                <a:tc>
                  <a:txBody>
                    <a:bodyPr/>
                    <a:lstStyle/>
                    <a:p>
                      <a:r>
                        <a:rPr kumimoji="1" lang="en-US" altLang="ja-JP" sz="1400">
                          <a:solidFill>
                            <a:srgbClr val="0070C0"/>
                          </a:solidFill>
                          <a:latin typeface="+mn-ea"/>
                          <a:ea typeface="+mn-ea"/>
                        </a:rPr>
                        <a:t>DD</a:t>
                      </a:r>
                      <a:r>
                        <a:rPr kumimoji="1" lang="ja-JP" altLang="en-US" sz="1400">
                          <a:solidFill>
                            <a:srgbClr val="0070C0"/>
                          </a:solidFill>
                          <a:latin typeface="+mn-ea"/>
                          <a:ea typeface="+mn-ea"/>
                        </a:rPr>
                        <a:t>バス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バス運行事業者</a:t>
                      </a:r>
                    </a:p>
                    <a:p>
                      <a:r>
                        <a:rPr kumimoji="1" lang="en-US" altLang="ja-JP" sz="1400">
                          <a:solidFill>
                            <a:srgbClr val="0070C0"/>
                          </a:solidFill>
                          <a:latin typeface="+mn-ea"/>
                          <a:ea typeface="+mn-ea"/>
                        </a:rPr>
                        <a:t>××</a:t>
                      </a:r>
                      <a:r>
                        <a:rPr kumimoji="1" lang="ja-JP" altLang="en-US" sz="1400">
                          <a:solidFill>
                            <a:srgbClr val="0070C0"/>
                          </a:solidFill>
                          <a:latin typeface="+mn-ea"/>
                          <a:ea typeface="+mn-ea"/>
                        </a:rPr>
                        <a:t>～</a:t>
                      </a:r>
                      <a:r>
                        <a:rPr kumimoji="1" lang="en-US" altLang="ja-JP" sz="1400">
                          <a:solidFill>
                            <a:srgbClr val="0070C0"/>
                          </a:solidFill>
                          <a:latin typeface="+mn-ea"/>
                          <a:ea typeface="+mn-ea"/>
                        </a:rPr>
                        <a:t>××</a:t>
                      </a:r>
                      <a:r>
                        <a:rPr kumimoji="1" lang="ja-JP" altLang="en-US" sz="1400">
                          <a:solidFill>
                            <a:srgbClr val="0070C0"/>
                          </a:solidFill>
                          <a:latin typeface="+mn-ea"/>
                          <a:ea typeface="+mn-ea"/>
                        </a:rPr>
                        <a:t>線、</a:t>
                      </a:r>
                      <a:r>
                        <a:rPr kumimoji="1" lang="en-US" altLang="ja-JP" sz="1400">
                          <a:solidFill>
                            <a:srgbClr val="0070C0"/>
                          </a:solidFill>
                          <a:latin typeface="+mn-ea"/>
                          <a:ea typeface="+mn-ea"/>
                        </a:rPr>
                        <a:t>××</a:t>
                      </a:r>
                      <a:r>
                        <a:rPr kumimoji="1" lang="ja-JP" altLang="en-US" sz="1400">
                          <a:solidFill>
                            <a:srgbClr val="0070C0"/>
                          </a:solidFill>
                          <a:latin typeface="+mn-ea"/>
                          <a:ea typeface="+mn-ea"/>
                        </a:rPr>
                        <a:t>～</a:t>
                      </a:r>
                      <a:r>
                        <a:rPr kumimoji="1" lang="en-US" altLang="ja-JP" sz="1400">
                          <a:solidFill>
                            <a:srgbClr val="0070C0"/>
                          </a:solidFill>
                          <a:latin typeface="+mn-ea"/>
                          <a:ea typeface="+mn-ea"/>
                        </a:rPr>
                        <a:t>××</a:t>
                      </a:r>
                      <a:r>
                        <a:rPr kumimoji="1" lang="ja-JP" altLang="en-US" sz="1400">
                          <a:solidFill>
                            <a:srgbClr val="0070C0"/>
                          </a:solidFill>
                          <a:latin typeface="+mn-ea"/>
                          <a:ea typeface="+mn-ea"/>
                        </a:rPr>
                        <a:t>線、･･･</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04760456"/>
                  </a:ext>
                </a:extLst>
              </a:tr>
              <a:tr h="709679">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en-US" altLang="ja-JP" sz="1400">
                          <a:solidFill>
                            <a:srgbClr val="0070C0"/>
                          </a:solidFill>
                          <a:latin typeface="+mn-ea"/>
                          <a:ea typeface="+mn-ea"/>
                        </a:rPr>
                        <a:t>EE</a:t>
                      </a:r>
                      <a:r>
                        <a:rPr kumimoji="1" lang="ja-JP" altLang="en-US" sz="1400">
                          <a:solidFill>
                            <a:srgbClr val="0070C0"/>
                          </a:solidFill>
                          <a:latin typeface="+mn-ea"/>
                          <a:ea typeface="+mn-ea"/>
                        </a:rPr>
                        <a:t>レンタサイクル協議会（◯◯）</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レンタサイクル事業者</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83108121"/>
                  </a:ext>
                </a:extLst>
              </a:tr>
              <a:tr h="502689">
                <a:tc>
                  <a:txBody>
                    <a:bodyPr/>
                    <a:lstStyle/>
                    <a:p>
                      <a:r>
                        <a:rPr kumimoji="1" lang="en-US" altLang="ja-JP" sz="1400">
                          <a:solidFill>
                            <a:srgbClr val="0070C0"/>
                          </a:solidFill>
                          <a:latin typeface="+mn-ea"/>
                          <a:ea typeface="+mn-ea"/>
                        </a:rPr>
                        <a:t>FF</a:t>
                      </a:r>
                      <a:r>
                        <a:rPr kumimoji="1" lang="ja-JP" altLang="en-US" sz="1400">
                          <a:solidFill>
                            <a:srgbClr val="0070C0"/>
                          </a:solidFill>
                          <a:latin typeface="+mn-ea"/>
                          <a:ea typeface="+mn-ea"/>
                        </a:rPr>
                        <a:t>ホテル（◯◯）</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400">
                          <a:solidFill>
                            <a:srgbClr val="0070C0"/>
                          </a:solidFill>
                          <a:latin typeface="+mn-ea"/>
                          <a:ea typeface="+mn-ea"/>
                        </a:rPr>
                        <a:t>宿泊施設チケット連携</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99637259"/>
                  </a:ext>
                </a:extLst>
              </a:tr>
              <a:tr h="502689">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en-US" altLang="ja-JP" sz="1400">
                          <a:solidFill>
                            <a:srgbClr val="0070C0"/>
                          </a:solidFill>
                          <a:latin typeface="+mn-ea"/>
                          <a:ea typeface="+mn-ea"/>
                        </a:rPr>
                        <a:t>GG</a:t>
                      </a:r>
                      <a:r>
                        <a:rPr kumimoji="1" lang="ja-JP" altLang="en-US" sz="1400">
                          <a:solidFill>
                            <a:srgbClr val="0070C0"/>
                          </a:solidFill>
                          <a:latin typeface="+mn-ea"/>
                          <a:ea typeface="+mn-ea"/>
                        </a:rPr>
                        <a:t>水族館（◯◯）</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観光チケット連携</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27684720"/>
                  </a:ext>
                </a:extLst>
              </a:tr>
              <a:tr h="437416">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1" lang="ja-JP" altLang="en-US" sz="140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40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77168933"/>
                  </a:ext>
                </a:extLst>
              </a:tr>
              <a:tr h="437416">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1" lang="ja-JP" altLang="en-US" sz="140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40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55677518"/>
                  </a:ext>
                </a:extLst>
              </a:tr>
            </a:tbl>
          </a:graphicData>
        </a:graphic>
      </p:graphicFrame>
      <p:graphicFrame>
        <p:nvGraphicFramePr>
          <p:cNvPr id="5" name="think-cell data - do not delete" hidden="1">
            <a:extLst>
              <a:ext uri="{FF2B5EF4-FFF2-40B4-BE49-F238E27FC236}">
                <a16:creationId xmlns:a16="http://schemas.microsoft.com/office/drawing/2014/main" id="{513D425D-4833-5C45-A720-ECEB95C590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12" imgH="511" progId="TCLayout.ActiveDocument.1">
                  <p:embed/>
                </p:oleObj>
              </mc:Choice>
              <mc:Fallback>
                <p:oleObj name="think-cell スライド" r:id="rId3" imgW="512" imgH="511" progId="TCLayout.ActiveDocument.1">
                  <p:embed/>
                  <p:pic>
                    <p:nvPicPr>
                      <p:cNvPr id="5" name="think-cell data - do not delete" hidden="1">
                        <a:extLst>
                          <a:ext uri="{FF2B5EF4-FFF2-40B4-BE49-F238E27FC236}">
                            <a16:creationId xmlns:a16="http://schemas.microsoft.com/office/drawing/2014/main" id="{513D425D-4833-5C45-A720-ECEB95C590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8">
            <a:extLst>
              <a:ext uri="{FF2B5EF4-FFF2-40B4-BE49-F238E27FC236}">
                <a16:creationId xmlns:a16="http://schemas.microsoft.com/office/drawing/2014/main" id="{43C330CB-8A4D-F4A2-AFFC-48CA4FB9C719}"/>
              </a:ext>
            </a:extLst>
          </p:cNvPr>
          <p:cNvSpPr>
            <a:spLocks noGrp="1"/>
          </p:cNvSpPr>
          <p:nvPr>
            <p:ph type="body" sz="quarter" idx="4294967295"/>
          </p:nvPr>
        </p:nvSpPr>
        <p:spPr>
          <a:xfrm>
            <a:off x="300779" y="1134673"/>
            <a:ext cx="11376000" cy="323165"/>
          </a:xfrm>
        </p:spPr>
        <p:txBody>
          <a:bodyPr>
            <a:normAutofit fontScale="92500" lnSpcReduction="2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マリーを記載</a:t>
            </a: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 name="テキスト プレースホルダー 2">
            <a:extLst>
              <a:ext uri="{FF2B5EF4-FFF2-40B4-BE49-F238E27FC236}">
                <a16:creationId xmlns:a16="http://schemas.microsoft.com/office/drawing/2014/main" id="{6247E137-868B-539C-2D6E-DC37708CAC30}"/>
              </a:ext>
            </a:extLst>
          </p:cNvPr>
          <p:cNvSpPr>
            <a:spLocks noGrp="1"/>
          </p:cNvSpPr>
          <p:nvPr>
            <p:ph type="body" sz="quarter" idx="36"/>
          </p:nvPr>
        </p:nvSpPr>
        <p:spPr/>
        <p:txBody>
          <a:bodyPr/>
          <a:lstStyle/>
          <a:p>
            <a:r>
              <a:rPr lang="en-US" altLang="ja-JP"/>
              <a:t>Ⅳ.</a:t>
            </a:r>
            <a:r>
              <a:rPr lang="ja-JP" altLang="en-US"/>
              <a:t>エンドコンテンツとの連携</a:t>
            </a:r>
          </a:p>
        </p:txBody>
      </p:sp>
      <p:sp>
        <p:nvSpPr>
          <p:cNvPr id="4" name="タイトル 3">
            <a:extLst>
              <a:ext uri="{FF2B5EF4-FFF2-40B4-BE49-F238E27FC236}">
                <a16:creationId xmlns:a16="http://schemas.microsoft.com/office/drawing/2014/main" id="{2C3BBDD6-C18E-A8D5-D35C-ABB97297C5DD}"/>
              </a:ext>
            </a:extLst>
          </p:cNvPr>
          <p:cNvSpPr>
            <a:spLocks noGrp="1"/>
          </p:cNvSpPr>
          <p:nvPr>
            <p:ph type="title"/>
          </p:nvPr>
        </p:nvSpPr>
        <p:spPr/>
        <p:txBody>
          <a:bodyPr vert="horz"/>
          <a:lstStyle/>
          <a:p>
            <a:r>
              <a:rPr kumimoji="1" lang="ja-JP" altLang="en-US" dirty="0"/>
              <a:t>９</a:t>
            </a:r>
            <a:r>
              <a:rPr kumimoji="1" lang="en-US" altLang="ja-JP" dirty="0"/>
              <a:t>.</a:t>
            </a:r>
            <a:r>
              <a:rPr lang="ja-JP" altLang="en-US" dirty="0"/>
              <a:t>事業の推進体制</a:t>
            </a:r>
            <a:endParaRPr kumimoji="1" lang="ja-JP" altLang="en-US" dirty="0"/>
          </a:p>
        </p:txBody>
      </p:sp>
      <p:sp>
        <p:nvSpPr>
          <p:cNvPr id="6" name="テキスト ボックス 5">
            <a:extLst>
              <a:ext uri="{FF2B5EF4-FFF2-40B4-BE49-F238E27FC236}">
                <a16:creationId xmlns:a16="http://schemas.microsoft.com/office/drawing/2014/main" id="{DF1069CE-7F5A-0645-E891-CDDA1E49F184}"/>
              </a:ext>
            </a:extLst>
          </p:cNvPr>
          <p:cNvSpPr txBox="1"/>
          <p:nvPr/>
        </p:nvSpPr>
        <p:spPr>
          <a:xfrm>
            <a:off x="2405904" y="3312979"/>
            <a:ext cx="6135987" cy="1074059"/>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エンドコンテンツとの連携領域に関与する関係者を網羅的に特定し、役割を明確にしてください。​</a:t>
            </a:r>
          </a:p>
        </p:txBody>
      </p:sp>
    </p:spTree>
    <p:extLst>
      <p:ext uri="{BB962C8B-B14F-4D97-AF65-F5344CB8AC3E}">
        <p14:creationId xmlns:p14="http://schemas.microsoft.com/office/powerpoint/2010/main" val="218830090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7A908D4C-AB64-4D6C-A9D7-43C0FEFAFC61}"/>
              </a:ext>
            </a:extLst>
          </p:cNvPr>
          <p:cNvSpPr/>
          <p:nvPr/>
        </p:nvSpPr>
        <p:spPr>
          <a:xfrm>
            <a:off x="7957263" y="1095902"/>
            <a:ext cx="4077122" cy="87577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endParaRPr kumimoji="1" lang="ja-JP" altLang="en-US" sz="1600">
              <a:solidFill>
                <a:schemeClr val="tx1"/>
              </a:solidFill>
            </a:endParaRPr>
          </a:p>
        </p:txBody>
      </p:sp>
      <p:graphicFrame>
        <p:nvGraphicFramePr>
          <p:cNvPr id="8" name="オブジェクト 7" hidden="1">
            <a:extLst>
              <a:ext uri="{FF2B5EF4-FFF2-40B4-BE49-F238E27FC236}">
                <a16:creationId xmlns:a16="http://schemas.microsoft.com/office/drawing/2014/main" id="{1BBE9D25-4DE5-46EE-8FED-CB8ED36E5506}"/>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99" imgH="499" progId="TCLayout.ActiveDocument.1">
                  <p:embed/>
                </p:oleObj>
              </mc:Choice>
              <mc:Fallback>
                <p:oleObj name="think-cell スライド" r:id="rId4" imgW="499" imgH="499" progId="TCLayout.ActiveDocument.1">
                  <p:embed/>
                  <p:pic>
                    <p:nvPicPr>
                      <p:cNvPr id="8" name="オブジェクト 7" hidden="1">
                        <a:extLst>
                          <a:ext uri="{FF2B5EF4-FFF2-40B4-BE49-F238E27FC236}">
                            <a16:creationId xmlns:a16="http://schemas.microsoft.com/office/drawing/2014/main" id="{1BBE9D25-4DE5-46EE-8FED-CB8ED36E5506}"/>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11" name="テキスト プレースホルダー 10">
            <a:extLst>
              <a:ext uri="{FF2B5EF4-FFF2-40B4-BE49-F238E27FC236}">
                <a16:creationId xmlns:a16="http://schemas.microsoft.com/office/drawing/2014/main" id="{D6B57F77-6747-8345-B97F-B6205C839C6A}"/>
              </a:ext>
            </a:extLst>
          </p:cNvPr>
          <p:cNvSpPr>
            <a:spLocks noGrp="1"/>
          </p:cNvSpPr>
          <p:nvPr>
            <p:ph type="body" sz="quarter" idx="36"/>
          </p:nvPr>
        </p:nvSpPr>
        <p:spPr/>
        <p:txBody>
          <a:bodyPr/>
          <a:lstStyle/>
          <a:p>
            <a:endParaRPr lang="ja-JP" altLang="en-US"/>
          </a:p>
        </p:txBody>
      </p:sp>
      <p:sp>
        <p:nvSpPr>
          <p:cNvPr id="2" name="タイトル 1">
            <a:extLst>
              <a:ext uri="{FF2B5EF4-FFF2-40B4-BE49-F238E27FC236}">
                <a16:creationId xmlns:a16="http://schemas.microsoft.com/office/drawing/2014/main" id="{05AAEBB6-71D6-4253-80ED-017092C77AD9}"/>
              </a:ext>
            </a:extLst>
          </p:cNvPr>
          <p:cNvSpPr>
            <a:spLocks noGrp="1"/>
          </p:cNvSpPr>
          <p:nvPr>
            <p:ph type="title"/>
          </p:nvPr>
        </p:nvSpPr>
        <p:spPr/>
        <p:txBody>
          <a:bodyPr vert="horz"/>
          <a:lstStyle/>
          <a:p>
            <a:r>
              <a:rPr kumimoji="1" lang="ja-JP" altLang="en-US"/>
              <a:t>目次</a:t>
            </a:r>
          </a:p>
        </p:txBody>
      </p:sp>
      <p:sp>
        <p:nvSpPr>
          <p:cNvPr id="4" name="正方形/長方形 3">
            <a:extLst>
              <a:ext uri="{FF2B5EF4-FFF2-40B4-BE49-F238E27FC236}">
                <a16:creationId xmlns:a16="http://schemas.microsoft.com/office/drawing/2014/main" id="{95A86948-9994-722E-72BA-C019034BA77F}"/>
              </a:ext>
            </a:extLst>
          </p:cNvPr>
          <p:cNvSpPr/>
          <p:nvPr/>
        </p:nvSpPr>
        <p:spPr>
          <a:xfrm>
            <a:off x="157615" y="1101036"/>
            <a:ext cx="11876770" cy="5541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numCol="3" rtlCol="0" anchor="t"/>
          <a:lstStyle/>
          <a:p>
            <a:pPr marL="342900" indent="-342900">
              <a:buFont typeface="+mj-lt"/>
              <a:buAutoNum type="romanU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プロジェクトのビジョン</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解決すべき社会課題</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創出価値</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課題解決のアプローチ</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en-US" altLang="ja-JP" sz="1600" dirty="0">
                <a:solidFill>
                  <a:srgbClr val="000000"/>
                </a:solidFill>
                <a:latin typeface="BIZ UDPゴシック"/>
                <a:ea typeface="BIZ UDPゴシック"/>
              </a:rPr>
              <a:t>KPI</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想定事業機会</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中長期的な展開</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交通サービスの高度化</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サービス全体像</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lang="ja-JP" altLang="en-US" sz="1600" dirty="0">
                <a:solidFill>
                  <a:srgbClr val="000000"/>
                </a:solidFill>
                <a:latin typeface="BIZ UDPゴシック"/>
                <a:ea typeface="BIZ UDPゴシック"/>
              </a:rPr>
              <a:t>実証仮説</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lang="ja-JP" altLang="en-US" sz="1600" dirty="0">
                <a:solidFill>
                  <a:srgbClr val="000000"/>
                </a:solidFill>
                <a:latin typeface="BIZ UDPゴシック"/>
                <a:ea typeface="BIZ UDPゴシック"/>
              </a:rPr>
              <a:t>スコープ詳細　</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プロジェクト実施エリア</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利用する技術要素</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ユーザインタフェース</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事業の推進体制</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lvl="1">
              <a:defRPr/>
            </a:pPr>
            <a:endParaRPr lang="en-US" altLang="ja-JP" sz="1600" dirty="0">
              <a:solidFill>
                <a:srgbClr val="000000"/>
              </a:solidFill>
              <a:latin typeface="BIZ UDPゴシック"/>
              <a:ea typeface="BIZ UDPゴシック"/>
            </a:endParaRPr>
          </a:p>
          <a:p>
            <a:pPr lvl="1">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lvl="1">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lvl="1">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モビリティデータの取得と活用</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lang="ja-JP" altLang="en-US" sz="1600" dirty="0">
                <a:solidFill>
                  <a:srgbClr val="000000"/>
                </a:solidFill>
                <a:latin typeface="BIZ UDPゴシック"/>
                <a:ea typeface="BIZ UDPゴシック"/>
              </a:rPr>
              <a:t>データ活用の</a:t>
            </a: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全体像</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実証仮説</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スコープ詳細</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データ活用実施エリア</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利用する技術要素</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利用するデータ一覧</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ユーザインターフェース</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事業の推進体制</a:t>
            </a:r>
            <a:endParaRPr lang="en-US" altLang="ja-JP" sz="1600" dirty="0">
              <a:solidFill>
                <a:srgbClr val="000000"/>
              </a:solidFill>
              <a:latin typeface="BIZ UDPゴシック"/>
              <a:ea typeface="BIZ UDPゴシック"/>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US" altLang="ja-JP" sz="1600" dirty="0">
              <a:solidFill>
                <a:srgbClr val="000000"/>
              </a:solidFill>
              <a:latin typeface="BIZ UDPゴシック"/>
              <a:ea typeface="BIZ UDPゴシック"/>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エンドコンテンツとの連携</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サービス全体像</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lang="ja-JP" altLang="en-US" sz="1600" dirty="0">
                <a:solidFill>
                  <a:srgbClr val="000000"/>
                </a:solidFill>
                <a:latin typeface="BIZ UDPゴシック"/>
                <a:ea typeface="BIZ UDPゴシック"/>
              </a:rPr>
              <a:t>実証仮説</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lang="ja-JP" altLang="en-US" sz="1600" dirty="0">
                <a:solidFill>
                  <a:srgbClr val="000000"/>
                </a:solidFill>
                <a:latin typeface="BIZ UDPゴシック"/>
                <a:ea typeface="BIZ UDPゴシック"/>
              </a:rPr>
              <a:t>スコープ詳細　</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プロジェクト実施エリア</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利用する技術要素</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ユーザインタフェース</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事業の推進体制</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スケジュール</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スケジュール（</a:t>
            </a:r>
            <a:r>
              <a:rPr lang="en-US" altLang="ja-JP" sz="1600" dirty="0">
                <a:solidFill>
                  <a:srgbClr val="000000"/>
                </a:solidFill>
                <a:latin typeface="BIZ UDPゴシック"/>
                <a:ea typeface="BIZ UDPゴシック"/>
              </a:rPr>
              <a:t>WBS</a:t>
            </a:r>
            <a:r>
              <a:rPr lang="ja-JP" altLang="en-US" sz="1600" dirty="0">
                <a:solidFill>
                  <a:srgbClr val="000000"/>
                </a:solidFill>
                <a:latin typeface="BIZ UDPゴシック"/>
                <a:ea typeface="BIZ UDPゴシック"/>
              </a:rPr>
              <a:t>ガントチャート）</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プロジェクトのフロー</a:t>
            </a:r>
            <a:endParaRPr lang="en-US" altLang="ja-JP" sz="1600" dirty="0">
              <a:solidFill>
                <a:srgbClr val="000000"/>
              </a:solidFill>
              <a:latin typeface="BIZ UDPゴシック"/>
              <a:ea typeface="BIZ UDPゴシック"/>
            </a:endParaRPr>
          </a:p>
          <a:p>
            <a:pPr marL="800100" lvl="1" indent="-342900">
              <a:buFont typeface="+mj-lt"/>
              <a:buAutoNum type="arabicPeriod"/>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マネジメント計画</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リスク・課題</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コスト</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リソース（プロジェクト実施体制）</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コミュニケーション</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品質</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成果物</a:t>
            </a:r>
            <a:endParaRPr lang="en-US" altLang="ja-JP" sz="1600" dirty="0">
              <a:solidFill>
                <a:srgbClr val="000000"/>
              </a:solidFill>
              <a:latin typeface="BIZ UDPゴシック"/>
              <a:ea typeface="BIZ UDPゴシック"/>
            </a:endParaRPr>
          </a:p>
          <a:p>
            <a:pPr lvl="1">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R="0" lvl="2" algn="l" defTabSz="914400" rtl="0" eaLnBrk="1" fontAlgn="auto" latinLnBrk="0" hangingPunct="1">
              <a:lnSpc>
                <a:spcPct val="100000"/>
              </a:lnSpc>
              <a:spcBef>
                <a:spcPts val="0"/>
              </a:spcBef>
              <a:spcAft>
                <a:spcPts val="0"/>
              </a:spcAft>
              <a:buClrTx/>
              <a:buSzTx/>
              <a:tabLst/>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p:txBody>
      </p:sp>
    </p:spTree>
    <p:extLst>
      <p:ext uri="{BB962C8B-B14F-4D97-AF65-F5344CB8AC3E}">
        <p14:creationId xmlns:p14="http://schemas.microsoft.com/office/powerpoint/2010/main" val="81873679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18A896CF-A1FA-6401-E928-F0D6723FDAA4}"/>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3" name="テキスト プレースホルダー 2">
            <a:extLst>
              <a:ext uri="{FF2B5EF4-FFF2-40B4-BE49-F238E27FC236}">
                <a16:creationId xmlns:a16="http://schemas.microsoft.com/office/drawing/2014/main" id="{70780FBB-7DBC-40F0-B7E0-775409B1875A}"/>
              </a:ext>
            </a:extLst>
          </p:cNvPr>
          <p:cNvSpPr>
            <a:spLocks noGrp="1"/>
          </p:cNvSpPr>
          <p:nvPr>
            <p:ph type="body" sz="quarter" idx="36"/>
          </p:nvPr>
        </p:nvSpPr>
        <p:spPr/>
        <p:txBody>
          <a:bodyPr/>
          <a:lstStyle/>
          <a:p>
            <a:r>
              <a:rPr lang="en-US" altLang="ja-JP"/>
              <a:t>Ⅴ.</a:t>
            </a:r>
            <a:r>
              <a:rPr lang="ja-JP" altLang="en-US"/>
              <a:t>スケジュール</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１</a:t>
            </a:r>
            <a:r>
              <a:rPr lang="en-US" altLang="ja-JP"/>
              <a:t>.</a:t>
            </a:r>
            <a:r>
              <a:rPr lang="ja-JP" altLang="en-US"/>
              <a:t>スケジュール（</a:t>
            </a:r>
            <a:r>
              <a:rPr lang="en-US" altLang="ja-JP"/>
              <a:t>WBS</a:t>
            </a:r>
            <a:r>
              <a:rPr lang="ja-JP" altLang="en-US"/>
              <a:t>ガントチャート）</a:t>
            </a:r>
          </a:p>
        </p:txBody>
      </p:sp>
      <p:pic>
        <p:nvPicPr>
          <p:cNvPr id="2" name="図 1">
            <a:extLst>
              <a:ext uri="{FF2B5EF4-FFF2-40B4-BE49-F238E27FC236}">
                <a16:creationId xmlns:a16="http://schemas.microsoft.com/office/drawing/2014/main" id="{C73CE7FB-87DE-3BC3-10E0-D337B38D128B}"/>
              </a:ext>
            </a:extLst>
          </p:cNvPr>
          <p:cNvPicPr>
            <a:picLocks noChangeAspect="1"/>
          </p:cNvPicPr>
          <p:nvPr/>
        </p:nvPicPr>
        <p:blipFill>
          <a:blip r:embed="rId5"/>
          <a:stretch>
            <a:fillRect/>
          </a:stretch>
        </p:blipFill>
        <p:spPr>
          <a:xfrm>
            <a:off x="951652" y="1489766"/>
            <a:ext cx="10288695" cy="4870476"/>
          </a:xfrm>
          <a:prstGeom prst="rect">
            <a:avLst/>
          </a:prstGeom>
          <a:ln>
            <a:solidFill>
              <a:schemeClr val="tx1"/>
            </a:solidFill>
          </a:ln>
        </p:spPr>
      </p:pic>
      <p:sp>
        <p:nvSpPr>
          <p:cNvPr id="4" name="テキスト ボックス 3">
            <a:extLst>
              <a:ext uri="{FF2B5EF4-FFF2-40B4-BE49-F238E27FC236}">
                <a16:creationId xmlns:a16="http://schemas.microsoft.com/office/drawing/2014/main" id="{09E2DAED-892F-EDC5-EDA1-39E5F22DCA70}"/>
              </a:ext>
            </a:extLst>
          </p:cNvPr>
          <p:cNvSpPr txBox="1"/>
          <p:nvPr/>
        </p:nvSpPr>
        <p:spPr>
          <a:xfrm>
            <a:off x="3028005" y="3429000"/>
            <a:ext cx="6135987" cy="924844"/>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実証のタイムラインを設定し、各フェーズの期間を明確に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別紙</a:t>
            </a:r>
            <a:r>
              <a:rPr kumimoji="0" lang="en-US" altLang="ja-JP" sz="1400" b="0" i="0" u="none" strike="noStrike" kern="0" cap="none" spc="0" normalizeH="0" baseline="0" noProof="0">
                <a:ln>
                  <a:noFill/>
                </a:ln>
                <a:solidFill>
                  <a:srgbClr val="FFFFFF"/>
                </a:solidFill>
                <a:effectLst/>
                <a:uLnTx/>
                <a:uFillTx/>
              </a:rPr>
              <a:t>WBS</a:t>
            </a:r>
            <a:r>
              <a:rPr kumimoji="0" lang="ja-JP" altLang="en-US" sz="1400" b="0" i="0" u="none" strike="noStrike" kern="0" cap="none" spc="0" normalizeH="0" baseline="0" noProof="0">
                <a:ln>
                  <a:noFill/>
                </a:ln>
                <a:solidFill>
                  <a:srgbClr val="FFFFFF"/>
                </a:solidFill>
                <a:effectLst/>
                <a:uLnTx/>
                <a:uFillTx/>
              </a:rPr>
              <a:t>・ガントチャートを転記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画像はサンプルです。提出時に削除してください。</a:t>
            </a:r>
          </a:p>
        </p:txBody>
      </p:sp>
    </p:spTree>
    <p:extLst>
      <p:ext uri="{BB962C8B-B14F-4D97-AF65-F5344CB8AC3E}">
        <p14:creationId xmlns:p14="http://schemas.microsoft.com/office/powerpoint/2010/main" val="163114210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グループ化 11">
            <a:extLst>
              <a:ext uri="{FF2B5EF4-FFF2-40B4-BE49-F238E27FC236}">
                <a16:creationId xmlns:a16="http://schemas.microsoft.com/office/drawing/2014/main" id="{DE9A25B3-25A2-B5BF-14C4-27AA8D366DE2}"/>
              </a:ext>
            </a:extLst>
          </p:cNvPr>
          <p:cNvGrpSpPr/>
          <p:nvPr/>
        </p:nvGrpSpPr>
        <p:grpSpPr>
          <a:xfrm>
            <a:off x="292100" y="2162320"/>
            <a:ext cx="1348014" cy="3520950"/>
            <a:chOff x="292100" y="2000740"/>
            <a:chExt cx="2175378" cy="3520950"/>
          </a:xfrm>
        </p:grpSpPr>
        <p:sp>
          <p:nvSpPr>
            <p:cNvPr id="4" name="フローチャート: 他ページ結合子 3">
              <a:extLst>
                <a:ext uri="{FF2B5EF4-FFF2-40B4-BE49-F238E27FC236}">
                  <a16:creationId xmlns:a16="http://schemas.microsoft.com/office/drawing/2014/main" id="{6F71EB31-C9B7-4098-9EFB-8216961CCBDC}"/>
                </a:ext>
              </a:extLst>
            </p:cNvPr>
            <p:cNvSpPr/>
            <p:nvPr/>
          </p:nvSpPr>
          <p:spPr bwMode="gray">
            <a:xfrm>
              <a:off x="293129" y="3442341"/>
              <a:ext cx="2174349" cy="620443"/>
            </a:xfrm>
            <a:prstGeom prst="flowChartOffpageConnector">
              <a:avLst/>
            </a:prstGeom>
            <a:no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400">
                  <a:solidFill>
                    <a:srgbClr val="0070C0"/>
                  </a:solidFill>
                  <a:latin typeface="+mn-ea"/>
                </a:rPr>
                <a:t>データ取得・クレンジング</a:t>
              </a:r>
            </a:p>
          </p:txBody>
        </p:sp>
        <p:sp>
          <p:nvSpPr>
            <p:cNvPr id="8" name="フローチャート: 他ページ結合子 7">
              <a:extLst>
                <a:ext uri="{FF2B5EF4-FFF2-40B4-BE49-F238E27FC236}">
                  <a16:creationId xmlns:a16="http://schemas.microsoft.com/office/drawing/2014/main" id="{9B252D3D-6288-96C4-6851-3CB5CABE93B0}"/>
                </a:ext>
              </a:extLst>
            </p:cNvPr>
            <p:cNvSpPr/>
            <p:nvPr/>
          </p:nvSpPr>
          <p:spPr bwMode="gray">
            <a:xfrm>
              <a:off x="292100" y="4903735"/>
              <a:ext cx="2174349" cy="617955"/>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400">
                  <a:solidFill>
                    <a:srgbClr val="0070C0"/>
                  </a:solidFill>
                  <a:latin typeface="+mn-ea"/>
                </a:rPr>
                <a:t>実証フェーズ</a:t>
              </a:r>
            </a:p>
          </p:txBody>
        </p:sp>
        <p:sp>
          <p:nvSpPr>
            <p:cNvPr id="14" name="フローチャート: 他ページ結合子 13">
              <a:extLst>
                <a:ext uri="{FF2B5EF4-FFF2-40B4-BE49-F238E27FC236}">
                  <a16:creationId xmlns:a16="http://schemas.microsoft.com/office/drawing/2014/main" id="{5BC8482B-CF2B-219A-8F08-419E3A5FC47F}"/>
                </a:ext>
              </a:extLst>
            </p:cNvPr>
            <p:cNvSpPr/>
            <p:nvPr/>
          </p:nvSpPr>
          <p:spPr bwMode="gray">
            <a:xfrm>
              <a:off x="293129" y="4164527"/>
              <a:ext cx="2174349" cy="620442"/>
            </a:xfrm>
            <a:prstGeom prst="flowChartOffpageConnector">
              <a:avLst/>
            </a:prstGeom>
            <a:no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400">
                  <a:solidFill>
                    <a:srgbClr val="0070C0"/>
                  </a:solidFill>
                  <a:latin typeface="+mn-ea"/>
                </a:rPr>
                <a:t>開発・テスト</a:t>
              </a:r>
            </a:p>
          </p:txBody>
        </p:sp>
        <p:sp>
          <p:nvSpPr>
            <p:cNvPr id="17" name="フローチャート: 他ページ結合子 16">
              <a:extLst>
                <a:ext uri="{FF2B5EF4-FFF2-40B4-BE49-F238E27FC236}">
                  <a16:creationId xmlns:a16="http://schemas.microsoft.com/office/drawing/2014/main" id="{C9C43BC8-810D-E426-4335-300BCA945BC0}"/>
                </a:ext>
              </a:extLst>
            </p:cNvPr>
            <p:cNvSpPr/>
            <p:nvPr/>
          </p:nvSpPr>
          <p:spPr bwMode="gray">
            <a:xfrm>
              <a:off x="293129" y="2720154"/>
              <a:ext cx="2174349" cy="620443"/>
            </a:xfrm>
            <a:prstGeom prst="flowChartOffpageConnector">
              <a:avLst/>
            </a:prstGeom>
            <a:no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400">
                  <a:solidFill>
                    <a:srgbClr val="0070C0"/>
                  </a:solidFill>
                  <a:latin typeface="+mn-ea"/>
                </a:rPr>
                <a:t>データべース設計フェーズ</a:t>
              </a:r>
            </a:p>
          </p:txBody>
        </p:sp>
        <p:sp>
          <p:nvSpPr>
            <p:cNvPr id="20" name="フローチャート: 他ページ結合子 19">
              <a:extLst>
                <a:ext uri="{FF2B5EF4-FFF2-40B4-BE49-F238E27FC236}">
                  <a16:creationId xmlns:a16="http://schemas.microsoft.com/office/drawing/2014/main" id="{B5AB1C34-EB45-F138-564F-B61D792CEA4E}"/>
                </a:ext>
              </a:extLst>
            </p:cNvPr>
            <p:cNvSpPr/>
            <p:nvPr/>
          </p:nvSpPr>
          <p:spPr bwMode="gray">
            <a:xfrm>
              <a:off x="293129" y="2000740"/>
              <a:ext cx="2174349" cy="620443"/>
            </a:xfrm>
            <a:prstGeom prst="flowChartOffpageConnector">
              <a:avLst/>
            </a:prstGeom>
            <a:no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400">
                  <a:solidFill>
                    <a:srgbClr val="0070C0"/>
                  </a:solidFill>
                  <a:latin typeface="+mn-ea"/>
                </a:rPr>
                <a:t>計画・要件定義</a:t>
              </a:r>
              <a:endParaRPr kumimoji="1" lang="en-US" altLang="ja-JP" sz="1400">
                <a:solidFill>
                  <a:srgbClr val="0070C0"/>
                </a:solidFill>
                <a:latin typeface="+mn-ea"/>
              </a:endParaRPr>
            </a:p>
            <a:p>
              <a:pPr algn="ctr">
                <a:spcBef>
                  <a:spcPts val="0"/>
                </a:spcBef>
                <a:spcAft>
                  <a:spcPts val="300"/>
                </a:spcAft>
              </a:pPr>
              <a:r>
                <a:rPr kumimoji="1" lang="ja-JP" altLang="en-US" sz="1400">
                  <a:solidFill>
                    <a:srgbClr val="0070C0"/>
                  </a:solidFill>
                  <a:latin typeface="+mn-ea"/>
                </a:rPr>
                <a:t>フェーズ</a:t>
              </a:r>
              <a:endParaRPr kumimoji="1" lang="en-US" altLang="ja-JP" sz="1400">
                <a:solidFill>
                  <a:srgbClr val="0070C0"/>
                </a:solidFill>
                <a:latin typeface="+mn-ea"/>
              </a:endParaRPr>
            </a:p>
          </p:txBody>
        </p:sp>
      </p:grpSp>
      <p:grpSp>
        <p:nvGrpSpPr>
          <p:cNvPr id="10" name="グループ化 9">
            <a:extLst>
              <a:ext uri="{FF2B5EF4-FFF2-40B4-BE49-F238E27FC236}">
                <a16:creationId xmlns:a16="http://schemas.microsoft.com/office/drawing/2014/main" id="{FBAF55BB-E4B0-AE23-D5D2-827B5EBA3E3C}"/>
              </a:ext>
            </a:extLst>
          </p:cNvPr>
          <p:cNvGrpSpPr/>
          <p:nvPr/>
        </p:nvGrpSpPr>
        <p:grpSpPr>
          <a:xfrm>
            <a:off x="1755589" y="2164810"/>
            <a:ext cx="2250353" cy="3666311"/>
            <a:chOff x="2644038" y="2003230"/>
            <a:chExt cx="9243161" cy="3666311"/>
          </a:xfrm>
        </p:grpSpPr>
        <p:sp>
          <p:nvSpPr>
            <p:cNvPr id="11" name="正方形/長方形 10">
              <a:extLst>
                <a:ext uri="{FF2B5EF4-FFF2-40B4-BE49-F238E27FC236}">
                  <a16:creationId xmlns:a16="http://schemas.microsoft.com/office/drawing/2014/main" id="{27E0FB5C-67EE-F750-E74B-80FE4B6806FF}"/>
                </a:ext>
              </a:extLst>
            </p:cNvPr>
            <p:cNvSpPr/>
            <p:nvPr/>
          </p:nvSpPr>
          <p:spPr bwMode="gray">
            <a:xfrm>
              <a:off x="2644044" y="3444830"/>
              <a:ext cx="9209246" cy="617954"/>
            </a:xfrm>
            <a:prstGeom prst="rect">
              <a:avLst/>
            </a:prstGeom>
            <a:no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203200" indent="-203200">
                <a:spcBef>
                  <a:spcPts val="0"/>
                </a:spcBef>
                <a:spcAft>
                  <a:spcPts val="300"/>
                </a:spcAft>
                <a:buChar char="•"/>
              </a:pPr>
              <a:r>
                <a:rPr kumimoji="1" lang="ja-JP" altLang="en-US" sz="1200">
                  <a:solidFill>
                    <a:srgbClr val="0070C0"/>
                  </a:solidFill>
                  <a:latin typeface="+mn-ea"/>
                </a:rPr>
                <a:t>交通事業者からデータを収集し、システム投入可能な状態に成型</a:t>
              </a:r>
            </a:p>
          </p:txBody>
        </p:sp>
        <p:sp>
          <p:nvSpPr>
            <p:cNvPr id="13" name="正方形/長方形 12">
              <a:extLst>
                <a:ext uri="{FF2B5EF4-FFF2-40B4-BE49-F238E27FC236}">
                  <a16:creationId xmlns:a16="http://schemas.microsoft.com/office/drawing/2014/main" id="{3132866A-947F-A81C-0025-F0AF7AFAF788}"/>
                </a:ext>
              </a:extLst>
            </p:cNvPr>
            <p:cNvSpPr/>
            <p:nvPr/>
          </p:nvSpPr>
          <p:spPr bwMode="gray">
            <a:xfrm>
              <a:off x="2677953" y="4903735"/>
              <a:ext cx="9209246" cy="617956"/>
            </a:xfrm>
            <a:prstGeom prst="rect">
              <a:avLst/>
            </a:prstGeom>
            <a:no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218836" indent="-218836">
                <a:buChar char="•"/>
              </a:pPr>
              <a:r>
                <a:rPr lang="ja-JP" altLang="en-US" sz="1200">
                  <a:solidFill>
                    <a:srgbClr val="0070C0"/>
                  </a:solidFill>
                  <a:latin typeface="+mn-ea"/>
                </a:rPr>
                <a:t>システム検証、ユーザーフィードバックを基に修正・改善</a:t>
              </a:r>
              <a:endParaRPr lang="en-US" altLang="ja-JP" sz="1200">
                <a:solidFill>
                  <a:srgbClr val="0070C0"/>
                </a:solidFill>
                <a:latin typeface="+mn-ea"/>
              </a:endParaRPr>
            </a:p>
          </p:txBody>
        </p:sp>
        <p:sp>
          <p:nvSpPr>
            <p:cNvPr id="15" name="正方形/長方形 14">
              <a:extLst>
                <a:ext uri="{FF2B5EF4-FFF2-40B4-BE49-F238E27FC236}">
                  <a16:creationId xmlns:a16="http://schemas.microsoft.com/office/drawing/2014/main" id="{FB604A90-B7E0-C24B-4479-27FB7F6C9AF9}"/>
                </a:ext>
              </a:extLst>
            </p:cNvPr>
            <p:cNvSpPr/>
            <p:nvPr/>
          </p:nvSpPr>
          <p:spPr bwMode="gray">
            <a:xfrm>
              <a:off x="2654753" y="4168270"/>
              <a:ext cx="9209246" cy="617954"/>
            </a:xfrm>
            <a:prstGeom prst="rect">
              <a:avLst/>
            </a:prstGeom>
            <a:no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203200" indent="-203200">
                <a:spcBef>
                  <a:spcPts val="0"/>
                </a:spcBef>
                <a:spcAft>
                  <a:spcPts val="300"/>
                </a:spcAft>
                <a:buChar char="•"/>
              </a:pPr>
              <a:r>
                <a:rPr kumimoji="1" lang="ja-JP" altLang="en-US" sz="1200">
                  <a:solidFill>
                    <a:srgbClr val="0070C0"/>
                  </a:solidFill>
                  <a:latin typeface="+mn-ea"/>
                </a:rPr>
                <a:t>開発及びテストを実施</a:t>
              </a:r>
            </a:p>
          </p:txBody>
        </p:sp>
        <p:grpSp>
          <p:nvGrpSpPr>
            <p:cNvPr id="16" name="グループ化 15">
              <a:extLst>
                <a:ext uri="{FF2B5EF4-FFF2-40B4-BE49-F238E27FC236}">
                  <a16:creationId xmlns:a16="http://schemas.microsoft.com/office/drawing/2014/main" id="{08B3324E-91C1-4874-3F35-2817C2801105}"/>
                </a:ext>
              </a:extLst>
            </p:cNvPr>
            <p:cNvGrpSpPr/>
            <p:nvPr/>
          </p:nvGrpSpPr>
          <p:grpSpPr>
            <a:xfrm>
              <a:off x="2644038" y="4164527"/>
              <a:ext cx="9237138" cy="1505014"/>
              <a:chOff x="2641069" y="3515465"/>
              <a:chExt cx="9248531" cy="1505014"/>
            </a:xfrm>
          </p:grpSpPr>
          <p:cxnSp>
            <p:nvCxnSpPr>
              <p:cNvPr id="23" name="直線コネクタ 22">
                <a:extLst>
                  <a:ext uri="{FF2B5EF4-FFF2-40B4-BE49-F238E27FC236}">
                    <a16:creationId xmlns:a16="http://schemas.microsoft.com/office/drawing/2014/main" id="{90614D4C-6FFB-7009-BDCA-A3CC64705602}"/>
                  </a:ext>
                </a:extLst>
              </p:cNvPr>
              <p:cNvCxnSpPr/>
              <p:nvPr/>
            </p:nvCxnSpPr>
            <p:spPr>
              <a:xfrm>
                <a:off x="2641069" y="4119919"/>
                <a:ext cx="9220607" cy="0"/>
              </a:xfrm>
              <a:prstGeom prst="line">
                <a:avLst/>
              </a:prstGeom>
              <a:ln w="6350">
                <a:solidFill>
                  <a:srgbClr val="919191"/>
                </a:solidFill>
                <a:prstDash val="dash"/>
              </a:ln>
            </p:spPr>
            <p:style>
              <a:lnRef idx="1">
                <a:schemeClr val="accent1"/>
              </a:lnRef>
              <a:fillRef idx="0">
                <a:schemeClr val="accent1"/>
              </a:fillRef>
              <a:effectRef idx="0">
                <a:schemeClr val="accent1"/>
              </a:effectRef>
              <a:fontRef idx="minor">
                <a:schemeClr val="tx1"/>
              </a:fontRef>
            </p:style>
          </p:cxnSp>
          <p:cxnSp>
            <p:nvCxnSpPr>
              <p:cNvPr id="24" name="直線コネクタ 23">
                <a:extLst>
                  <a:ext uri="{FF2B5EF4-FFF2-40B4-BE49-F238E27FC236}">
                    <a16:creationId xmlns:a16="http://schemas.microsoft.com/office/drawing/2014/main" id="{1E32557E-13C3-FCE9-37B7-ED182EA3FD19}"/>
                  </a:ext>
                </a:extLst>
              </p:cNvPr>
              <p:cNvCxnSpPr/>
              <p:nvPr/>
            </p:nvCxnSpPr>
            <p:spPr>
              <a:xfrm>
                <a:off x="2668997" y="3515465"/>
                <a:ext cx="9220603" cy="0"/>
              </a:xfrm>
              <a:prstGeom prst="line">
                <a:avLst/>
              </a:prstGeom>
              <a:ln w="6350">
                <a:solidFill>
                  <a:srgbClr val="919191"/>
                </a:solidFill>
                <a:prstDash val="dash"/>
              </a:ln>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33D365C3-7B6C-C540-3B17-4657D3E45C3A}"/>
                  </a:ext>
                </a:extLst>
              </p:cNvPr>
              <p:cNvCxnSpPr/>
              <p:nvPr/>
            </p:nvCxnSpPr>
            <p:spPr>
              <a:xfrm>
                <a:off x="2668997" y="5020479"/>
                <a:ext cx="9220603" cy="0"/>
              </a:xfrm>
              <a:prstGeom prst="line">
                <a:avLst/>
              </a:prstGeom>
              <a:ln w="6350">
                <a:solidFill>
                  <a:srgbClr val="919191"/>
                </a:solidFill>
                <a:prstDash val="dash"/>
              </a:ln>
            </p:spPr>
            <p:style>
              <a:lnRef idx="1">
                <a:schemeClr val="accent1"/>
              </a:lnRef>
              <a:fillRef idx="0">
                <a:schemeClr val="accent1"/>
              </a:fillRef>
              <a:effectRef idx="0">
                <a:schemeClr val="accent1"/>
              </a:effectRef>
              <a:fontRef idx="minor">
                <a:schemeClr val="tx1"/>
              </a:fontRef>
            </p:style>
          </p:cxnSp>
        </p:grpSp>
        <p:sp>
          <p:nvSpPr>
            <p:cNvPr id="18" name="正方形/長方形 17">
              <a:extLst>
                <a:ext uri="{FF2B5EF4-FFF2-40B4-BE49-F238E27FC236}">
                  <a16:creationId xmlns:a16="http://schemas.microsoft.com/office/drawing/2014/main" id="{0947CAEC-1669-C017-095F-FAE30144149E}"/>
                </a:ext>
              </a:extLst>
            </p:cNvPr>
            <p:cNvSpPr/>
            <p:nvPr/>
          </p:nvSpPr>
          <p:spPr bwMode="gray">
            <a:xfrm>
              <a:off x="2647735" y="2718901"/>
              <a:ext cx="9209246" cy="617953"/>
            </a:xfrm>
            <a:prstGeom prst="rect">
              <a:avLst/>
            </a:prstGeom>
            <a:no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203200" indent="-203200">
                <a:spcBef>
                  <a:spcPts val="0"/>
                </a:spcBef>
                <a:spcAft>
                  <a:spcPts val="300"/>
                </a:spcAft>
                <a:buChar char="•"/>
              </a:pPr>
              <a:r>
                <a:rPr kumimoji="1" lang="ja-JP" altLang="en-US" sz="1200">
                  <a:solidFill>
                    <a:srgbClr val="0070C0"/>
                  </a:solidFill>
                  <a:latin typeface="+mn-ea"/>
                </a:rPr>
                <a:t>データ分析に必要なデータベース設計</a:t>
              </a:r>
              <a:endParaRPr kumimoji="1" lang="en-US" altLang="ja-JP" sz="1200">
                <a:solidFill>
                  <a:srgbClr val="0070C0"/>
                </a:solidFill>
                <a:latin typeface="+mn-ea"/>
              </a:endParaRPr>
            </a:p>
          </p:txBody>
        </p:sp>
        <p:cxnSp>
          <p:nvCxnSpPr>
            <p:cNvPr id="19" name="直線コネクタ 18">
              <a:extLst>
                <a:ext uri="{FF2B5EF4-FFF2-40B4-BE49-F238E27FC236}">
                  <a16:creationId xmlns:a16="http://schemas.microsoft.com/office/drawing/2014/main" id="{E7C7F916-235D-983C-D6F4-0BA1A1C6781E}"/>
                </a:ext>
              </a:extLst>
            </p:cNvPr>
            <p:cNvCxnSpPr/>
            <p:nvPr/>
          </p:nvCxnSpPr>
          <p:spPr>
            <a:xfrm>
              <a:off x="2655781" y="3442341"/>
              <a:ext cx="9209246" cy="0"/>
            </a:xfrm>
            <a:prstGeom prst="line">
              <a:avLst/>
            </a:prstGeom>
            <a:ln w="6350">
              <a:solidFill>
                <a:srgbClr val="919191"/>
              </a:solidFill>
              <a:prstDash val="dash"/>
            </a:ln>
          </p:spPr>
          <p:style>
            <a:lnRef idx="1">
              <a:schemeClr val="accent1"/>
            </a:lnRef>
            <a:fillRef idx="0">
              <a:schemeClr val="accent1"/>
            </a:fillRef>
            <a:effectRef idx="0">
              <a:schemeClr val="accent1"/>
            </a:effectRef>
            <a:fontRef idx="minor">
              <a:schemeClr val="tx1"/>
            </a:fontRef>
          </p:style>
        </p:cxnSp>
        <p:cxnSp>
          <p:nvCxnSpPr>
            <p:cNvPr id="21" name="直線コネクタ 20">
              <a:extLst>
                <a:ext uri="{FF2B5EF4-FFF2-40B4-BE49-F238E27FC236}">
                  <a16:creationId xmlns:a16="http://schemas.microsoft.com/office/drawing/2014/main" id="{90FE5543-3C4B-40E6-C0AB-E10A0C3BC1C2}"/>
                </a:ext>
              </a:extLst>
            </p:cNvPr>
            <p:cNvCxnSpPr/>
            <p:nvPr/>
          </p:nvCxnSpPr>
          <p:spPr>
            <a:xfrm>
              <a:off x="2647735" y="2720154"/>
              <a:ext cx="9209246" cy="0"/>
            </a:xfrm>
            <a:prstGeom prst="line">
              <a:avLst/>
            </a:prstGeom>
            <a:ln w="6350">
              <a:solidFill>
                <a:srgbClr val="919191"/>
              </a:solidFill>
              <a:prstDash val="dash"/>
            </a:ln>
          </p:spPr>
          <p:style>
            <a:lnRef idx="1">
              <a:schemeClr val="accent1"/>
            </a:lnRef>
            <a:fillRef idx="0">
              <a:schemeClr val="accent1"/>
            </a:fillRef>
            <a:effectRef idx="0">
              <a:schemeClr val="accent1"/>
            </a:effectRef>
            <a:fontRef idx="minor">
              <a:schemeClr val="tx1"/>
            </a:fontRef>
          </p:style>
        </p:cxnSp>
        <p:sp>
          <p:nvSpPr>
            <p:cNvPr id="22" name="正方形/長方形 21">
              <a:extLst>
                <a:ext uri="{FF2B5EF4-FFF2-40B4-BE49-F238E27FC236}">
                  <a16:creationId xmlns:a16="http://schemas.microsoft.com/office/drawing/2014/main" id="{9E9C4C6D-62EF-6870-EF03-ACBF62431744}"/>
                </a:ext>
              </a:extLst>
            </p:cNvPr>
            <p:cNvSpPr/>
            <p:nvPr/>
          </p:nvSpPr>
          <p:spPr bwMode="gray">
            <a:xfrm>
              <a:off x="2644043" y="2003230"/>
              <a:ext cx="9209246" cy="617953"/>
            </a:xfrm>
            <a:prstGeom prst="rect">
              <a:avLst/>
            </a:prstGeom>
            <a:no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203200" indent="-203200">
                <a:spcBef>
                  <a:spcPts val="0"/>
                </a:spcBef>
                <a:spcAft>
                  <a:spcPts val="300"/>
                </a:spcAft>
                <a:buChar char="•"/>
              </a:pPr>
              <a:r>
                <a:rPr kumimoji="1" lang="ja-JP" altLang="en-US" sz="1200">
                  <a:solidFill>
                    <a:srgbClr val="0070C0"/>
                  </a:solidFill>
                  <a:latin typeface="+mn-ea"/>
                </a:rPr>
                <a:t>プロジェクトの目的と範囲を定義</a:t>
              </a:r>
              <a:endParaRPr kumimoji="1" lang="en-US" altLang="ja-JP" sz="1200">
                <a:solidFill>
                  <a:srgbClr val="0070C0"/>
                </a:solidFill>
                <a:latin typeface="+mn-ea"/>
              </a:endParaRPr>
            </a:p>
            <a:p>
              <a:pPr marL="203200" indent="-203200">
                <a:spcBef>
                  <a:spcPts val="0"/>
                </a:spcBef>
                <a:spcAft>
                  <a:spcPts val="300"/>
                </a:spcAft>
                <a:buChar char="•"/>
              </a:pPr>
              <a:r>
                <a:rPr kumimoji="1" lang="ja-JP" altLang="en-US" sz="1200">
                  <a:solidFill>
                    <a:srgbClr val="0070C0"/>
                  </a:solidFill>
                  <a:latin typeface="+mn-ea"/>
                </a:rPr>
                <a:t>必要な要件を収集・分析</a:t>
              </a:r>
            </a:p>
          </p:txBody>
        </p:sp>
      </p:grpSp>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A45FDDD5-9A42-423D-9ED3-F19DD3567786}"/>
              </a:ext>
            </a:extLst>
          </p:cNvPr>
          <p:cNvSpPr>
            <a:spLocks noGrp="1"/>
          </p:cNvSpPr>
          <p:nvPr>
            <p:ph type="body" sz="quarter" idx="36"/>
          </p:nvPr>
        </p:nvSpPr>
        <p:spPr/>
        <p:txBody>
          <a:bodyPr/>
          <a:lstStyle/>
          <a:p>
            <a:r>
              <a:rPr lang="en-US" altLang="ja-JP"/>
              <a:t>Ⅴ.</a:t>
            </a:r>
            <a:r>
              <a:rPr lang="ja-JP" altLang="en-US"/>
              <a:t>スケジュール</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２</a:t>
            </a:r>
            <a:r>
              <a:rPr lang="en-US" altLang="ja-JP"/>
              <a:t>.</a:t>
            </a:r>
            <a:r>
              <a:rPr lang="ja-JP" altLang="en-US"/>
              <a:t>プロジェクトのフロー</a:t>
            </a:r>
            <a:r>
              <a:rPr lang="en-US" altLang="ja-JP"/>
              <a:t>	</a:t>
            </a:r>
            <a:endParaRPr lang="ja-JP" altLang="en-US"/>
          </a:p>
        </p:txBody>
      </p:sp>
      <p:grpSp>
        <p:nvGrpSpPr>
          <p:cNvPr id="62" name="グループ化 61">
            <a:extLst>
              <a:ext uri="{FF2B5EF4-FFF2-40B4-BE49-F238E27FC236}">
                <a16:creationId xmlns:a16="http://schemas.microsoft.com/office/drawing/2014/main" id="{32148F1B-F2CD-569D-6055-4366DB65509B}"/>
              </a:ext>
            </a:extLst>
          </p:cNvPr>
          <p:cNvGrpSpPr/>
          <p:nvPr/>
        </p:nvGrpSpPr>
        <p:grpSpPr>
          <a:xfrm>
            <a:off x="4225471" y="2162320"/>
            <a:ext cx="1348014" cy="3520950"/>
            <a:chOff x="292100" y="2000740"/>
            <a:chExt cx="2175378" cy="3520950"/>
          </a:xfrm>
        </p:grpSpPr>
        <p:sp>
          <p:nvSpPr>
            <p:cNvPr id="63" name="フローチャート: 他ページ結合子 62">
              <a:extLst>
                <a:ext uri="{FF2B5EF4-FFF2-40B4-BE49-F238E27FC236}">
                  <a16:creationId xmlns:a16="http://schemas.microsoft.com/office/drawing/2014/main" id="{A2DD071A-0195-2A3C-E9A9-9816FA37D9AC}"/>
                </a:ext>
              </a:extLst>
            </p:cNvPr>
            <p:cNvSpPr/>
            <p:nvPr/>
          </p:nvSpPr>
          <p:spPr bwMode="gray">
            <a:xfrm>
              <a:off x="293129" y="3442341"/>
              <a:ext cx="2174349" cy="620443"/>
            </a:xfrm>
            <a:prstGeom prst="flowChartOffpageConnector">
              <a:avLst/>
            </a:prstGeom>
            <a:no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400">
                  <a:solidFill>
                    <a:srgbClr val="0070C0"/>
                  </a:solidFill>
                  <a:latin typeface="+mn-ea"/>
                </a:rPr>
                <a:t>開発</a:t>
              </a:r>
            </a:p>
          </p:txBody>
        </p:sp>
        <p:sp>
          <p:nvSpPr>
            <p:cNvPr id="64" name="フローチャート: 他ページ結合子 63">
              <a:extLst>
                <a:ext uri="{FF2B5EF4-FFF2-40B4-BE49-F238E27FC236}">
                  <a16:creationId xmlns:a16="http://schemas.microsoft.com/office/drawing/2014/main" id="{28FBAFC8-996E-0183-6007-B849C0563E70}"/>
                </a:ext>
              </a:extLst>
            </p:cNvPr>
            <p:cNvSpPr/>
            <p:nvPr/>
          </p:nvSpPr>
          <p:spPr bwMode="gray">
            <a:xfrm>
              <a:off x="292100" y="4903735"/>
              <a:ext cx="2174349" cy="617955"/>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400">
                  <a:solidFill>
                    <a:srgbClr val="0070C0"/>
                  </a:solidFill>
                  <a:latin typeface="+mn-ea"/>
                </a:rPr>
                <a:t>実証フェーズ</a:t>
              </a:r>
            </a:p>
          </p:txBody>
        </p:sp>
        <p:sp>
          <p:nvSpPr>
            <p:cNvPr id="65" name="フローチャート: 他ページ結合子 64">
              <a:extLst>
                <a:ext uri="{FF2B5EF4-FFF2-40B4-BE49-F238E27FC236}">
                  <a16:creationId xmlns:a16="http://schemas.microsoft.com/office/drawing/2014/main" id="{57E669E2-341F-5DE9-FC08-5F8B104ABB91}"/>
                </a:ext>
              </a:extLst>
            </p:cNvPr>
            <p:cNvSpPr/>
            <p:nvPr/>
          </p:nvSpPr>
          <p:spPr bwMode="gray">
            <a:xfrm>
              <a:off x="293129" y="4164527"/>
              <a:ext cx="2174349" cy="620442"/>
            </a:xfrm>
            <a:prstGeom prst="flowChartOffpageConnector">
              <a:avLst/>
            </a:prstGeom>
            <a:no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400">
                  <a:solidFill>
                    <a:srgbClr val="0070C0"/>
                  </a:solidFill>
                  <a:latin typeface="+mn-ea"/>
                </a:rPr>
                <a:t>テストと導入フェーズ</a:t>
              </a:r>
            </a:p>
          </p:txBody>
        </p:sp>
        <p:sp>
          <p:nvSpPr>
            <p:cNvPr id="66" name="フローチャート: 他ページ結合子 65">
              <a:extLst>
                <a:ext uri="{FF2B5EF4-FFF2-40B4-BE49-F238E27FC236}">
                  <a16:creationId xmlns:a16="http://schemas.microsoft.com/office/drawing/2014/main" id="{54572A44-0063-17F4-A674-86C0FB7C73F2}"/>
                </a:ext>
              </a:extLst>
            </p:cNvPr>
            <p:cNvSpPr/>
            <p:nvPr/>
          </p:nvSpPr>
          <p:spPr bwMode="gray">
            <a:xfrm>
              <a:off x="293129" y="2720154"/>
              <a:ext cx="2174349" cy="620443"/>
            </a:xfrm>
            <a:prstGeom prst="flowChartOffpageConnector">
              <a:avLst/>
            </a:prstGeom>
            <a:no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a:spcBef>
                  <a:spcPts val="0"/>
                </a:spcBef>
                <a:spcAft>
                  <a:spcPts val="300"/>
                </a:spcAft>
              </a:pPr>
              <a:r>
                <a:rPr kumimoji="1" lang="en-US" altLang="ja-JP" sz="1400">
                  <a:solidFill>
                    <a:srgbClr val="0070C0"/>
                  </a:solidFill>
                  <a:latin typeface="+mn-ea"/>
                </a:rPr>
                <a:t>UI/UX</a:t>
              </a:r>
              <a:r>
                <a:rPr kumimoji="1" lang="ja-JP" altLang="en-US" sz="1400">
                  <a:solidFill>
                    <a:srgbClr val="0070C0"/>
                  </a:solidFill>
                  <a:latin typeface="+mn-ea"/>
                </a:rPr>
                <a:t>設計</a:t>
              </a:r>
            </a:p>
          </p:txBody>
        </p:sp>
        <p:sp>
          <p:nvSpPr>
            <p:cNvPr id="67" name="フローチャート: 他ページ結合子 66">
              <a:extLst>
                <a:ext uri="{FF2B5EF4-FFF2-40B4-BE49-F238E27FC236}">
                  <a16:creationId xmlns:a16="http://schemas.microsoft.com/office/drawing/2014/main" id="{6AC2A3AA-E327-22E1-E253-51EC5732E01C}"/>
                </a:ext>
              </a:extLst>
            </p:cNvPr>
            <p:cNvSpPr/>
            <p:nvPr/>
          </p:nvSpPr>
          <p:spPr bwMode="gray">
            <a:xfrm>
              <a:off x="293129" y="2000740"/>
              <a:ext cx="2174349" cy="620443"/>
            </a:xfrm>
            <a:prstGeom prst="flowChartOffpageConnector">
              <a:avLst/>
            </a:prstGeom>
            <a:no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400">
                  <a:solidFill>
                    <a:srgbClr val="0070C0"/>
                  </a:solidFill>
                  <a:latin typeface="+mn-ea"/>
                </a:rPr>
                <a:t>計画・要件定義</a:t>
              </a:r>
              <a:endParaRPr kumimoji="1" lang="en-US" altLang="ja-JP" sz="1400">
                <a:solidFill>
                  <a:srgbClr val="0070C0"/>
                </a:solidFill>
                <a:latin typeface="+mn-ea"/>
              </a:endParaRPr>
            </a:p>
            <a:p>
              <a:pPr algn="ctr">
                <a:spcBef>
                  <a:spcPts val="0"/>
                </a:spcBef>
                <a:spcAft>
                  <a:spcPts val="300"/>
                </a:spcAft>
              </a:pPr>
              <a:r>
                <a:rPr kumimoji="1" lang="ja-JP" altLang="en-US" sz="1400">
                  <a:solidFill>
                    <a:srgbClr val="0070C0"/>
                  </a:solidFill>
                  <a:latin typeface="+mn-ea"/>
                </a:rPr>
                <a:t>フェーズ</a:t>
              </a:r>
              <a:endParaRPr kumimoji="1" lang="en-US" altLang="ja-JP" sz="1400">
                <a:solidFill>
                  <a:srgbClr val="0070C0"/>
                </a:solidFill>
                <a:latin typeface="+mn-ea"/>
              </a:endParaRPr>
            </a:p>
          </p:txBody>
        </p:sp>
      </p:grpSp>
      <p:grpSp>
        <p:nvGrpSpPr>
          <p:cNvPr id="68" name="グループ化 67">
            <a:extLst>
              <a:ext uri="{FF2B5EF4-FFF2-40B4-BE49-F238E27FC236}">
                <a16:creationId xmlns:a16="http://schemas.microsoft.com/office/drawing/2014/main" id="{EC9AA473-ED0E-44FE-78A7-001C26A58BF8}"/>
              </a:ext>
            </a:extLst>
          </p:cNvPr>
          <p:cNvGrpSpPr/>
          <p:nvPr/>
        </p:nvGrpSpPr>
        <p:grpSpPr>
          <a:xfrm>
            <a:off x="5688960" y="2164810"/>
            <a:ext cx="2250353" cy="3666311"/>
            <a:chOff x="2644038" y="2003230"/>
            <a:chExt cx="9243161" cy="3666311"/>
          </a:xfrm>
        </p:grpSpPr>
        <p:sp>
          <p:nvSpPr>
            <p:cNvPr id="69" name="正方形/長方形 68">
              <a:extLst>
                <a:ext uri="{FF2B5EF4-FFF2-40B4-BE49-F238E27FC236}">
                  <a16:creationId xmlns:a16="http://schemas.microsoft.com/office/drawing/2014/main" id="{7358E1F9-D900-FAEE-E5D4-01EE75FB2849}"/>
                </a:ext>
              </a:extLst>
            </p:cNvPr>
            <p:cNvSpPr/>
            <p:nvPr/>
          </p:nvSpPr>
          <p:spPr bwMode="gray">
            <a:xfrm>
              <a:off x="2644044" y="3444830"/>
              <a:ext cx="9209246" cy="617954"/>
            </a:xfrm>
            <a:prstGeom prst="rect">
              <a:avLst/>
            </a:prstGeom>
            <a:no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203200" indent="-203200">
                <a:spcBef>
                  <a:spcPts val="0"/>
                </a:spcBef>
                <a:spcAft>
                  <a:spcPts val="300"/>
                </a:spcAft>
                <a:buChar char="•"/>
              </a:pPr>
              <a:r>
                <a:rPr kumimoji="1" lang="ja-JP" altLang="en-US" sz="1200">
                  <a:solidFill>
                    <a:srgbClr val="0070C0"/>
                  </a:solidFill>
                  <a:latin typeface="+mn-ea"/>
                </a:rPr>
                <a:t>設計に基づいてシステムをコーディング・プログラム開発</a:t>
              </a:r>
            </a:p>
          </p:txBody>
        </p:sp>
        <p:sp>
          <p:nvSpPr>
            <p:cNvPr id="70" name="正方形/長方形 69">
              <a:extLst>
                <a:ext uri="{FF2B5EF4-FFF2-40B4-BE49-F238E27FC236}">
                  <a16:creationId xmlns:a16="http://schemas.microsoft.com/office/drawing/2014/main" id="{7A915EC5-6A47-E264-150F-DEF03C43B909}"/>
                </a:ext>
              </a:extLst>
            </p:cNvPr>
            <p:cNvSpPr/>
            <p:nvPr/>
          </p:nvSpPr>
          <p:spPr bwMode="gray">
            <a:xfrm>
              <a:off x="2677953" y="4903735"/>
              <a:ext cx="9209246" cy="617956"/>
            </a:xfrm>
            <a:prstGeom prst="rect">
              <a:avLst/>
            </a:prstGeom>
            <a:no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218836" indent="-218836">
                <a:buChar char="•"/>
              </a:pPr>
              <a:r>
                <a:rPr lang="ja-JP" altLang="en-US" sz="1200">
                  <a:solidFill>
                    <a:srgbClr val="0070C0"/>
                  </a:solidFill>
                  <a:latin typeface="+mn-ea"/>
                </a:rPr>
                <a:t>システム検証、ユーザーフィードバックを基に修正・改善</a:t>
              </a:r>
              <a:endParaRPr lang="en-US" altLang="ja-JP" sz="1200">
                <a:solidFill>
                  <a:srgbClr val="0070C0"/>
                </a:solidFill>
                <a:latin typeface="+mn-ea"/>
              </a:endParaRPr>
            </a:p>
          </p:txBody>
        </p:sp>
        <p:sp>
          <p:nvSpPr>
            <p:cNvPr id="71" name="正方形/長方形 70">
              <a:extLst>
                <a:ext uri="{FF2B5EF4-FFF2-40B4-BE49-F238E27FC236}">
                  <a16:creationId xmlns:a16="http://schemas.microsoft.com/office/drawing/2014/main" id="{165F6F7B-4849-9CE4-9B86-5DADDC407858}"/>
                </a:ext>
              </a:extLst>
            </p:cNvPr>
            <p:cNvSpPr/>
            <p:nvPr/>
          </p:nvSpPr>
          <p:spPr bwMode="gray">
            <a:xfrm>
              <a:off x="2654753" y="4168270"/>
              <a:ext cx="9209246" cy="617954"/>
            </a:xfrm>
            <a:prstGeom prst="rect">
              <a:avLst/>
            </a:prstGeom>
            <a:no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203200" indent="-203200">
                <a:spcBef>
                  <a:spcPts val="0"/>
                </a:spcBef>
                <a:spcAft>
                  <a:spcPts val="300"/>
                </a:spcAft>
                <a:buChar char="•"/>
              </a:pPr>
              <a:r>
                <a:rPr kumimoji="1" lang="ja-JP" altLang="en-US" sz="1200">
                  <a:solidFill>
                    <a:srgbClr val="0070C0"/>
                  </a:solidFill>
                  <a:latin typeface="+mn-ea"/>
                </a:rPr>
                <a:t>システム全体のテストの実施、導入</a:t>
              </a:r>
            </a:p>
          </p:txBody>
        </p:sp>
        <p:grpSp>
          <p:nvGrpSpPr>
            <p:cNvPr id="72" name="グループ化 71">
              <a:extLst>
                <a:ext uri="{FF2B5EF4-FFF2-40B4-BE49-F238E27FC236}">
                  <a16:creationId xmlns:a16="http://schemas.microsoft.com/office/drawing/2014/main" id="{F98FC4B4-907B-9AB1-5E5E-D7CE049F6B9B}"/>
                </a:ext>
              </a:extLst>
            </p:cNvPr>
            <p:cNvGrpSpPr/>
            <p:nvPr/>
          </p:nvGrpSpPr>
          <p:grpSpPr>
            <a:xfrm>
              <a:off x="2644038" y="4164527"/>
              <a:ext cx="9237138" cy="1505014"/>
              <a:chOff x="2641069" y="3515465"/>
              <a:chExt cx="9248531" cy="1505014"/>
            </a:xfrm>
          </p:grpSpPr>
          <p:cxnSp>
            <p:nvCxnSpPr>
              <p:cNvPr id="77" name="直線コネクタ 76">
                <a:extLst>
                  <a:ext uri="{FF2B5EF4-FFF2-40B4-BE49-F238E27FC236}">
                    <a16:creationId xmlns:a16="http://schemas.microsoft.com/office/drawing/2014/main" id="{AA056350-8AC9-2713-7475-13ABC01B4F40}"/>
                  </a:ext>
                </a:extLst>
              </p:cNvPr>
              <p:cNvCxnSpPr/>
              <p:nvPr/>
            </p:nvCxnSpPr>
            <p:spPr>
              <a:xfrm>
                <a:off x="2641069" y="3515465"/>
                <a:ext cx="9220607" cy="0"/>
              </a:xfrm>
              <a:prstGeom prst="line">
                <a:avLst/>
              </a:prstGeom>
              <a:ln w="6350">
                <a:solidFill>
                  <a:srgbClr val="919191"/>
                </a:solidFill>
                <a:prstDash val="dash"/>
              </a:ln>
            </p:spPr>
            <p:style>
              <a:lnRef idx="1">
                <a:schemeClr val="accent1"/>
              </a:lnRef>
              <a:fillRef idx="0">
                <a:schemeClr val="accent1"/>
              </a:fillRef>
              <a:effectRef idx="0">
                <a:schemeClr val="accent1"/>
              </a:effectRef>
              <a:fontRef idx="minor">
                <a:schemeClr val="tx1"/>
              </a:fontRef>
            </p:style>
          </p:cxnSp>
          <p:cxnSp>
            <p:nvCxnSpPr>
              <p:cNvPr id="78" name="直線コネクタ 77">
                <a:extLst>
                  <a:ext uri="{FF2B5EF4-FFF2-40B4-BE49-F238E27FC236}">
                    <a16:creationId xmlns:a16="http://schemas.microsoft.com/office/drawing/2014/main" id="{A7255239-15B9-7B60-9EC2-7D4BB58554F7}"/>
                  </a:ext>
                </a:extLst>
              </p:cNvPr>
              <p:cNvCxnSpPr/>
              <p:nvPr/>
            </p:nvCxnSpPr>
            <p:spPr>
              <a:xfrm>
                <a:off x="2668997" y="4135907"/>
                <a:ext cx="9220603" cy="0"/>
              </a:xfrm>
              <a:prstGeom prst="line">
                <a:avLst/>
              </a:prstGeom>
              <a:ln w="6350">
                <a:solidFill>
                  <a:srgbClr val="919191"/>
                </a:solidFill>
                <a:prstDash val="dash"/>
              </a:ln>
            </p:spPr>
            <p:style>
              <a:lnRef idx="1">
                <a:schemeClr val="accent1"/>
              </a:lnRef>
              <a:fillRef idx="0">
                <a:schemeClr val="accent1"/>
              </a:fillRef>
              <a:effectRef idx="0">
                <a:schemeClr val="accent1"/>
              </a:effectRef>
              <a:fontRef idx="minor">
                <a:schemeClr val="tx1"/>
              </a:fontRef>
            </p:style>
          </p:cxnSp>
          <p:cxnSp>
            <p:nvCxnSpPr>
              <p:cNvPr id="79" name="直線コネクタ 78">
                <a:extLst>
                  <a:ext uri="{FF2B5EF4-FFF2-40B4-BE49-F238E27FC236}">
                    <a16:creationId xmlns:a16="http://schemas.microsoft.com/office/drawing/2014/main" id="{EE91379F-71AC-4602-1EC0-EF8B33894B55}"/>
                  </a:ext>
                </a:extLst>
              </p:cNvPr>
              <p:cNvCxnSpPr/>
              <p:nvPr/>
            </p:nvCxnSpPr>
            <p:spPr>
              <a:xfrm>
                <a:off x="2641069" y="5020479"/>
                <a:ext cx="9220603" cy="0"/>
              </a:xfrm>
              <a:prstGeom prst="line">
                <a:avLst/>
              </a:prstGeom>
              <a:ln w="6350">
                <a:solidFill>
                  <a:srgbClr val="919191"/>
                </a:solidFill>
                <a:prstDash val="dash"/>
              </a:ln>
            </p:spPr>
            <p:style>
              <a:lnRef idx="1">
                <a:schemeClr val="accent1"/>
              </a:lnRef>
              <a:fillRef idx="0">
                <a:schemeClr val="accent1"/>
              </a:fillRef>
              <a:effectRef idx="0">
                <a:schemeClr val="accent1"/>
              </a:effectRef>
              <a:fontRef idx="minor">
                <a:schemeClr val="tx1"/>
              </a:fontRef>
            </p:style>
          </p:cxnSp>
        </p:grpSp>
        <p:sp>
          <p:nvSpPr>
            <p:cNvPr id="73" name="正方形/長方形 72">
              <a:extLst>
                <a:ext uri="{FF2B5EF4-FFF2-40B4-BE49-F238E27FC236}">
                  <a16:creationId xmlns:a16="http://schemas.microsoft.com/office/drawing/2014/main" id="{A1182C33-73BA-46AF-E45C-70818F73D3ED}"/>
                </a:ext>
              </a:extLst>
            </p:cNvPr>
            <p:cNvSpPr/>
            <p:nvPr/>
          </p:nvSpPr>
          <p:spPr bwMode="gray">
            <a:xfrm>
              <a:off x="2647735" y="2718901"/>
              <a:ext cx="9209246" cy="617953"/>
            </a:xfrm>
            <a:prstGeom prst="rect">
              <a:avLst/>
            </a:prstGeom>
            <a:no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203200" indent="-203200">
                <a:spcBef>
                  <a:spcPts val="0"/>
                </a:spcBef>
                <a:spcAft>
                  <a:spcPts val="300"/>
                </a:spcAft>
                <a:buChar char="•"/>
              </a:pPr>
              <a:r>
                <a:rPr kumimoji="1" lang="ja-JP" altLang="en-US" sz="1200">
                  <a:solidFill>
                    <a:srgbClr val="0070C0"/>
                  </a:solidFill>
                  <a:latin typeface="+mn-ea"/>
                </a:rPr>
                <a:t>プロジェクト目的及び要件定義を踏まえた基本設計</a:t>
              </a:r>
              <a:endParaRPr kumimoji="1" lang="en-US" altLang="ja-JP" sz="1200">
                <a:solidFill>
                  <a:srgbClr val="0070C0"/>
                </a:solidFill>
                <a:latin typeface="+mn-ea"/>
              </a:endParaRPr>
            </a:p>
          </p:txBody>
        </p:sp>
        <p:cxnSp>
          <p:nvCxnSpPr>
            <p:cNvPr id="74" name="直線コネクタ 73">
              <a:extLst>
                <a:ext uri="{FF2B5EF4-FFF2-40B4-BE49-F238E27FC236}">
                  <a16:creationId xmlns:a16="http://schemas.microsoft.com/office/drawing/2014/main" id="{57FBA4DE-5E28-8287-B2DE-80DD15394B58}"/>
                </a:ext>
              </a:extLst>
            </p:cNvPr>
            <p:cNvCxnSpPr/>
            <p:nvPr/>
          </p:nvCxnSpPr>
          <p:spPr>
            <a:xfrm>
              <a:off x="2655781" y="3442341"/>
              <a:ext cx="9209246" cy="0"/>
            </a:xfrm>
            <a:prstGeom prst="line">
              <a:avLst/>
            </a:prstGeom>
            <a:ln w="6350">
              <a:solidFill>
                <a:srgbClr val="919191"/>
              </a:solidFill>
              <a:prstDash val="dash"/>
            </a:ln>
          </p:spPr>
          <p:style>
            <a:lnRef idx="1">
              <a:schemeClr val="accent1"/>
            </a:lnRef>
            <a:fillRef idx="0">
              <a:schemeClr val="accent1"/>
            </a:fillRef>
            <a:effectRef idx="0">
              <a:schemeClr val="accent1"/>
            </a:effectRef>
            <a:fontRef idx="minor">
              <a:schemeClr val="tx1"/>
            </a:fontRef>
          </p:style>
        </p:cxnSp>
        <p:cxnSp>
          <p:nvCxnSpPr>
            <p:cNvPr id="75" name="直線コネクタ 74">
              <a:extLst>
                <a:ext uri="{FF2B5EF4-FFF2-40B4-BE49-F238E27FC236}">
                  <a16:creationId xmlns:a16="http://schemas.microsoft.com/office/drawing/2014/main" id="{C77E21F4-C95D-6353-C439-E1C005A04274}"/>
                </a:ext>
              </a:extLst>
            </p:cNvPr>
            <p:cNvCxnSpPr/>
            <p:nvPr/>
          </p:nvCxnSpPr>
          <p:spPr>
            <a:xfrm>
              <a:off x="2647735" y="2720154"/>
              <a:ext cx="9209246" cy="0"/>
            </a:xfrm>
            <a:prstGeom prst="line">
              <a:avLst/>
            </a:prstGeom>
            <a:ln w="6350">
              <a:solidFill>
                <a:srgbClr val="919191"/>
              </a:solidFill>
              <a:prstDash val="dash"/>
            </a:ln>
          </p:spPr>
          <p:style>
            <a:lnRef idx="1">
              <a:schemeClr val="accent1"/>
            </a:lnRef>
            <a:fillRef idx="0">
              <a:schemeClr val="accent1"/>
            </a:fillRef>
            <a:effectRef idx="0">
              <a:schemeClr val="accent1"/>
            </a:effectRef>
            <a:fontRef idx="minor">
              <a:schemeClr val="tx1"/>
            </a:fontRef>
          </p:style>
        </p:cxnSp>
        <p:sp>
          <p:nvSpPr>
            <p:cNvPr id="76" name="正方形/長方形 75">
              <a:extLst>
                <a:ext uri="{FF2B5EF4-FFF2-40B4-BE49-F238E27FC236}">
                  <a16:creationId xmlns:a16="http://schemas.microsoft.com/office/drawing/2014/main" id="{5CDBB21D-8256-9E2D-F47A-638BA24F5F38}"/>
                </a:ext>
              </a:extLst>
            </p:cNvPr>
            <p:cNvSpPr/>
            <p:nvPr/>
          </p:nvSpPr>
          <p:spPr bwMode="gray">
            <a:xfrm>
              <a:off x="2644043" y="2003230"/>
              <a:ext cx="9209246" cy="617953"/>
            </a:xfrm>
            <a:prstGeom prst="rect">
              <a:avLst/>
            </a:prstGeom>
            <a:no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203200" indent="-203200">
                <a:spcBef>
                  <a:spcPts val="0"/>
                </a:spcBef>
                <a:spcAft>
                  <a:spcPts val="300"/>
                </a:spcAft>
                <a:buChar char="•"/>
              </a:pPr>
              <a:r>
                <a:rPr kumimoji="1" lang="ja-JP" altLang="en-US" sz="1200">
                  <a:solidFill>
                    <a:srgbClr val="0070C0"/>
                  </a:solidFill>
                  <a:latin typeface="+mn-ea"/>
                </a:rPr>
                <a:t>プロジェクトの目的と範囲を定義</a:t>
              </a:r>
              <a:endParaRPr kumimoji="1" lang="en-US" altLang="ja-JP" sz="1200">
                <a:solidFill>
                  <a:srgbClr val="0070C0"/>
                </a:solidFill>
                <a:latin typeface="+mn-ea"/>
              </a:endParaRPr>
            </a:p>
            <a:p>
              <a:pPr marL="203200" indent="-203200">
                <a:spcBef>
                  <a:spcPts val="0"/>
                </a:spcBef>
                <a:spcAft>
                  <a:spcPts val="300"/>
                </a:spcAft>
                <a:buChar char="•"/>
              </a:pPr>
              <a:r>
                <a:rPr kumimoji="1" lang="ja-JP" altLang="en-US" sz="1200">
                  <a:solidFill>
                    <a:srgbClr val="0070C0"/>
                  </a:solidFill>
                  <a:latin typeface="+mn-ea"/>
                </a:rPr>
                <a:t>必要な要件を収集・分析</a:t>
              </a:r>
            </a:p>
          </p:txBody>
        </p:sp>
      </p:grpSp>
      <p:sp>
        <p:nvSpPr>
          <p:cNvPr id="98" name="四角形: 角を丸くする 97">
            <a:extLst>
              <a:ext uri="{FF2B5EF4-FFF2-40B4-BE49-F238E27FC236}">
                <a16:creationId xmlns:a16="http://schemas.microsoft.com/office/drawing/2014/main" id="{F96A4FAA-8BC6-ACDA-9A48-2C955E618C39}"/>
              </a:ext>
            </a:extLst>
          </p:cNvPr>
          <p:cNvSpPr/>
          <p:nvPr/>
        </p:nvSpPr>
        <p:spPr bwMode="gray">
          <a:xfrm>
            <a:off x="300778" y="1794094"/>
            <a:ext cx="3783993" cy="241273"/>
          </a:xfrm>
          <a:prstGeom prst="roundRect">
            <a:avLst>
              <a:gd name="adj" fmla="val 3836"/>
            </a:avLst>
          </a:prstGeom>
          <a:no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a:spcBef>
                <a:spcPts val="0"/>
              </a:spcBef>
              <a:spcAft>
                <a:spcPts val="300"/>
              </a:spcAft>
            </a:pPr>
            <a:r>
              <a:rPr lang="ja-JP" altLang="en-US" sz="1400">
                <a:latin typeface="+mn-ea"/>
              </a:rPr>
              <a:t>モビリティデータの取得と活用</a:t>
            </a:r>
          </a:p>
        </p:txBody>
      </p:sp>
      <p:sp>
        <p:nvSpPr>
          <p:cNvPr id="99" name="四角形: 角を丸くする 98">
            <a:extLst>
              <a:ext uri="{FF2B5EF4-FFF2-40B4-BE49-F238E27FC236}">
                <a16:creationId xmlns:a16="http://schemas.microsoft.com/office/drawing/2014/main" id="{677FBB95-C85F-129E-221F-CCED023067AB}"/>
              </a:ext>
            </a:extLst>
          </p:cNvPr>
          <p:cNvSpPr/>
          <p:nvPr/>
        </p:nvSpPr>
        <p:spPr bwMode="gray">
          <a:xfrm>
            <a:off x="4225471" y="1794094"/>
            <a:ext cx="3783993" cy="241273"/>
          </a:xfrm>
          <a:prstGeom prst="roundRect">
            <a:avLst>
              <a:gd name="adj" fmla="val 3836"/>
            </a:avLst>
          </a:prstGeom>
          <a:no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400">
                <a:latin typeface="+mn-ea"/>
              </a:rPr>
              <a:t>交通サービスの高度化</a:t>
            </a:r>
            <a:endParaRPr kumimoji="1" lang="en-US" altLang="ja-JP" sz="1400">
              <a:latin typeface="+mn-ea"/>
            </a:endParaRPr>
          </a:p>
        </p:txBody>
      </p:sp>
      <p:sp>
        <p:nvSpPr>
          <p:cNvPr id="100" name="四角形: 角を丸くする 99">
            <a:extLst>
              <a:ext uri="{FF2B5EF4-FFF2-40B4-BE49-F238E27FC236}">
                <a16:creationId xmlns:a16="http://schemas.microsoft.com/office/drawing/2014/main" id="{792ED3B5-00B5-1B9D-E8C7-7E30A7FC9B67}"/>
              </a:ext>
            </a:extLst>
          </p:cNvPr>
          <p:cNvSpPr/>
          <p:nvPr/>
        </p:nvSpPr>
        <p:spPr bwMode="gray">
          <a:xfrm>
            <a:off x="8071757" y="1794094"/>
            <a:ext cx="3783993" cy="241273"/>
          </a:xfrm>
          <a:prstGeom prst="roundRect">
            <a:avLst>
              <a:gd name="adj" fmla="val 3836"/>
            </a:avLst>
          </a:prstGeom>
          <a:no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400">
                <a:latin typeface="+mn-ea"/>
              </a:rPr>
              <a:t>エンドコンテンツとの連携</a:t>
            </a:r>
          </a:p>
        </p:txBody>
      </p:sp>
      <p:sp>
        <p:nvSpPr>
          <p:cNvPr id="101" name="テキスト ボックス 100">
            <a:extLst>
              <a:ext uri="{FF2B5EF4-FFF2-40B4-BE49-F238E27FC236}">
                <a16:creationId xmlns:a16="http://schemas.microsoft.com/office/drawing/2014/main" id="{E1C966D4-D0DE-6EFA-035B-F40658EB06CF}"/>
              </a:ext>
            </a:extLst>
          </p:cNvPr>
          <p:cNvSpPr txBox="1"/>
          <p:nvPr/>
        </p:nvSpPr>
        <p:spPr>
          <a:xfrm>
            <a:off x="2795716" y="3429000"/>
            <a:ext cx="6135987" cy="2385668"/>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WBS/</a:t>
            </a:r>
            <a:r>
              <a:rPr kumimoji="0" lang="ja-JP" altLang="en-US" sz="1400" b="0" i="0" u="none" strike="noStrike" kern="0" cap="none" spc="0" normalizeH="0" baseline="0" noProof="0">
                <a:ln>
                  <a:noFill/>
                </a:ln>
                <a:solidFill>
                  <a:srgbClr val="FFFFFF"/>
                </a:solidFill>
                <a:effectLst/>
                <a:uLnTx/>
                <a:uFillTx/>
              </a:rPr>
              <a:t>ガントをベースとして、大きなマイルストン単位でプロジェクトの進め方をフロー化してください。</a:t>
            </a:r>
          </a:p>
        </p:txBody>
      </p:sp>
      <p:grpSp>
        <p:nvGrpSpPr>
          <p:cNvPr id="42" name="グループ化 41">
            <a:extLst>
              <a:ext uri="{FF2B5EF4-FFF2-40B4-BE49-F238E27FC236}">
                <a16:creationId xmlns:a16="http://schemas.microsoft.com/office/drawing/2014/main" id="{355A6BDE-529C-BBF9-BF22-7206DC63923B}"/>
              </a:ext>
            </a:extLst>
          </p:cNvPr>
          <p:cNvGrpSpPr/>
          <p:nvPr/>
        </p:nvGrpSpPr>
        <p:grpSpPr>
          <a:xfrm>
            <a:off x="8119448" y="2165428"/>
            <a:ext cx="1348014" cy="3520950"/>
            <a:chOff x="292100" y="2000740"/>
            <a:chExt cx="2175378" cy="3520950"/>
          </a:xfrm>
        </p:grpSpPr>
        <p:sp>
          <p:nvSpPr>
            <p:cNvPr id="43" name="フローチャート: 他ページ結合子 42">
              <a:extLst>
                <a:ext uri="{FF2B5EF4-FFF2-40B4-BE49-F238E27FC236}">
                  <a16:creationId xmlns:a16="http://schemas.microsoft.com/office/drawing/2014/main" id="{D83458F3-8122-247E-4484-2FA08BF1EE75}"/>
                </a:ext>
              </a:extLst>
            </p:cNvPr>
            <p:cNvSpPr/>
            <p:nvPr/>
          </p:nvSpPr>
          <p:spPr bwMode="gray">
            <a:xfrm>
              <a:off x="293129" y="3442341"/>
              <a:ext cx="2174349" cy="620443"/>
            </a:xfrm>
            <a:prstGeom prst="flowChartOffpageConnector">
              <a:avLst/>
            </a:prstGeom>
            <a:no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400">
                  <a:solidFill>
                    <a:srgbClr val="0070C0"/>
                  </a:solidFill>
                  <a:latin typeface="+mn-ea"/>
                </a:rPr>
                <a:t>開発</a:t>
              </a:r>
            </a:p>
          </p:txBody>
        </p:sp>
        <p:sp>
          <p:nvSpPr>
            <p:cNvPr id="44" name="フローチャート: 他ページ結合子 43">
              <a:extLst>
                <a:ext uri="{FF2B5EF4-FFF2-40B4-BE49-F238E27FC236}">
                  <a16:creationId xmlns:a16="http://schemas.microsoft.com/office/drawing/2014/main" id="{E9EA0CCD-03BE-38B7-6217-9D2A682A129C}"/>
                </a:ext>
              </a:extLst>
            </p:cNvPr>
            <p:cNvSpPr/>
            <p:nvPr/>
          </p:nvSpPr>
          <p:spPr bwMode="gray">
            <a:xfrm>
              <a:off x="292100" y="4903735"/>
              <a:ext cx="2174349" cy="617955"/>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400">
                  <a:solidFill>
                    <a:srgbClr val="0070C0"/>
                  </a:solidFill>
                  <a:latin typeface="+mn-ea"/>
                </a:rPr>
                <a:t>実証フェーズ</a:t>
              </a:r>
            </a:p>
          </p:txBody>
        </p:sp>
        <p:sp>
          <p:nvSpPr>
            <p:cNvPr id="45" name="フローチャート: 他ページ結合子 44">
              <a:extLst>
                <a:ext uri="{FF2B5EF4-FFF2-40B4-BE49-F238E27FC236}">
                  <a16:creationId xmlns:a16="http://schemas.microsoft.com/office/drawing/2014/main" id="{1626F230-4DA6-7E27-3291-6AB485BD618B}"/>
                </a:ext>
              </a:extLst>
            </p:cNvPr>
            <p:cNvSpPr/>
            <p:nvPr/>
          </p:nvSpPr>
          <p:spPr bwMode="gray">
            <a:xfrm>
              <a:off x="293129" y="4164527"/>
              <a:ext cx="2174349" cy="620442"/>
            </a:xfrm>
            <a:prstGeom prst="flowChartOffpageConnector">
              <a:avLst/>
            </a:prstGeom>
            <a:no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400">
                  <a:solidFill>
                    <a:srgbClr val="0070C0"/>
                  </a:solidFill>
                  <a:latin typeface="+mn-ea"/>
                </a:rPr>
                <a:t>テストと導入フェーズ</a:t>
              </a:r>
            </a:p>
          </p:txBody>
        </p:sp>
        <p:sp>
          <p:nvSpPr>
            <p:cNvPr id="46" name="フローチャート: 他ページ結合子 45">
              <a:extLst>
                <a:ext uri="{FF2B5EF4-FFF2-40B4-BE49-F238E27FC236}">
                  <a16:creationId xmlns:a16="http://schemas.microsoft.com/office/drawing/2014/main" id="{C446BA36-FBA2-4574-4DCA-255903E8BBD8}"/>
                </a:ext>
              </a:extLst>
            </p:cNvPr>
            <p:cNvSpPr/>
            <p:nvPr/>
          </p:nvSpPr>
          <p:spPr bwMode="gray">
            <a:xfrm>
              <a:off x="293129" y="2720154"/>
              <a:ext cx="2174349" cy="620443"/>
            </a:xfrm>
            <a:prstGeom prst="flowChartOffpageConnector">
              <a:avLst/>
            </a:prstGeom>
            <a:no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a:spcBef>
                  <a:spcPts val="0"/>
                </a:spcBef>
                <a:spcAft>
                  <a:spcPts val="300"/>
                </a:spcAft>
              </a:pPr>
              <a:r>
                <a:rPr kumimoji="1" lang="en-US" altLang="ja-JP" sz="1400">
                  <a:solidFill>
                    <a:srgbClr val="0070C0"/>
                  </a:solidFill>
                  <a:latin typeface="+mn-ea"/>
                </a:rPr>
                <a:t>UI/UX</a:t>
              </a:r>
              <a:r>
                <a:rPr kumimoji="1" lang="ja-JP" altLang="en-US" sz="1400">
                  <a:solidFill>
                    <a:srgbClr val="0070C0"/>
                  </a:solidFill>
                  <a:latin typeface="+mn-ea"/>
                </a:rPr>
                <a:t>設計</a:t>
              </a:r>
            </a:p>
          </p:txBody>
        </p:sp>
        <p:sp>
          <p:nvSpPr>
            <p:cNvPr id="47" name="フローチャート: 他ページ結合子 46">
              <a:extLst>
                <a:ext uri="{FF2B5EF4-FFF2-40B4-BE49-F238E27FC236}">
                  <a16:creationId xmlns:a16="http://schemas.microsoft.com/office/drawing/2014/main" id="{5B8F0A26-72DD-B943-684A-A39914E2ED0C}"/>
                </a:ext>
              </a:extLst>
            </p:cNvPr>
            <p:cNvSpPr/>
            <p:nvPr/>
          </p:nvSpPr>
          <p:spPr bwMode="gray">
            <a:xfrm>
              <a:off x="293129" y="2000740"/>
              <a:ext cx="2174349" cy="620443"/>
            </a:xfrm>
            <a:prstGeom prst="flowChartOffpageConnector">
              <a:avLst/>
            </a:prstGeom>
            <a:no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400">
                  <a:solidFill>
                    <a:srgbClr val="0070C0"/>
                  </a:solidFill>
                  <a:latin typeface="+mn-ea"/>
                </a:rPr>
                <a:t>計画・要件定義</a:t>
              </a:r>
              <a:endParaRPr kumimoji="1" lang="en-US" altLang="ja-JP" sz="1400">
                <a:solidFill>
                  <a:srgbClr val="0070C0"/>
                </a:solidFill>
                <a:latin typeface="+mn-ea"/>
              </a:endParaRPr>
            </a:p>
            <a:p>
              <a:pPr algn="ctr">
                <a:spcBef>
                  <a:spcPts val="0"/>
                </a:spcBef>
                <a:spcAft>
                  <a:spcPts val="300"/>
                </a:spcAft>
              </a:pPr>
              <a:r>
                <a:rPr kumimoji="1" lang="ja-JP" altLang="en-US" sz="1400">
                  <a:solidFill>
                    <a:srgbClr val="0070C0"/>
                  </a:solidFill>
                  <a:latin typeface="+mn-ea"/>
                </a:rPr>
                <a:t>フェーズ</a:t>
              </a:r>
              <a:endParaRPr kumimoji="1" lang="en-US" altLang="ja-JP" sz="1400">
                <a:solidFill>
                  <a:srgbClr val="0070C0"/>
                </a:solidFill>
                <a:latin typeface="+mn-ea"/>
              </a:endParaRPr>
            </a:p>
          </p:txBody>
        </p:sp>
      </p:grpSp>
      <p:grpSp>
        <p:nvGrpSpPr>
          <p:cNvPr id="48" name="グループ化 47">
            <a:extLst>
              <a:ext uri="{FF2B5EF4-FFF2-40B4-BE49-F238E27FC236}">
                <a16:creationId xmlns:a16="http://schemas.microsoft.com/office/drawing/2014/main" id="{B0FD96A9-153B-B8A8-D56A-A539BB899F98}"/>
              </a:ext>
            </a:extLst>
          </p:cNvPr>
          <p:cNvGrpSpPr/>
          <p:nvPr/>
        </p:nvGrpSpPr>
        <p:grpSpPr>
          <a:xfrm>
            <a:off x="9582936" y="2167918"/>
            <a:ext cx="2250353" cy="3666311"/>
            <a:chOff x="2644038" y="2003230"/>
            <a:chExt cx="9243161" cy="3666311"/>
          </a:xfrm>
        </p:grpSpPr>
        <p:sp>
          <p:nvSpPr>
            <p:cNvPr id="49" name="正方形/長方形 48">
              <a:extLst>
                <a:ext uri="{FF2B5EF4-FFF2-40B4-BE49-F238E27FC236}">
                  <a16:creationId xmlns:a16="http://schemas.microsoft.com/office/drawing/2014/main" id="{B65F952F-7DB3-5DB7-063A-425767447BBA}"/>
                </a:ext>
              </a:extLst>
            </p:cNvPr>
            <p:cNvSpPr/>
            <p:nvPr/>
          </p:nvSpPr>
          <p:spPr bwMode="gray">
            <a:xfrm>
              <a:off x="2644044" y="3444830"/>
              <a:ext cx="9209246" cy="617954"/>
            </a:xfrm>
            <a:prstGeom prst="rect">
              <a:avLst/>
            </a:prstGeom>
            <a:no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203200" indent="-203200">
                <a:spcBef>
                  <a:spcPts val="0"/>
                </a:spcBef>
                <a:spcAft>
                  <a:spcPts val="300"/>
                </a:spcAft>
                <a:buChar char="•"/>
              </a:pPr>
              <a:r>
                <a:rPr kumimoji="1" lang="ja-JP" altLang="en-US" sz="1200">
                  <a:solidFill>
                    <a:srgbClr val="0070C0"/>
                  </a:solidFill>
                  <a:latin typeface="+mn-ea"/>
                </a:rPr>
                <a:t>設計に基づいてシステムをコーディング・プログラム開発</a:t>
              </a:r>
            </a:p>
          </p:txBody>
        </p:sp>
        <p:sp>
          <p:nvSpPr>
            <p:cNvPr id="50" name="正方形/長方形 49">
              <a:extLst>
                <a:ext uri="{FF2B5EF4-FFF2-40B4-BE49-F238E27FC236}">
                  <a16:creationId xmlns:a16="http://schemas.microsoft.com/office/drawing/2014/main" id="{FA14CE69-B9F2-1A57-9D83-26F4D47B6A2E}"/>
                </a:ext>
              </a:extLst>
            </p:cNvPr>
            <p:cNvSpPr/>
            <p:nvPr/>
          </p:nvSpPr>
          <p:spPr bwMode="gray">
            <a:xfrm>
              <a:off x="2677953" y="4903735"/>
              <a:ext cx="9209246" cy="617956"/>
            </a:xfrm>
            <a:prstGeom prst="rect">
              <a:avLst/>
            </a:prstGeom>
            <a:no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218836" indent="-218836">
                <a:buChar char="•"/>
              </a:pPr>
              <a:r>
                <a:rPr lang="ja-JP" altLang="en-US" sz="1200">
                  <a:solidFill>
                    <a:srgbClr val="0070C0"/>
                  </a:solidFill>
                  <a:latin typeface="+mn-ea"/>
                </a:rPr>
                <a:t>システム検証、ユーザーフィードバックを基に修正・改善</a:t>
              </a:r>
              <a:endParaRPr lang="en-US" altLang="ja-JP" sz="1200">
                <a:solidFill>
                  <a:srgbClr val="0070C0"/>
                </a:solidFill>
                <a:latin typeface="+mn-ea"/>
              </a:endParaRPr>
            </a:p>
          </p:txBody>
        </p:sp>
        <p:sp>
          <p:nvSpPr>
            <p:cNvPr id="51" name="正方形/長方形 50">
              <a:extLst>
                <a:ext uri="{FF2B5EF4-FFF2-40B4-BE49-F238E27FC236}">
                  <a16:creationId xmlns:a16="http://schemas.microsoft.com/office/drawing/2014/main" id="{D9A01F47-6656-C213-8664-C4D0B3D6F47F}"/>
                </a:ext>
              </a:extLst>
            </p:cNvPr>
            <p:cNvSpPr/>
            <p:nvPr/>
          </p:nvSpPr>
          <p:spPr bwMode="gray">
            <a:xfrm>
              <a:off x="2654753" y="4168270"/>
              <a:ext cx="9209246" cy="617954"/>
            </a:xfrm>
            <a:prstGeom prst="rect">
              <a:avLst/>
            </a:prstGeom>
            <a:no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203200" indent="-203200">
                <a:spcBef>
                  <a:spcPts val="0"/>
                </a:spcBef>
                <a:spcAft>
                  <a:spcPts val="300"/>
                </a:spcAft>
                <a:buChar char="•"/>
              </a:pPr>
              <a:r>
                <a:rPr kumimoji="1" lang="ja-JP" altLang="en-US" sz="1200">
                  <a:solidFill>
                    <a:srgbClr val="0070C0"/>
                  </a:solidFill>
                  <a:latin typeface="+mn-ea"/>
                </a:rPr>
                <a:t>システム全体のテストの実施、導入</a:t>
              </a:r>
            </a:p>
          </p:txBody>
        </p:sp>
        <p:grpSp>
          <p:nvGrpSpPr>
            <p:cNvPr id="52" name="グループ化 51">
              <a:extLst>
                <a:ext uri="{FF2B5EF4-FFF2-40B4-BE49-F238E27FC236}">
                  <a16:creationId xmlns:a16="http://schemas.microsoft.com/office/drawing/2014/main" id="{41D6A6EF-F576-4908-5E1C-B823BD3F9CA4}"/>
                </a:ext>
              </a:extLst>
            </p:cNvPr>
            <p:cNvGrpSpPr/>
            <p:nvPr/>
          </p:nvGrpSpPr>
          <p:grpSpPr>
            <a:xfrm>
              <a:off x="2644038" y="4164527"/>
              <a:ext cx="9237138" cy="1505014"/>
              <a:chOff x="2641069" y="3515465"/>
              <a:chExt cx="9248531" cy="1505014"/>
            </a:xfrm>
          </p:grpSpPr>
          <p:cxnSp>
            <p:nvCxnSpPr>
              <p:cNvPr id="57" name="直線コネクタ 56">
                <a:extLst>
                  <a:ext uri="{FF2B5EF4-FFF2-40B4-BE49-F238E27FC236}">
                    <a16:creationId xmlns:a16="http://schemas.microsoft.com/office/drawing/2014/main" id="{9C43E321-A0A7-8814-DE84-BC86D05F4B02}"/>
                  </a:ext>
                </a:extLst>
              </p:cNvPr>
              <p:cNvCxnSpPr/>
              <p:nvPr/>
            </p:nvCxnSpPr>
            <p:spPr>
              <a:xfrm>
                <a:off x="2641069" y="3515465"/>
                <a:ext cx="9220607" cy="0"/>
              </a:xfrm>
              <a:prstGeom prst="line">
                <a:avLst/>
              </a:prstGeom>
              <a:ln w="6350">
                <a:solidFill>
                  <a:srgbClr val="919191"/>
                </a:solidFill>
                <a:prstDash val="dash"/>
              </a:ln>
            </p:spPr>
            <p:style>
              <a:lnRef idx="1">
                <a:schemeClr val="accent1"/>
              </a:lnRef>
              <a:fillRef idx="0">
                <a:schemeClr val="accent1"/>
              </a:fillRef>
              <a:effectRef idx="0">
                <a:schemeClr val="accent1"/>
              </a:effectRef>
              <a:fontRef idx="minor">
                <a:schemeClr val="tx1"/>
              </a:fontRef>
            </p:style>
          </p:cxnSp>
          <p:cxnSp>
            <p:nvCxnSpPr>
              <p:cNvPr id="58" name="直線コネクタ 57">
                <a:extLst>
                  <a:ext uri="{FF2B5EF4-FFF2-40B4-BE49-F238E27FC236}">
                    <a16:creationId xmlns:a16="http://schemas.microsoft.com/office/drawing/2014/main" id="{A36503F1-2A3D-0A5F-11FF-F64E19901144}"/>
                  </a:ext>
                </a:extLst>
              </p:cNvPr>
              <p:cNvCxnSpPr/>
              <p:nvPr/>
            </p:nvCxnSpPr>
            <p:spPr>
              <a:xfrm>
                <a:off x="2668997" y="4135907"/>
                <a:ext cx="9220603" cy="0"/>
              </a:xfrm>
              <a:prstGeom prst="line">
                <a:avLst/>
              </a:prstGeom>
              <a:ln w="6350">
                <a:solidFill>
                  <a:srgbClr val="919191"/>
                </a:solidFill>
                <a:prstDash val="dash"/>
              </a:ln>
            </p:spPr>
            <p:style>
              <a:lnRef idx="1">
                <a:schemeClr val="accent1"/>
              </a:lnRef>
              <a:fillRef idx="0">
                <a:schemeClr val="accent1"/>
              </a:fillRef>
              <a:effectRef idx="0">
                <a:schemeClr val="accent1"/>
              </a:effectRef>
              <a:fontRef idx="minor">
                <a:schemeClr val="tx1"/>
              </a:fontRef>
            </p:style>
          </p:cxnSp>
          <p:cxnSp>
            <p:nvCxnSpPr>
              <p:cNvPr id="59" name="直線コネクタ 58">
                <a:extLst>
                  <a:ext uri="{FF2B5EF4-FFF2-40B4-BE49-F238E27FC236}">
                    <a16:creationId xmlns:a16="http://schemas.microsoft.com/office/drawing/2014/main" id="{621D04AF-2D9F-E027-CD1B-059868C6B1EF}"/>
                  </a:ext>
                </a:extLst>
              </p:cNvPr>
              <p:cNvCxnSpPr/>
              <p:nvPr/>
            </p:nvCxnSpPr>
            <p:spPr>
              <a:xfrm>
                <a:off x="2641069" y="5020479"/>
                <a:ext cx="9220603" cy="0"/>
              </a:xfrm>
              <a:prstGeom prst="line">
                <a:avLst/>
              </a:prstGeom>
              <a:ln w="6350">
                <a:solidFill>
                  <a:srgbClr val="919191"/>
                </a:solidFill>
                <a:prstDash val="dash"/>
              </a:ln>
            </p:spPr>
            <p:style>
              <a:lnRef idx="1">
                <a:schemeClr val="accent1"/>
              </a:lnRef>
              <a:fillRef idx="0">
                <a:schemeClr val="accent1"/>
              </a:fillRef>
              <a:effectRef idx="0">
                <a:schemeClr val="accent1"/>
              </a:effectRef>
              <a:fontRef idx="minor">
                <a:schemeClr val="tx1"/>
              </a:fontRef>
            </p:style>
          </p:cxnSp>
        </p:grpSp>
        <p:sp>
          <p:nvSpPr>
            <p:cNvPr id="53" name="正方形/長方形 52">
              <a:extLst>
                <a:ext uri="{FF2B5EF4-FFF2-40B4-BE49-F238E27FC236}">
                  <a16:creationId xmlns:a16="http://schemas.microsoft.com/office/drawing/2014/main" id="{C3A80ABC-629D-5929-8563-4304CA56C096}"/>
                </a:ext>
              </a:extLst>
            </p:cNvPr>
            <p:cNvSpPr/>
            <p:nvPr/>
          </p:nvSpPr>
          <p:spPr bwMode="gray">
            <a:xfrm>
              <a:off x="2647735" y="2718901"/>
              <a:ext cx="9209246" cy="617953"/>
            </a:xfrm>
            <a:prstGeom prst="rect">
              <a:avLst/>
            </a:prstGeom>
            <a:no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203200" indent="-203200">
                <a:spcBef>
                  <a:spcPts val="0"/>
                </a:spcBef>
                <a:spcAft>
                  <a:spcPts val="300"/>
                </a:spcAft>
                <a:buChar char="•"/>
              </a:pPr>
              <a:r>
                <a:rPr kumimoji="1" lang="ja-JP" altLang="en-US" sz="1200">
                  <a:solidFill>
                    <a:srgbClr val="0070C0"/>
                  </a:solidFill>
                  <a:latin typeface="+mn-ea"/>
                </a:rPr>
                <a:t>プロジェクト目的及び要件定義を踏まえた基本設計</a:t>
              </a:r>
              <a:endParaRPr kumimoji="1" lang="en-US" altLang="ja-JP" sz="1200">
                <a:solidFill>
                  <a:srgbClr val="0070C0"/>
                </a:solidFill>
                <a:latin typeface="+mn-ea"/>
              </a:endParaRPr>
            </a:p>
          </p:txBody>
        </p:sp>
        <p:cxnSp>
          <p:nvCxnSpPr>
            <p:cNvPr id="54" name="直線コネクタ 53">
              <a:extLst>
                <a:ext uri="{FF2B5EF4-FFF2-40B4-BE49-F238E27FC236}">
                  <a16:creationId xmlns:a16="http://schemas.microsoft.com/office/drawing/2014/main" id="{43CCC025-8EE5-D3A5-EFD4-6B2127AED464}"/>
                </a:ext>
              </a:extLst>
            </p:cNvPr>
            <p:cNvCxnSpPr/>
            <p:nvPr/>
          </p:nvCxnSpPr>
          <p:spPr>
            <a:xfrm>
              <a:off x="2655781" y="3442341"/>
              <a:ext cx="9209246" cy="0"/>
            </a:xfrm>
            <a:prstGeom prst="line">
              <a:avLst/>
            </a:prstGeom>
            <a:ln w="6350">
              <a:solidFill>
                <a:srgbClr val="919191"/>
              </a:solidFill>
              <a:prstDash val="dash"/>
            </a:ln>
          </p:spPr>
          <p:style>
            <a:lnRef idx="1">
              <a:schemeClr val="accent1"/>
            </a:lnRef>
            <a:fillRef idx="0">
              <a:schemeClr val="accent1"/>
            </a:fillRef>
            <a:effectRef idx="0">
              <a:schemeClr val="accent1"/>
            </a:effectRef>
            <a:fontRef idx="minor">
              <a:schemeClr val="tx1"/>
            </a:fontRef>
          </p:style>
        </p:cxnSp>
        <p:cxnSp>
          <p:nvCxnSpPr>
            <p:cNvPr id="55" name="直線コネクタ 54">
              <a:extLst>
                <a:ext uri="{FF2B5EF4-FFF2-40B4-BE49-F238E27FC236}">
                  <a16:creationId xmlns:a16="http://schemas.microsoft.com/office/drawing/2014/main" id="{34DAF83D-92BE-5C78-177D-449AA963C16B}"/>
                </a:ext>
              </a:extLst>
            </p:cNvPr>
            <p:cNvCxnSpPr/>
            <p:nvPr/>
          </p:nvCxnSpPr>
          <p:spPr>
            <a:xfrm>
              <a:off x="2647735" y="2720154"/>
              <a:ext cx="9209246" cy="0"/>
            </a:xfrm>
            <a:prstGeom prst="line">
              <a:avLst/>
            </a:prstGeom>
            <a:ln w="6350">
              <a:solidFill>
                <a:srgbClr val="919191"/>
              </a:solidFill>
              <a:prstDash val="dash"/>
            </a:ln>
          </p:spPr>
          <p:style>
            <a:lnRef idx="1">
              <a:schemeClr val="accent1"/>
            </a:lnRef>
            <a:fillRef idx="0">
              <a:schemeClr val="accent1"/>
            </a:fillRef>
            <a:effectRef idx="0">
              <a:schemeClr val="accent1"/>
            </a:effectRef>
            <a:fontRef idx="minor">
              <a:schemeClr val="tx1"/>
            </a:fontRef>
          </p:style>
        </p:cxnSp>
        <p:sp>
          <p:nvSpPr>
            <p:cNvPr id="56" name="正方形/長方形 55">
              <a:extLst>
                <a:ext uri="{FF2B5EF4-FFF2-40B4-BE49-F238E27FC236}">
                  <a16:creationId xmlns:a16="http://schemas.microsoft.com/office/drawing/2014/main" id="{77A71208-31F6-A6BD-8A56-646E47CF690F}"/>
                </a:ext>
              </a:extLst>
            </p:cNvPr>
            <p:cNvSpPr/>
            <p:nvPr/>
          </p:nvSpPr>
          <p:spPr bwMode="gray">
            <a:xfrm>
              <a:off x="2644043" y="2003230"/>
              <a:ext cx="9209246" cy="617953"/>
            </a:xfrm>
            <a:prstGeom prst="rect">
              <a:avLst/>
            </a:prstGeom>
            <a:no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203200" indent="-203200">
                <a:spcBef>
                  <a:spcPts val="0"/>
                </a:spcBef>
                <a:spcAft>
                  <a:spcPts val="300"/>
                </a:spcAft>
                <a:buChar char="•"/>
              </a:pPr>
              <a:r>
                <a:rPr kumimoji="1" lang="ja-JP" altLang="en-US" sz="1200">
                  <a:solidFill>
                    <a:srgbClr val="0070C0"/>
                  </a:solidFill>
                  <a:latin typeface="+mn-ea"/>
                </a:rPr>
                <a:t>プロジェクトの目的と範囲を定義</a:t>
              </a:r>
              <a:endParaRPr kumimoji="1" lang="en-US" altLang="ja-JP" sz="1200">
                <a:solidFill>
                  <a:srgbClr val="0070C0"/>
                </a:solidFill>
                <a:latin typeface="+mn-ea"/>
              </a:endParaRPr>
            </a:p>
            <a:p>
              <a:pPr marL="203200" indent="-203200">
                <a:spcBef>
                  <a:spcPts val="0"/>
                </a:spcBef>
                <a:spcAft>
                  <a:spcPts val="300"/>
                </a:spcAft>
                <a:buChar char="•"/>
              </a:pPr>
              <a:r>
                <a:rPr kumimoji="1" lang="ja-JP" altLang="en-US" sz="1200">
                  <a:solidFill>
                    <a:srgbClr val="0070C0"/>
                  </a:solidFill>
                  <a:latin typeface="+mn-ea"/>
                </a:rPr>
                <a:t>必要な要件を収集・分析</a:t>
              </a:r>
            </a:p>
          </p:txBody>
        </p:sp>
      </p:grpSp>
    </p:spTree>
    <p:extLst>
      <p:ext uri="{BB962C8B-B14F-4D97-AF65-F5344CB8AC3E}">
        <p14:creationId xmlns:p14="http://schemas.microsoft.com/office/powerpoint/2010/main" val="280781546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7A908D4C-AB64-4D6C-A9D7-43C0FEFAFC61}"/>
              </a:ext>
            </a:extLst>
          </p:cNvPr>
          <p:cNvSpPr/>
          <p:nvPr/>
        </p:nvSpPr>
        <p:spPr>
          <a:xfrm>
            <a:off x="7966787" y="2048401"/>
            <a:ext cx="3910887" cy="186637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endParaRPr kumimoji="1" lang="ja-JP" altLang="en-US" sz="1600">
              <a:solidFill>
                <a:schemeClr val="tx1"/>
              </a:solidFill>
            </a:endParaRPr>
          </a:p>
        </p:txBody>
      </p:sp>
      <p:graphicFrame>
        <p:nvGraphicFramePr>
          <p:cNvPr id="8" name="オブジェクト 7" hidden="1">
            <a:extLst>
              <a:ext uri="{FF2B5EF4-FFF2-40B4-BE49-F238E27FC236}">
                <a16:creationId xmlns:a16="http://schemas.microsoft.com/office/drawing/2014/main" id="{1BBE9D25-4DE5-46EE-8FED-CB8ED36E5506}"/>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99" imgH="499" progId="TCLayout.ActiveDocument.1">
                  <p:embed/>
                </p:oleObj>
              </mc:Choice>
              <mc:Fallback>
                <p:oleObj name="think-cell スライド" r:id="rId4" imgW="499" imgH="499" progId="TCLayout.ActiveDocument.1">
                  <p:embed/>
                  <p:pic>
                    <p:nvPicPr>
                      <p:cNvPr id="8" name="オブジェクト 7" hidden="1">
                        <a:extLst>
                          <a:ext uri="{FF2B5EF4-FFF2-40B4-BE49-F238E27FC236}">
                            <a16:creationId xmlns:a16="http://schemas.microsoft.com/office/drawing/2014/main" id="{1BBE9D25-4DE5-46EE-8FED-CB8ED36E5506}"/>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11" name="テキスト プレースホルダー 10">
            <a:extLst>
              <a:ext uri="{FF2B5EF4-FFF2-40B4-BE49-F238E27FC236}">
                <a16:creationId xmlns:a16="http://schemas.microsoft.com/office/drawing/2014/main" id="{D6B57F77-6747-8345-B97F-B6205C839C6A}"/>
              </a:ext>
            </a:extLst>
          </p:cNvPr>
          <p:cNvSpPr>
            <a:spLocks noGrp="1"/>
          </p:cNvSpPr>
          <p:nvPr>
            <p:ph type="body" sz="quarter" idx="36"/>
          </p:nvPr>
        </p:nvSpPr>
        <p:spPr/>
        <p:txBody>
          <a:bodyPr/>
          <a:lstStyle/>
          <a:p>
            <a:endParaRPr lang="ja-JP" altLang="en-US"/>
          </a:p>
        </p:txBody>
      </p:sp>
      <p:sp>
        <p:nvSpPr>
          <p:cNvPr id="2" name="タイトル 1">
            <a:extLst>
              <a:ext uri="{FF2B5EF4-FFF2-40B4-BE49-F238E27FC236}">
                <a16:creationId xmlns:a16="http://schemas.microsoft.com/office/drawing/2014/main" id="{05AAEBB6-71D6-4253-80ED-017092C77AD9}"/>
              </a:ext>
            </a:extLst>
          </p:cNvPr>
          <p:cNvSpPr>
            <a:spLocks noGrp="1"/>
          </p:cNvSpPr>
          <p:nvPr>
            <p:ph type="title"/>
          </p:nvPr>
        </p:nvSpPr>
        <p:spPr/>
        <p:txBody>
          <a:bodyPr vert="horz"/>
          <a:lstStyle/>
          <a:p>
            <a:r>
              <a:rPr kumimoji="1" lang="ja-JP" altLang="en-US"/>
              <a:t>目次</a:t>
            </a:r>
          </a:p>
        </p:txBody>
      </p:sp>
      <p:sp>
        <p:nvSpPr>
          <p:cNvPr id="4" name="正方形/長方形 3">
            <a:extLst>
              <a:ext uri="{FF2B5EF4-FFF2-40B4-BE49-F238E27FC236}">
                <a16:creationId xmlns:a16="http://schemas.microsoft.com/office/drawing/2014/main" id="{F0834B2B-CE70-FA15-798D-05EECB16ACF8}"/>
              </a:ext>
            </a:extLst>
          </p:cNvPr>
          <p:cNvSpPr/>
          <p:nvPr/>
        </p:nvSpPr>
        <p:spPr>
          <a:xfrm>
            <a:off x="157615" y="1101036"/>
            <a:ext cx="11876770" cy="5541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numCol="3" rtlCol="0" anchor="t"/>
          <a:lstStyle/>
          <a:p>
            <a:pPr marL="342900" indent="-342900">
              <a:buFont typeface="+mj-lt"/>
              <a:buAutoNum type="romanU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プロジェクトのビジョン</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解決すべき社会課題</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創出価値</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課題解決のアプローチ</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en-US" altLang="ja-JP" sz="1600" dirty="0">
                <a:solidFill>
                  <a:srgbClr val="000000"/>
                </a:solidFill>
                <a:latin typeface="BIZ UDPゴシック"/>
                <a:ea typeface="BIZ UDPゴシック"/>
              </a:rPr>
              <a:t>KPI</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想定事業機会</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中長期的な展開</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交通サービスの高度化</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サービス全体像</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lang="ja-JP" altLang="en-US" sz="1600" dirty="0">
                <a:solidFill>
                  <a:srgbClr val="000000"/>
                </a:solidFill>
                <a:latin typeface="BIZ UDPゴシック"/>
                <a:ea typeface="BIZ UDPゴシック"/>
              </a:rPr>
              <a:t>実証仮説</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lang="ja-JP" altLang="en-US" sz="1600" dirty="0">
                <a:solidFill>
                  <a:srgbClr val="000000"/>
                </a:solidFill>
                <a:latin typeface="BIZ UDPゴシック"/>
                <a:ea typeface="BIZ UDPゴシック"/>
              </a:rPr>
              <a:t>スコープ詳細　</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プロジェクト実施エリア</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利用する技術要素</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ユーザインタフェース</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事業の推進体制</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lvl="1">
              <a:defRPr/>
            </a:pPr>
            <a:endParaRPr lang="en-US" altLang="ja-JP" sz="1600" dirty="0">
              <a:solidFill>
                <a:srgbClr val="000000"/>
              </a:solidFill>
              <a:latin typeface="BIZ UDPゴシック"/>
              <a:ea typeface="BIZ UDPゴシック"/>
            </a:endParaRPr>
          </a:p>
          <a:p>
            <a:pPr lvl="1">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lvl="1">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lvl="1">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モビリティデータの取得と活用</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lang="ja-JP" altLang="en-US" sz="1600" dirty="0">
                <a:solidFill>
                  <a:srgbClr val="000000"/>
                </a:solidFill>
                <a:latin typeface="BIZ UDPゴシック"/>
                <a:ea typeface="BIZ UDPゴシック"/>
              </a:rPr>
              <a:t>データ活用の</a:t>
            </a: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全体像</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実証仮説</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スコープ詳細</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データ活用実施エリア</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利用する技術要素</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利用するデータ一覧</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ユーザインターフェース</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事業の推進体制</a:t>
            </a:r>
            <a:endParaRPr lang="en-US" altLang="ja-JP" sz="1600" dirty="0">
              <a:solidFill>
                <a:srgbClr val="000000"/>
              </a:solidFill>
              <a:latin typeface="BIZ UDPゴシック"/>
              <a:ea typeface="BIZ UDPゴシック"/>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US" altLang="ja-JP" sz="1600" dirty="0">
              <a:solidFill>
                <a:srgbClr val="000000"/>
              </a:solidFill>
              <a:latin typeface="BIZ UDPゴシック"/>
              <a:ea typeface="BIZ UDPゴシック"/>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エンドコンテンツとの連携</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サービス全体像</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lang="ja-JP" altLang="en-US" sz="1600" dirty="0">
                <a:solidFill>
                  <a:srgbClr val="000000"/>
                </a:solidFill>
                <a:latin typeface="BIZ UDPゴシック"/>
                <a:ea typeface="BIZ UDPゴシック"/>
              </a:rPr>
              <a:t>実証仮説</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lang="ja-JP" altLang="en-US" sz="1600" dirty="0">
                <a:solidFill>
                  <a:srgbClr val="000000"/>
                </a:solidFill>
                <a:latin typeface="BIZ UDPゴシック"/>
                <a:ea typeface="BIZ UDPゴシック"/>
              </a:rPr>
              <a:t>スコープ詳細　</a:t>
            </a:r>
            <a:endParaRPr lang="en-US" altLang="ja-JP" sz="1600" dirty="0">
              <a:solidFill>
                <a:srgbClr val="000000"/>
              </a:solidFill>
              <a:latin typeface="BIZ UDPゴシック"/>
              <a:ea typeface="BIZ UDPゴシック"/>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プロジェクト実施エリア</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利用する技術要素</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ユーザインタフェース</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事業の推進体制</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スケジュール</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スケジュール（</a:t>
            </a:r>
            <a:r>
              <a:rPr lang="en-US" altLang="ja-JP" sz="1600" dirty="0">
                <a:solidFill>
                  <a:srgbClr val="000000"/>
                </a:solidFill>
                <a:latin typeface="BIZ UDPゴシック"/>
                <a:ea typeface="BIZ UDPゴシック"/>
              </a:rPr>
              <a:t>WBS</a:t>
            </a:r>
            <a:r>
              <a:rPr lang="ja-JP" altLang="en-US" sz="1600" dirty="0">
                <a:solidFill>
                  <a:srgbClr val="000000"/>
                </a:solidFill>
                <a:latin typeface="BIZ UDPゴシック"/>
                <a:ea typeface="BIZ UDPゴシック"/>
              </a:rPr>
              <a:t>ガントチャート）</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プロジェクトのフロー</a:t>
            </a:r>
            <a:endParaRPr lang="en-US" altLang="ja-JP" sz="1600" dirty="0">
              <a:solidFill>
                <a:srgbClr val="000000"/>
              </a:solidFill>
              <a:latin typeface="BIZ UDPゴシック"/>
              <a:ea typeface="BIZ UDPゴシック"/>
            </a:endParaRPr>
          </a:p>
          <a:p>
            <a:pPr marL="800100" lvl="1" indent="-342900">
              <a:buFont typeface="+mj-lt"/>
              <a:buAutoNum type="arabicPeriod"/>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マネジメント計画</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リスク・課題</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コスト</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リソース（プロジェクト実施体制）</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コミュニケーション</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品質</a:t>
            </a: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dirty="0">
                <a:solidFill>
                  <a:srgbClr val="000000"/>
                </a:solidFill>
                <a:latin typeface="BIZ UDPゴシック"/>
                <a:ea typeface="BIZ UDPゴシック"/>
              </a:rPr>
              <a:t>成果物</a:t>
            </a:r>
            <a:endParaRPr lang="en-US" altLang="ja-JP" sz="1600" dirty="0">
              <a:solidFill>
                <a:srgbClr val="000000"/>
              </a:solidFill>
              <a:latin typeface="BIZ UDPゴシック"/>
              <a:ea typeface="BIZ UDPゴシック"/>
            </a:endParaRPr>
          </a:p>
          <a:p>
            <a:pPr lvl="1">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R="0" lvl="2" algn="l" defTabSz="914400" rtl="0" eaLnBrk="1" fontAlgn="auto" latinLnBrk="0" hangingPunct="1">
              <a:lnSpc>
                <a:spcPct val="100000"/>
              </a:lnSpc>
              <a:spcBef>
                <a:spcPts val="0"/>
              </a:spcBef>
              <a:spcAft>
                <a:spcPts val="0"/>
              </a:spcAft>
              <a:buClrTx/>
              <a:buSzTx/>
              <a:tabLst/>
              <a:defRPr/>
            </a:pPr>
            <a:endParaRPr kumimoji="1"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p:txBody>
      </p:sp>
    </p:spTree>
    <p:extLst>
      <p:ext uri="{BB962C8B-B14F-4D97-AF65-F5344CB8AC3E}">
        <p14:creationId xmlns:p14="http://schemas.microsoft.com/office/powerpoint/2010/main" val="42276991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243FF5B-2F65-6662-CEDF-EC47912AAF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12" imgH="511" progId="TCLayout.ActiveDocument.1">
                  <p:embed/>
                </p:oleObj>
              </mc:Choice>
              <mc:Fallback>
                <p:oleObj name="think-cell スライド" r:id="rId4" imgW="512" imgH="511" progId="TCLayout.ActiveDocument.1">
                  <p:embed/>
                  <p:pic>
                    <p:nvPicPr>
                      <p:cNvPr id="5" name="think-cell data - do not delete" hidden="1">
                        <a:extLst>
                          <a:ext uri="{FF2B5EF4-FFF2-40B4-BE49-F238E27FC236}">
                            <a16:creationId xmlns:a16="http://schemas.microsoft.com/office/drawing/2014/main" id="{A243FF5B-2F65-6662-CEDF-EC47912AAF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テキスト プレースホルダー 8">
            <a:extLst>
              <a:ext uri="{FF2B5EF4-FFF2-40B4-BE49-F238E27FC236}">
                <a16:creationId xmlns:a16="http://schemas.microsoft.com/office/drawing/2014/main" id="{A480D1FA-7A9C-69C0-2BC3-1E986E802FD3}"/>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3" name="テキスト プレースホルダー 2">
            <a:extLst>
              <a:ext uri="{FF2B5EF4-FFF2-40B4-BE49-F238E27FC236}">
                <a16:creationId xmlns:a16="http://schemas.microsoft.com/office/drawing/2014/main" id="{3889FB1B-DE63-B6FC-8D02-5D400D923577}"/>
              </a:ext>
            </a:extLst>
          </p:cNvPr>
          <p:cNvSpPr>
            <a:spLocks noGrp="1"/>
          </p:cNvSpPr>
          <p:nvPr>
            <p:ph type="body" sz="quarter" idx="36"/>
          </p:nvPr>
        </p:nvSpPr>
        <p:spPr/>
        <p:txBody>
          <a:bodyPr/>
          <a:lstStyle/>
          <a:p>
            <a:r>
              <a:rPr lang="en-US" altLang="ja-JP"/>
              <a:t>Ⅵ. </a:t>
            </a:r>
            <a:r>
              <a:rPr lang="ja-JP" altLang="en-US"/>
              <a:t>マネジメント計画</a:t>
            </a:r>
          </a:p>
        </p:txBody>
      </p:sp>
      <p:sp>
        <p:nvSpPr>
          <p:cNvPr id="4" name="タイトル 3">
            <a:extLst>
              <a:ext uri="{FF2B5EF4-FFF2-40B4-BE49-F238E27FC236}">
                <a16:creationId xmlns:a16="http://schemas.microsoft.com/office/drawing/2014/main" id="{12C53150-040F-52DA-C62A-71223FB5EBC3}"/>
              </a:ext>
            </a:extLst>
          </p:cNvPr>
          <p:cNvSpPr>
            <a:spLocks noGrp="1"/>
          </p:cNvSpPr>
          <p:nvPr>
            <p:ph type="title"/>
          </p:nvPr>
        </p:nvSpPr>
        <p:spPr/>
        <p:txBody>
          <a:bodyPr vert="horz"/>
          <a:lstStyle/>
          <a:p>
            <a:r>
              <a:rPr lang="en-US" altLang="ja-JP"/>
              <a:t>1.</a:t>
            </a:r>
            <a:r>
              <a:rPr kumimoji="1" lang="ja-JP" altLang="en-US"/>
              <a:t>リスク・課題</a:t>
            </a:r>
          </a:p>
        </p:txBody>
      </p:sp>
      <p:graphicFrame>
        <p:nvGraphicFramePr>
          <p:cNvPr id="2" name="表 7">
            <a:extLst>
              <a:ext uri="{FF2B5EF4-FFF2-40B4-BE49-F238E27FC236}">
                <a16:creationId xmlns:a16="http://schemas.microsoft.com/office/drawing/2014/main" id="{160D2BC7-24B6-9403-A602-4F7ED4041F1F}"/>
              </a:ext>
            </a:extLst>
          </p:cNvPr>
          <p:cNvGraphicFramePr>
            <a:graphicFrameLocks noGrp="1"/>
          </p:cNvGraphicFramePr>
          <p:nvPr>
            <p:extLst>
              <p:ext uri="{D42A27DB-BD31-4B8C-83A1-F6EECF244321}">
                <p14:modId xmlns:p14="http://schemas.microsoft.com/office/powerpoint/2010/main" val="4208061289"/>
              </p:ext>
            </p:extLst>
          </p:nvPr>
        </p:nvGraphicFramePr>
        <p:xfrm>
          <a:off x="287978" y="2003913"/>
          <a:ext cx="11608748" cy="3810128"/>
        </p:xfrm>
        <a:graphic>
          <a:graphicData uri="http://schemas.openxmlformats.org/drawingml/2006/table">
            <a:tbl>
              <a:tblPr>
                <a:tableStyleId>{5C22544A-7EE6-4342-B048-85BDC9FD1C3A}</a:tableStyleId>
              </a:tblPr>
              <a:tblGrid>
                <a:gridCol w="1366651">
                  <a:extLst>
                    <a:ext uri="{9D8B030D-6E8A-4147-A177-3AD203B41FA5}">
                      <a16:colId xmlns:a16="http://schemas.microsoft.com/office/drawing/2014/main" val="564283603"/>
                    </a:ext>
                  </a:extLst>
                </a:gridCol>
                <a:gridCol w="3410857">
                  <a:extLst>
                    <a:ext uri="{9D8B030D-6E8A-4147-A177-3AD203B41FA5}">
                      <a16:colId xmlns:a16="http://schemas.microsoft.com/office/drawing/2014/main" val="1942113200"/>
                    </a:ext>
                  </a:extLst>
                </a:gridCol>
                <a:gridCol w="2873828">
                  <a:extLst>
                    <a:ext uri="{9D8B030D-6E8A-4147-A177-3AD203B41FA5}">
                      <a16:colId xmlns:a16="http://schemas.microsoft.com/office/drawing/2014/main" val="1555115935"/>
                    </a:ext>
                  </a:extLst>
                </a:gridCol>
                <a:gridCol w="3957412">
                  <a:extLst>
                    <a:ext uri="{9D8B030D-6E8A-4147-A177-3AD203B41FA5}">
                      <a16:colId xmlns:a16="http://schemas.microsoft.com/office/drawing/2014/main" val="3450795353"/>
                    </a:ext>
                  </a:extLst>
                </a:gridCol>
              </a:tblGrid>
              <a:tr h="0">
                <a:tc>
                  <a:txBody>
                    <a:bodyPr/>
                    <a:lstStyle/>
                    <a:p>
                      <a:r>
                        <a:rPr kumimoji="1" lang="ja-JP" altLang="en-US" sz="1400" b="1">
                          <a:latin typeface="+mn-ea"/>
                          <a:ea typeface="+mn-ea"/>
                        </a:rPr>
                        <a:t>分類</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r>
                        <a:rPr kumimoji="1" lang="ja-JP" altLang="en-US" sz="1400" b="1">
                          <a:latin typeface="+mn-ea"/>
                          <a:ea typeface="+mn-ea"/>
                        </a:rPr>
                        <a:t>リスク</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r>
                        <a:rPr kumimoji="1" lang="ja-JP" altLang="en-US" sz="1400" b="1">
                          <a:latin typeface="+mn-ea"/>
                          <a:ea typeface="+mn-ea"/>
                        </a:rPr>
                        <a:t>リスク評価</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r>
                        <a:rPr kumimoji="1" lang="ja-JP" altLang="en-US" sz="1400" b="1">
                          <a:latin typeface="+mn-ea"/>
                          <a:ea typeface="+mn-ea"/>
                        </a:rPr>
                        <a:t>対策・解決策</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419378519"/>
                  </a:ext>
                </a:extLst>
              </a:tr>
              <a:tr h="332169">
                <a:tc>
                  <a:txBody>
                    <a:bodyPr/>
                    <a:lstStyle/>
                    <a:p>
                      <a:r>
                        <a:rPr kumimoji="1" lang="ja-JP" altLang="en-US" sz="1400">
                          <a:solidFill>
                            <a:srgbClr val="0070C0"/>
                          </a:solidFill>
                          <a:latin typeface="+mn-ea"/>
                          <a:ea typeface="+mn-ea"/>
                        </a:rPr>
                        <a:t>例：技術リスク</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ja-JP" altLang="en-US" sz="1400">
                          <a:solidFill>
                            <a:srgbClr val="0070C0"/>
                          </a:solidFill>
                        </a:rPr>
                        <a:t>システムが利用者数の増加に対応できず、パフォーマンスが低下する</a:t>
                      </a:r>
                      <a:endParaRPr kumimoji="1" lang="ja-JP" altLang="en-US" sz="140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高（サービスの質を著しく損なう）</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ja-JP" altLang="en-US" sz="1400">
                          <a:solidFill>
                            <a:srgbClr val="0070C0"/>
                          </a:solidFill>
                        </a:rPr>
                        <a:t>負荷テストを通じてパフォーマンスを検証</a:t>
                      </a:r>
                      <a:endParaRPr kumimoji="1" lang="ja-JP" altLang="en-US" sz="140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94776207"/>
                  </a:ext>
                </a:extLst>
              </a:tr>
              <a:tr h="3426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solidFill>
                            <a:srgbClr val="0070C0"/>
                          </a:solidFill>
                          <a:latin typeface="+mn-ea"/>
                          <a:ea typeface="+mn-ea"/>
                        </a:rPr>
                        <a:t>　　環境リスク</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悪天候により利用者が減少し、</a:t>
                      </a:r>
                      <a:r>
                        <a:rPr kumimoji="1" lang="en-US" altLang="ja-JP" sz="1400" err="1">
                          <a:solidFill>
                            <a:srgbClr val="0070C0"/>
                          </a:solidFill>
                          <a:latin typeface="+mn-ea"/>
                          <a:ea typeface="+mn-ea"/>
                        </a:rPr>
                        <a:t>MaaS</a:t>
                      </a:r>
                      <a:r>
                        <a:rPr kumimoji="1" lang="ja-JP" altLang="en-US" sz="1400">
                          <a:solidFill>
                            <a:srgbClr val="0070C0"/>
                          </a:solidFill>
                          <a:latin typeface="+mn-ea"/>
                          <a:ea typeface="+mn-ea"/>
                        </a:rPr>
                        <a:t>の効果が低下</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中（影響は一時的）</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利用者への天候情報の提供と代替手段の案内</a:t>
                      </a:r>
                    </a:p>
                    <a:p>
                      <a:r>
                        <a:rPr kumimoji="1" lang="ja-JP" altLang="en-US" sz="1400">
                          <a:solidFill>
                            <a:srgbClr val="0070C0"/>
                          </a:solidFill>
                          <a:latin typeface="+mn-ea"/>
                          <a:ea typeface="+mn-ea"/>
                        </a:rPr>
                        <a:t>悪天候時のプロモーションやインセンティブを提供し、利用促進</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44902017"/>
                  </a:ext>
                </a:extLst>
              </a:tr>
              <a:tr h="3810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solidFill>
                            <a:srgbClr val="0070C0"/>
                          </a:solidFill>
                          <a:latin typeface="+mn-ea"/>
                          <a:ea typeface="+mn-ea"/>
                        </a:rPr>
                        <a:t>　　運用リスク</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システム障害やサーバーダウンによるサービス停止</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中（影響は大きが、頻度は低い）</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定期的なシステムメンテナンスと監視</a:t>
                      </a:r>
                    </a:p>
                    <a:p>
                      <a:r>
                        <a:rPr kumimoji="1" lang="ja-JP" altLang="en-US" sz="1400">
                          <a:solidFill>
                            <a:srgbClr val="0070C0"/>
                          </a:solidFill>
                          <a:latin typeface="+mn-ea"/>
                          <a:ea typeface="+mn-ea"/>
                        </a:rPr>
                        <a:t>冗長化したサーバー構成</a:t>
                      </a:r>
                    </a:p>
                    <a:p>
                      <a:r>
                        <a:rPr kumimoji="1" lang="ja-JP" altLang="en-US" sz="1400">
                          <a:solidFill>
                            <a:srgbClr val="0070C0"/>
                          </a:solidFill>
                          <a:latin typeface="+mn-ea"/>
                          <a:ea typeface="+mn-ea"/>
                        </a:rPr>
                        <a:t>障害時の迅速な復旧手順の整備</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16460124"/>
                  </a:ext>
                </a:extLst>
              </a:tr>
              <a:tr h="3810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37532424"/>
                  </a:ext>
                </a:extLst>
              </a:tr>
              <a:tr h="3810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94222439"/>
                  </a:ext>
                </a:extLst>
              </a:tr>
              <a:tr h="3810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87642477"/>
                  </a:ext>
                </a:extLst>
              </a:tr>
              <a:tr h="3810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30134616"/>
                  </a:ext>
                </a:extLst>
              </a:tr>
            </a:tbl>
          </a:graphicData>
        </a:graphic>
      </p:graphicFrame>
      <p:sp>
        <p:nvSpPr>
          <p:cNvPr id="6" name="テキスト ボックス 5">
            <a:extLst>
              <a:ext uri="{FF2B5EF4-FFF2-40B4-BE49-F238E27FC236}">
                <a16:creationId xmlns:a16="http://schemas.microsoft.com/office/drawing/2014/main" id="{3436CB90-C2D8-4C71-8598-E7CDF6DA3EE9}"/>
              </a:ext>
            </a:extLst>
          </p:cNvPr>
          <p:cNvSpPr txBox="1"/>
          <p:nvPr/>
        </p:nvSpPr>
        <p:spPr>
          <a:xfrm>
            <a:off x="3083206" y="2820813"/>
            <a:ext cx="6135987" cy="2385668"/>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プロジェクトにおける潜在的なリスクと現在の課題を特定し、それに対する対策を明確に記載してください。​</a:t>
            </a:r>
          </a:p>
        </p:txBody>
      </p:sp>
    </p:spTree>
    <p:extLst>
      <p:ext uri="{BB962C8B-B14F-4D97-AF65-F5344CB8AC3E}">
        <p14:creationId xmlns:p14="http://schemas.microsoft.com/office/powerpoint/2010/main" val="9363715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4AA7A839-18DF-4E64-8C75-214FAE9014E7}"/>
              </a:ext>
            </a:extLst>
          </p:cNvPr>
          <p:cNvSpPr>
            <a:spLocks noGrp="1"/>
          </p:cNvSpPr>
          <p:nvPr>
            <p:ph type="body" sz="quarter" idx="36"/>
          </p:nvPr>
        </p:nvSpPr>
        <p:spPr/>
        <p:txBody>
          <a:bodyPr/>
          <a:lstStyle/>
          <a:p>
            <a:r>
              <a:rPr lang="en-US" altLang="ja-JP"/>
              <a:t>I. </a:t>
            </a:r>
            <a:r>
              <a:rPr lang="ja-JP" altLang="en-US"/>
              <a:t>プロジェクトのビジョン</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２</a:t>
            </a:r>
            <a:r>
              <a:rPr lang="en-US" altLang="ja-JP"/>
              <a:t>.</a:t>
            </a:r>
            <a:r>
              <a:rPr lang="ja-JP" altLang="en-US"/>
              <a:t>創出価値</a:t>
            </a:r>
          </a:p>
        </p:txBody>
      </p:sp>
      <p:grpSp>
        <p:nvGrpSpPr>
          <p:cNvPr id="3" name="グループ化 2">
            <a:extLst>
              <a:ext uri="{FF2B5EF4-FFF2-40B4-BE49-F238E27FC236}">
                <a16:creationId xmlns:a16="http://schemas.microsoft.com/office/drawing/2014/main" id="{1BE8033C-A7B3-5961-A594-9CD86954FA2B}"/>
              </a:ext>
            </a:extLst>
          </p:cNvPr>
          <p:cNvGrpSpPr/>
          <p:nvPr/>
        </p:nvGrpSpPr>
        <p:grpSpPr>
          <a:xfrm>
            <a:off x="302400" y="1611491"/>
            <a:ext cx="11587200" cy="309600"/>
            <a:chOff x="302400" y="1990800"/>
            <a:chExt cx="11587200" cy="309600"/>
          </a:xfrm>
        </p:grpSpPr>
        <p:grpSp>
          <p:nvGrpSpPr>
            <p:cNvPr id="4" name="PanelGroup1">
              <a:extLst>
                <a:ext uri="{FF2B5EF4-FFF2-40B4-BE49-F238E27FC236}">
                  <a16:creationId xmlns:a16="http://schemas.microsoft.com/office/drawing/2014/main" id="{7812F0ED-4843-A988-DB74-685513EF3A17}"/>
                </a:ext>
              </a:extLst>
            </p:cNvPr>
            <p:cNvGrpSpPr/>
            <p:nvPr/>
          </p:nvGrpSpPr>
          <p:grpSpPr>
            <a:xfrm>
              <a:off x="302400" y="1990800"/>
              <a:ext cx="5761200" cy="309600"/>
              <a:chOff x="302400" y="1990800"/>
              <a:chExt cx="5761200" cy="309600"/>
            </a:xfrm>
          </p:grpSpPr>
          <p:sp>
            <p:nvSpPr>
              <p:cNvPr id="12" name="正方形/長方形 11">
                <a:extLst>
                  <a:ext uri="{FF2B5EF4-FFF2-40B4-BE49-F238E27FC236}">
                    <a16:creationId xmlns:a16="http://schemas.microsoft.com/office/drawing/2014/main" id="{F11E7E97-245A-D7F7-36C0-68CB910C05C1}"/>
                  </a:ext>
                </a:extLst>
              </p:cNvPr>
              <p:cNvSpPr/>
              <p:nvPr/>
            </p:nvSpPr>
            <p:spPr>
              <a:xfrm>
                <a:off x="302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実現したい価値・目指す世界</a:t>
                </a:r>
              </a:p>
            </p:txBody>
          </p:sp>
          <p:cxnSp>
            <p:nvCxnSpPr>
              <p:cNvPr id="13" name="直線矢印コネクタ 12">
                <a:extLst>
                  <a:ext uri="{FF2B5EF4-FFF2-40B4-BE49-F238E27FC236}">
                    <a16:creationId xmlns:a16="http://schemas.microsoft.com/office/drawing/2014/main" id="{F9D827AE-7DB6-8B95-3FEA-062DF43E1AE4}"/>
                  </a:ext>
                </a:extLst>
              </p:cNvPr>
              <p:cNvCxnSpPr/>
              <p:nvPr/>
            </p:nvCxnSpPr>
            <p:spPr>
              <a:xfrm>
                <a:off x="302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8" name="PanelGroup2">
              <a:extLst>
                <a:ext uri="{FF2B5EF4-FFF2-40B4-BE49-F238E27FC236}">
                  <a16:creationId xmlns:a16="http://schemas.microsoft.com/office/drawing/2014/main" id="{C9F4060C-6E60-74B0-BA37-DFFB7605BE81}"/>
                </a:ext>
              </a:extLst>
            </p:cNvPr>
            <p:cNvGrpSpPr/>
            <p:nvPr/>
          </p:nvGrpSpPr>
          <p:grpSpPr>
            <a:xfrm>
              <a:off x="6128400" y="1990800"/>
              <a:ext cx="5761200" cy="309600"/>
              <a:chOff x="6128400" y="1990800"/>
              <a:chExt cx="5761200" cy="309600"/>
            </a:xfrm>
          </p:grpSpPr>
          <p:sp>
            <p:nvSpPr>
              <p:cNvPr id="10" name="正方形/長方形 9">
                <a:extLst>
                  <a:ext uri="{FF2B5EF4-FFF2-40B4-BE49-F238E27FC236}">
                    <a16:creationId xmlns:a16="http://schemas.microsoft.com/office/drawing/2014/main" id="{C62006B4-6E2D-0E4F-98BD-E04EC6E6BBB0}"/>
                  </a:ext>
                </a:extLst>
              </p:cNvPr>
              <p:cNvSpPr/>
              <p:nvPr/>
            </p:nvSpPr>
            <p:spPr>
              <a:xfrm>
                <a:off x="6128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イメージ</a:t>
                </a:r>
              </a:p>
            </p:txBody>
          </p:sp>
          <p:cxnSp>
            <p:nvCxnSpPr>
              <p:cNvPr id="11" name="直線矢印コネクタ 10">
                <a:extLst>
                  <a:ext uri="{FF2B5EF4-FFF2-40B4-BE49-F238E27FC236}">
                    <a16:creationId xmlns:a16="http://schemas.microsoft.com/office/drawing/2014/main" id="{64B5E149-669F-4D0F-12C5-3052CD24513C}"/>
                  </a:ext>
                </a:extLst>
              </p:cNvPr>
              <p:cNvCxnSpPr/>
              <p:nvPr/>
            </p:nvCxnSpPr>
            <p:spPr>
              <a:xfrm>
                <a:off x="6128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sp>
        <p:nvSpPr>
          <p:cNvPr id="14" name="正方形/長方形 13">
            <a:extLst>
              <a:ext uri="{FF2B5EF4-FFF2-40B4-BE49-F238E27FC236}">
                <a16:creationId xmlns:a16="http://schemas.microsoft.com/office/drawing/2014/main" id="{B9F3B646-3966-B82B-45E7-9F03CD875178}"/>
              </a:ext>
            </a:extLst>
          </p:cNvPr>
          <p:cNvSpPr/>
          <p:nvPr/>
        </p:nvSpPr>
        <p:spPr>
          <a:xfrm>
            <a:off x="300778" y="1921091"/>
            <a:ext cx="5761199" cy="4348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1200" b="0" i="0" u="none" strike="noStrike" kern="1200" cap="none" spc="0" normalizeH="0" baseline="0" noProof="0" err="1">
                <a:ln>
                  <a:noFill/>
                </a:ln>
                <a:solidFill>
                  <a:srgbClr val="0070C0"/>
                </a:solidFill>
                <a:effectLst/>
                <a:uLnTx/>
                <a:uFillTx/>
                <a:latin typeface="BIZ UDPゴシック"/>
                <a:ea typeface="BIZ UDPゴシック"/>
                <a:cs typeface="+mn-cs"/>
              </a:rPr>
              <a:t>MaaS</a:t>
            </a:r>
            <a:r>
              <a:rPr kumimoji="1" lang="ja-JP" altLang="en-US" sz="1200" b="0" i="0" u="none" strike="noStrike" kern="1200" cap="none" spc="0" normalizeH="0" baseline="0" noProof="0">
                <a:ln>
                  <a:noFill/>
                </a:ln>
                <a:solidFill>
                  <a:srgbClr val="0070C0"/>
                </a:solidFill>
                <a:effectLst/>
                <a:uLnTx/>
                <a:uFillTx/>
                <a:latin typeface="BIZ UDPゴシック"/>
                <a:ea typeface="BIZ UDPゴシック"/>
                <a:cs typeface="+mn-cs"/>
              </a:rPr>
              <a:t>の導入により、シームレスな公共交通利用を実現することで、市民の行動変化を促し、「持続可能」な公共交通を実現することで、自動車利用から公共交通利用への転換を実現する。</a:t>
            </a:r>
            <a:endParaRPr kumimoji="1" lang="en-US" altLang="ja-JP" sz="1200" b="0" i="0" u="none" strike="noStrike" kern="1200" cap="none" spc="0" normalizeH="0" baseline="0" noProof="0">
              <a:ln>
                <a:noFill/>
              </a:ln>
              <a:solidFill>
                <a:srgbClr val="0070C0"/>
              </a:solidFill>
              <a:effectLst/>
              <a:uLnTx/>
              <a:uFillTx/>
              <a:latin typeface="BIZ UDPゴシック"/>
              <a:ea typeface="BIZ UDPゴシック"/>
              <a:cs typeface="+mn-cs"/>
            </a:endParaRPr>
          </a:p>
          <a:p>
            <a:pPr marR="0" lvl="0" algn="l" defTabSz="914400" rtl="0" eaLnBrk="1" fontAlgn="auto" latinLnBrk="0" hangingPunct="1">
              <a:lnSpc>
                <a:spcPct val="100000"/>
              </a:lnSpc>
              <a:spcBef>
                <a:spcPts val="0"/>
              </a:spcBef>
              <a:spcAft>
                <a:spcPts val="0"/>
              </a:spcAft>
              <a:buClrTx/>
              <a:buSzTx/>
              <a:tabLst/>
              <a:defRPr/>
            </a:pPr>
            <a:endParaRPr kumimoji="1" lang="en-US" altLang="ja-JP" sz="1200" b="0" i="0" u="none" strike="noStrike" kern="1200" cap="none" spc="0" normalizeH="0" baseline="0" noProof="0">
              <a:ln>
                <a:noFill/>
              </a:ln>
              <a:solidFill>
                <a:srgbClr val="0070C0"/>
              </a:solidFill>
              <a:effectLst/>
              <a:uLnTx/>
              <a:uFillTx/>
              <a:latin typeface="BIZ UDPゴシック"/>
              <a:ea typeface="BIZ UDPゴシック"/>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200" b="0" i="0" u="none" strike="noStrike" kern="1200" cap="none" spc="0" normalizeH="0" baseline="0" noProof="0">
                <a:ln>
                  <a:noFill/>
                </a:ln>
                <a:solidFill>
                  <a:srgbClr val="0070C0"/>
                </a:solidFill>
                <a:effectLst/>
                <a:uLnTx/>
                <a:uFillTx/>
                <a:latin typeface="BIZ UDPゴシック"/>
                <a:ea typeface="BIZ UDPゴシック"/>
                <a:cs typeface="+mn-cs"/>
              </a:rPr>
              <a:t>交通事業者との連携したお得で使いやすいデジタルチケットを企画、提供することで、利用者の利便性や利用頻度を向上させ、交通ネットワークの持続可能性向上を目指す。</a:t>
            </a:r>
            <a:endParaRPr kumimoji="1" lang="en-US" altLang="ja-JP" sz="1200" b="0" i="0" u="none" strike="noStrike" kern="1200" cap="none" spc="0" normalizeH="0" baseline="0" noProof="0">
              <a:ln>
                <a:noFill/>
              </a:ln>
              <a:solidFill>
                <a:srgbClr val="0070C0"/>
              </a:solidFill>
              <a:effectLst/>
              <a:uLnTx/>
              <a:uFillTx/>
              <a:latin typeface="BIZ UDPゴシック"/>
              <a:ea typeface="BIZ UDPゴシック"/>
              <a:cs typeface="+mn-cs"/>
            </a:endParaRPr>
          </a:p>
          <a:p>
            <a:pPr marR="0" lvl="0" algn="l" defTabSz="914400" rtl="0" eaLnBrk="1" fontAlgn="auto" latinLnBrk="0" hangingPunct="1">
              <a:lnSpc>
                <a:spcPct val="100000"/>
              </a:lnSpc>
              <a:spcBef>
                <a:spcPts val="0"/>
              </a:spcBef>
              <a:spcAft>
                <a:spcPts val="0"/>
              </a:spcAft>
              <a:buClrTx/>
              <a:buSzTx/>
              <a:tabLst/>
              <a:defRPr/>
            </a:pPr>
            <a:endParaRPr kumimoji="1" lang="en-US" altLang="ja-JP" sz="1200" b="0" i="0" u="none" strike="noStrike" kern="1200" cap="none" spc="0" normalizeH="0" baseline="0" noProof="0">
              <a:ln>
                <a:noFill/>
              </a:ln>
              <a:solidFill>
                <a:srgbClr val="0070C0"/>
              </a:solidFill>
              <a:effectLst/>
              <a:uLnTx/>
              <a:uFillTx/>
              <a:latin typeface="BIZ UDPゴシック"/>
              <a:ea typeface="BIZ UDPゴシック"/>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1200" b="0" i="0" u="none" strike="noStrike" kern="1200" cap="none" spc="0" normalizeH="0" baseline="0" noProof="0" err="1">
                <a:ln>
                  <a:noFill/>
                </a:ln>
                <a:solidFill>
                  <a:srgbClr val="0070C0"/>
                </a:solidFill>
                <a:effectLst/>
                <a:uLnTx/>
                <a:uFillTx/>
                <a:latin typeface="BIZ UDPゴシック"/>
                <a:ea typeface="BIZ UDPゴシック"/>
                <a:cs typeface="+mn-cs"/>
              </a:rPr>
              <a:t>MaaS</a:t>
            </a:r>
            <a:r>
              <a:rPr kumimoji="1" lang="ja-JP" altLang="en-US" sz="1200" b="0" i="0" u="none" strike="noStrike" kern="1200" cap="none" spc="0" normalizeH="0" baseline="0" noProof="0">
                <a:ln>
                  <a:noFill/>
                </a:ln>
                <a:solidFill>
                  <a:srgbClr val="0070C0"/>
                </a:solidFill>
                <a:effectLst/>
                <a:uLnTx/>
                <a:uFillTx/>
                <a:latin typeface="BIZ UDPゴシック"/>
                <a:ea typeface="BIZ UDPゴシック"/>
                <a:cs typeface="+mn-cs"/>
              </a:rPr>
              <a:t>アプリから収集したデータを分析できる環境を構築することで、利用実績に基づいた効果的な交通再編、地域公共交通計画の改定に活用する。</a:t>
            </a:r>
            <a:endParaRPr kumimoji="1" lang="en-US" altLang="ja-JP" sz="1200" b="0" i="0" u="none" strike="noStrike" kern="1200" cap="none" spc="0" normalizeH="0" baseline="0" noProof="0">
              <a:ln>
                <a:noFill/>
              </a:ln>
              <a:solidFill>
                <a:srgbClr val="0070C0"/>
              </a:solidFill>
              <a:effectLst/>
              <a:uLnTx/>
              <a:uFillTx/>
              <a:latin typeface="BIZ UDPゴシック"/>
              <a:ea typeface="BIZ UDPゴシック"/>
              <a:cs typeface="+mn-cs"/>
            </a:endParaRPr>
          </a:p>
          <a:p>
            <a:pPr marR="0" lvl="0" algn="l" defTabSz="914400" rtl="0" eaLnBrk="1" fontAlgn="auto" latinLnBrk="0" hangingPunct="1">
              <a:lnSpc>
                <a:spcPct val="100000"/>
              </a:lnSpc>
              <a:spcBef>
                <a:spcPts val="0"/>
              </a:spcBef>
              <a:spcAft>
                <a:spcPts val="0"/>
              </a:spcAft>
              <a:buClrTx/>
              <a:buSzTx/>
              <a:tabLst/>
              <a:defRPr/>
            </a:pPr>
            <a:endParaRPr lang="en-US" altLang="ja-JP" sz="1200">
              <a:solidFill>
                <a:srgbClr val="0070C0"/>
              </a:solidFill>
              <a:latin typeface="BIZ UDPゴシック"/>
              <a:ea typeface="BIZ UDPゴシック"/>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200" b="0" i="0" u="none" strike="noStrike" kern="1200" cap="none" spc="0" normalizeH="0" baseline="0" noProof="0">
                <a:ln>
                  <a:noFill/>
                </a:ln>
                <a:solidFill>
                  <a:srgbClr val="0070C0"/>
                </a:solidFill>
                <a:effectLst/>
                <a:uLnTx/>
                <a:uFillTx/>
                <a:latin typeface="BIZ UDPゴシック"/>
                <a:ea typeface="BIZ UDPゴシック"/>
                <a:cs typeface="+mn-cs"/>
              </a:rPr>
              <a:t>市民の移動実態を</a:t>
            </a:r>
            <a:r>
              <a:rPr kumimoji="1" lang="en-US" altLang="ja-JP" sz="1200" b="0" i="0" u="none" strike="noStrike" kern="1200" cap="none" spc="0" normalizeH="0" baseline="0" noProof="0">
                <a:ln>
                  <a:noFill/>
                </a:ln>
                <a:solidFill>
                  <a:srgbClr val="0070C0"/>
                </a:solidFill>
                <a:effectLst/>
                <a:uLnTx/>
                <a:uFillTx/>
                <a:latin typeface="BIZ UDPゴシック"/>
                <a:ea typeface="BIZ UDPゴシック"/>
                <a:cs typeface="+mn-cs"/>
              </a:rPr>
              <a:t>OD</a:t>
            </a:r>
            <a:r>
              <a:rPr kumimoji="1" lang="ja-JP" altLang="en-US" sz="1200" b="0" i="0" u="none" strike="noStrike" kern="1200" cap="none" spc="0" normalizeH="0" baseline="0" noProof="0">
                <a:ln>
                  <a:noFill/>
                </a:ln>
                <a:solidFill>
                  <a:srgbClr val="0070C0"/>
                </a:solidFill>
                <a:effectLst/>
                <a:uLnTx/>
                <a:uFillTx/>
                <a:latin typeface="BIZ UDPゴシック"/>
                <a:ea typeface="BIZ UDPゴシック"/>
                <a:cs typeface="+mn-cs"/>
              </a:rPr>
              <a:t>データを取得することで可視化し、地域の実情にあった新たなモビリティへのモード転換の検討できる環境を構築する。</a:t>
            </a:r>
            <a:endParaRPr kumimoji="1" lang="en-US" altLang="ja-JP" sz="1200" b="0" i="0" u="none" strike="noStrike" kern="1200" cap="none" spc="0" normalizeH="0" baseline="0" noProof="0">
              <a:ln>
                <a:noFill/>
              </a:ln>
              <a:solidFill>
                <a:srgbClr val="0070C0"/>
              </a:solidFill>
              <a:effectLst/>
              <a:uLnTx/>
              <a:uFillTx/>
              <a:latin typeface="BIZ UDPゴシック"/>
              <a:ea typeface="BIZ UDPゴシック"/>
              <a:cs typeface="+mn-cs"/>
            </a:endParaRPr>
          </a:p>
        </p:txBody>
      </p:sp>
      <p:sp>
        <p:nvSpPr>
          <p:cNvPr id="16" name="テキスト プレースホルダー 15">
            <a:extLst>
              <a:ext uri="{FF2B5EF4-FFF2-40B4-BE49-F238E27FC236}">
                <a16:creationId xmlns:a16="http://schemas.microsoft.com/office/drawing/2014/main" id="{E4DD4B8D-47E0-8296-7CF0-B8554AD1C112}"/>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7" name="テキスト ボックス 6">
            <a:extLst>
              <a:ext uri="{FF2B5EF4-FFF2-40B4-BE49-F238E27FC236}">
                <a16:creationId xmlns:a16="http://schemas.microsoft.com/office/drawing/2014/main" id="{92059B74-994D-07CA-F86B-836ED37BAD3F}"/>
              </a:ext>
            </a:extLst>
          </p:cNvPr>
          <p:cNvSpPr txBox="1"/>
          <p:nvPr/>
        </p:nvSpPr>
        <p:spPr>
          <a:xfrm>
            <a:off x="7253399" y="2901458"/>
            <a:ext cx="3511202" cy="2821867"/>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イメージビジュアルなどを掲載してください。</a:t>
            </a:r>
          </a:p>
        </p:txBody>
      </p:sp>
      <p:sp>
        <p:nvSpPr>
          <p:cNvPr id="17" name="テキスト ボックス 16">
            <a:extLst>
              <a:ext uri="{FF2B5EF4-FFF2-40B4-BE49-F238E27FC236}">
                <a16:creationId xmlns:a16="http://schemas.microsoft.com/office/drawing/2014/main" id="{06A9795E-0AF7-9AE1-FEDA-F367EEF9D749}"/>
              </a:ext>
            </a:extLst>
          </p:cNvPr>
          <p:cNvSpPr txBox="1"/>
          <p:nvPr/>
        </p:nvSpPr>
        <p:spPr>
          <a:xfrm>
            <a:off x="1390885" y="2933046"/>
            <a:ext cx="3511202" cy="2821867"/>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本プロジェクトにより業界・事業領域全体にもたらす価値と目指す世界について記載してください。​</a:t>
            </a: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課題解決が実現した先にどのような社会を目指すのか、といった観点で記載してください。​</a:t>
            </a:r>
          </a:p>
        </p:txBody>
      </p:sp>
    </p:spTree>
    <p:extLst>
      <p:ext uri="{BB962C8B-B14F-4D97-AF65-F5344CB8AC3E}">
        <p14:creationId xmlns:p14="http://schemas.microsoft.com/office/powerpoint/2010/main" val="262935507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 7">
            <a:extLst>
              <a:ext uri="{FF2B5EF4-FFF2-40B4-BE49-F238E27FC236}">
                <a16:creationId xmlns:a16="http://schemas.microsoft.com/office/drawing/2014/main" id="{D49F8818-13D5-031F-17C9-B075602B9F36}"/>
              </a:ext>
            </a:extLst>
          </p:cNvPr>
          <p:cNvGraphicFramePr>
            <a:graphicFrameLocks noGrp="1"/>
          </p:cNvGraphicFramePr>
          <p:nvPr>
            <p:extLst>
              <p:ext uri="{D42A27DB-BD31-4B8C-83A1-F6EECF244321}">
                <p14:modId xmlns:p14="http://schemas.microsoft.com/office/powerpoint/2010/main" val="2915783758"/>
              </p:ext>
            </p:extLst>
          </p:nvPr>
        </p:nvGraphicFramePr>
        <p:xfrm>
          <a:off x="292100" y="2133600"/>
          <a:ext cx="11595101" cy="2699520"/>
        </p:xfrm>
        <a:graphic>
          <a:graphicData uri="http://schemas.openxmlformats.org/drawingml/2006/table">
            <a:tbl>
              <a:tblPr>
                <a:tableStyleId>{5C22544A-7EE6-4342-B048-85BDC9FD1C3A}</a:tableStyleId>
              </a:tblPr>
              <a:tblGrid>
                <a:gridCol w="5798346">
                  <a:extLst>
                    <a:ext uri="{9D8B030D-6E8A-4147-A177-3AD203B41FA5}">
                      <a16:colId xmlns:a16="http://schemas.microsoft.com/office/drawing/2014/main" val="1942113200"/>
                    </a:ext>
                  </a:extLst>
                </a:gridCol>
                <a:gridCol w="5796755">
                  <a:extLst>
                    <a:ext uri="{9D8B030D-6E8A-4147-A177-3AD203B41FA5}">
                      <a16:colId xmlns:a16="http://schemas.microsoft.com/office/drawing/2014/main" val="1115002749"/>
                    </a:ext>
                  </a:extLst>
                </a:gridCol>
              </a:tblGrid>
              <a:tr h="336666">
                <a:tc>
                  <a:txBody>
                    <a:bodyPr/>
                    <a:lstStyle/>
                    <a:p>
                      <a:r>
                        <a:rPr kumimoji="1" lang="ja-JP" altLang="en-US" sz="1600" b="1">
                          <a:latin typeface="+mn-ea"/>
                          <a:ea typeface="+mn-ea"/>
                        </a:rPr>
                        <a:t>項目</a:t>
                      </a:r>
                    </a:p>
                  </a:txBody>
                  <a:tcPr marL="90000" marR="90000" marT="46800" marB="46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600" b="1">
                          <a:latin typeface="+mn-ea"/>
                          <a:ea typeface="+mn-ea"/>
                        </a:rPr>
                        <a:t>金額</a:t>
                      </a:r>
                    </a:p>
                  </a:txBody>
                  <a:tcPr marL="90000" marR="90000" marT="46800" marB="46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9378519"/>
                  </a:ext>
                </a:extLst>
              </a:tr>
              <a:tr h="334771">
                <a:tc>
                  <a:txBody>
                    <a:bodyPr/>
                    <a:lstStyle/>
                    <a:p>
                      <a:pPr algn="l" fontAlgn="ctr"/>
                      <a:r>
                        <a:rPr lang="ja-JP" altLang="en-US" sz="1600" b="0" i="0" u="none" strike="noStrike">
                          <a:solidFill>
                            <a:srgbClr val="0070C0"/>
                          </a:solidFill>
                          <a:effectLst/>
                          <a:latin typeface="+mn-ea"/>
                          <a:ea typeface="+mn-ea"/>
                        </a:rPr>
                        <a:t>プロジェクト・ビジョンの定義</a:t>
                      </a: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r" defTabSz="742950" rtl="0" eaLnBrk="1" fontAlgn="ctr"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srgbClr val="0070C0"/>
                          </a:solidFill>
                          <a:effectLst/>
                          <a:uLnTx/>
                          <a:uFillTx/>
                          <a:latin typeface="BIZ UDPゴシック"/>
                          <a:ea typeface="BIZ UDPゴシック"/>
                          <a:cs typeface="+mn-cs"/>
                        </a:rPr>
                        <a:t>00000</a:t>
                      </a: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94776207"/>
                  </a:ext>
                </a:extLst>
              </a:tr>
              <a:tr h="334771">
                <a:tc>
                  <a:txBody>
                    <a:bodyPr/>
                    <a:lstStyle/>
                    <a:p>
                      <a:pPr algn="l" fontAlgn="ctr"/>
                      <a:r>
                        <a:rPr lang="ja-JP" altLang="en-US" sz="1600" b="0" i="0" u="none" strike="noStrike">
                          <a:solidFill>
                            <a:srgbClr val="0070C0"/>
                          </a:solidFill>
                          <a:effectLst/>
                          <a:latin typeface="+mn-ea"/>
                          <a:ea typeface="+mn-ea"/>
                        </a:rPr>
                        <a:t>プロジェクト・スコープの定義</a:t>
                      </a: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r" defTabSz="742950" rtl="0" eaLnBrk="1" fontAlgn="ctr"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srgbClr val="0070C0"/>
                          </a:solidFill>
                          <a:effectLst/>
                          <a:uLnTx/>
                          <a:uFillTx/>
                          <a:latin typeface="BIZ UDPゴシック"/>
                          <a:ea typeface="BIZ UDPゴシック"/>
                          <a:cs typeface="+mn-cs"/>
                        </a:rPr>
                        <a:t>00000</a:t>
                      </a: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44902017"/>
                  </a:ext>
                </a:extLst>
              </a:tr>
              <a:tr h="324254">
                <a:tc>
                  <a:txBody>
                    <a:bodyPr/>
                    <a:lstStyle/>
                    <a:p>
                      <a:pPr algn="l" fontAlgn="ctr"/>
                      <a:r>
                        <a:rPr lang="ja-JP" altLang="en-US" sz="1600" b="0" i="0" u="none" strike="noStrike">
                          <a:solidFill>
                            <a:srgbClr val="0070C0"/>
                          </a:solidFill>
                          <a:effectLst/>
                          <a:latin typeface="+mn-ea"/>
                          <a:ea typeface="+mn-ea"/>
                        </a:rPr>
                        <a:t>ドキュメンテーション等</a:t>
                      </a: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r" defTabSz="742950" rtl="0" eaLnBrk="1" fontAlgn="ctr"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srgbClr val="0070C0"/>
                          </a:solidFill>
                          <a:effectLst/>
                          <a:uLnTx/>
                          <a:uFillTx/>
                          <a:latin typeface="BIZ UDPゴシック"/>
                          <a:ea typeface="BIZ UDPゴシック"/>
                          <a:cs typeface="+mn-cs"/>
                        </a:rPr>
                        <a:t>00000</a:t>
                      </a: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16460124"/>
                  </a:ext>
                </a:extLst>
              </a:tr>
              <a:tr h="334771">
                <a:tc>
                  <a:txBody>
                    <a:bodyPr/>
                    <a:lstStyle/>
                    <a:p>
                      <a:pPr algn="l" fontAlgn="ctr"/>
                      <a:r>
                        <a:rPr lang="ja-JP" altLang="en-US" sz="1600" b="0" i="0" u="none" strike="noStrike">
                          <a:solidFill>
                            <a:srgbClr val="0070C0"/>
                          </a:solidFill>
                          <a:effectLst/>
                          <a:latin typeface="+mn-ea"/>
                          <a:ea typeface="+mn-ea"/>
                        </a:rPr>
                        <a:t>システム開発</a:t>
                      </a:r>
                      <a:r>
                        <a:rPr lang="en-US" altLang="ja-JP" sz="1600" b="0" i="0" u="none" strike="noStrike">
                          <a:solidFill>
                            <a:srgbClr val="0070C0"/>
                          </a:solidFill>
                          <a:effectLst/>
                          <a:latin typeface="+mn-ea"/>
                          <a:ea typeface="+mn-ea"/>
                        </a:rPr>
                        <a:t>XX</a:t>
                      </a:r>
                      <a:endParaRPr lang="ja-JP" altLang="en-US" sz="1600" b="0" i="0" u="none" strike="noStrike">
                        <a:solidFill>
                          <a:srgbClr val="0070C0"/>
                        </a:solidFill>
                        <a:effectLst/>
                        <a:latin typeface="+mn-ea"/>
                        <a:ea typeface="+mn-ea"/>
                      </a:endParaRP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r" defTabSz="742950" rtl="0" eaLnBrk="1" fontAlgn="ctr"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srgbClr val="0070C0"/>
                          </a:solidFill>
                          <a:effectLst/>
                          <a:uLnTx/>
                          <a:uFillTx/>
                          <a:latin typeface="BIZ UDPゴシック"/>
                          <a:ea typeface="BIZ UDPゴシック"/>
                          <a:cs typeface="+mn-cs"/>
                        </a:rPr>
                        <a:t>00000</a:t>
                      </a: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04760456"/>
                  </a:ext>
                </a:extLst>
              </a:tr>
              <a:tr h="334771">
                <a:tc>
                  <a:txBody>
                    <a:bodyPr/>
                    <a:lstStyle/>
                    <a:p>
                      <a:pPr algn="l" fontAlgn="ctr"/>
                      <a:r>
                        <a:rPr lang="ja-JP" altLang="en-US" sz="1600" b="0" i="0" u="none" strike="noStrike">
                          <a:solidFill>
                            <a:srgbClr val="0070C0"/>
                          </a:solidFill>
                          <a:effectLst/>
                          <a:latin typeface="+mn-ea"/>
                          <a:ea typeface="+mn-ea"/>
                        </a:rPr>
                        <a:t>端末購入</a:t>
                      </a:r>
                      <a:r>
                        <a:rPr lang="en-US" altLang="ja-JP" sz="1600" b="0" i="0" u="none" strike="noStrike">
                          <a:solidFill>
                            <a:srgbClr val="0070C0"/>
                          </a:solidFill>
                          <a:effectLst/>
                          <a:latin typeface="+mn-ea"/>
                          <a:ea typeface="+mn-ea"/>
                        </a:rPr>
                        <a:t>XXX</a:t>
                      </a:r>
                      <a:endParaRPr lang="ja-JP" altLang="en-US" sz="1600" b="0" i="0" u="none" strike="noStrike">
                        <a:solidFill>
                          <a:srgbClr val="0070C0"/>
                        </a:solidFill>
                        <a:effectLst/>
                        <a:latin typeface="+mn-ea"/>
                        <a:ea typeface="+mn-ea"/>
                      </a:endParaRP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r" defTabSz="742950" rtl="0" eaLnBrk="1" fontAlgn="ctr"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srgbClr val="0070C0"/>
                          </a:solidFill>
                          <a:effectLst/>
                          <a:uLnTx/>
                          <a:uFillTx/>
                          <a:latin typeface="BIZ UDPゴシック"/>
                          <a:ea typeface="BIZ UDPゴシック"/>
                          <a:cs typeface="+mn-cs"/>
                        </a:rPr>
                        <a:t>00000</a:t>
                      </a: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35476472"/>
                  </a:ext>
                </a:extLst>
              </a:tr>
              <a:tr h="334771">
                <a:tc>
                  <a:txBody>
                    <a:bodyPr/>
                    <a:lstStyle/>
                    <a:p>
                      <a:pPr algn="l" fontAlgn="ctr"/>
                      <a:r>
                        <a:rPr lang="ja-JP" altLang="en-US" sz="1600" b="0" i="0" u="none" strike="noStrike">
                          <a:solidFill>
                            <a:srgbClr val="0070C0"/>
                          </a:solidFill>
                          <a:effectLst/>
                          <a:latin typeface="+mn-ea"/>
                          <a:ea typeface="+mn-ea"/>
                        </a:rPr>
                        <a:t>業務報告書の作成等</a:t>
                      </a: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US" altLang="ja-JP" sz="1600" b="0" i="0" u="none" strike="noStrike">
                          <a:solidFill>
                            <a:srgbClr val="0070C0"/>
                          </a:solidFill>
                          <a:effectLst/>
                          <a:latin typeface="+mn-ea"/>
                          <a:ea typeface="+mn-ea"/>
                        </a:rPr>
                        <a:t>00000</a:t>
                      </a: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99721819"/>
                  </a:ext>
                </a:extLst>
              </a:tr>
              <a:tr h="334771">
                <a:tc>
                  <a:txBody>
                    <a:bodyPr/>
                    <a:lstStyle/>
                    <a:p>
                      <a:r>
                        <a:rPr kumimoji="1" lang="ja-JP" altLang="en-US" sz="1600" b="1">
                          <a:latin typeface="+mn-ea"/>
                          <a:ea typeface="+mn-ea"/>
                        </a:rPr>
                        <a:t>合計</a:t>
                      </a:r>
                    </a:p>
                  </a:txBody>
                  <a:tcPr marL="90000" marR="90000" marT="46800" marB="46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r"/>
                      <a:r>
                        <a:rPr kumimoji="1" lang="en-US" altLang="ja-JP" sz="1600" b="1">
                          <a:solidFill>
                            <a:srgbClr val="0070C0"/>
                          </a:solidFill>
                          <a:latin typeface="+mn-ea"/>
                          <a:ea typeface="+mn-ea"/>
                        </a:rPr>
                        <a:t>0000</a:t>
                      </a:r>
                    </a:p>
                  </a:txBody>
                  <a:tcPr marL="90000" marR="90000" marT="46800" marB="46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482910105"/>
                  </a:ext>
                </a:extLst>
              </a:tr>
            </a:tbl>
          </a:graphicData>
        </a:graphic>
      </p:graphicFrame>
      <p:graphicFrame>
        <p:nvGraphicFramePr>
          <p:cNvPr id="5" name="think-cell data - do not delete" hidden="1">
            <a:extLst>
              <a:ext uri="{FF2B5EF4-FFF2-40B4-BE49-F238E27FC236}">
                <a16:creationId xmlns:a16="http://schemas.microsoft.com/office/drawing/2014/main" id="{A243FF5B-2F65-6662-CEDF-EC47912AAF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12" imgH="511" progId="TCLayout.ActiveDocument.1">
                  <p:embed/>
                </p:oleObj>
              </mc:Choice>
              <mc:Fallback>
                <p:oleObj name="think-cell スライド" r:id="rId4" imgW="512" imgH="511" progId="TCLayout.ActiveDocument.1">
                  <p:embed/>
                  <p:pic>
                    <p:nvPicPr>
                      <p:cNvPr id="5" name="think-cell data - do not delete" hidden="1">
                        <a:extLst>
                          <a:ext uri="{FF2B5EF4-FFF2-40B4-BE49-F238E27FC236}">
                            <a16:creationId xmlns:a16="http://schemas.microsoft.com/office/drawing/2014/main" id="{A243FF5B-2F65-6662-CEDF-EC47912AAF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テキスト プレースホルダー 8">
            <a:extLst>
              <a:ext uri="{FF2B5EF4-FFF2-40B4-BE49-F238E27FC236}">
                <a16:creationId xmlns:a16="http://schemas.microsoft.com/office/drawing/2014/main" id="{A480D1FA-7A9C-69C0-2BC3-1E986E802FD3}"/>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3" name="テキスト プレースホルダー 2">
            <a:extLst>
              <a:ext uri="{FF2B5EF4-FFF2-40B4-BE49-F238E27FC236}">
                <a16:creationId xmlns:a16="http://schemas.microsoft.com/office/drawing/2014/main" id="{3889FB1B-DE63-B6FC-8D02-5D400D923577}"/>
              </a:ext>
            </a:extLst>
          </p:cNvPr>
          <p:cNvSpPr>
            <a:spLocks noGrp="1"/>
          </p:cNvSpPr>
          <p:nvPr>
            <p:ph type="body" sz="quarter" idx="36"/>
          </p:nvPr>
        </p:nvSpPr>
        <p:spPr/>
        <p:txBody>
          <a:bodyPr/>
          <a:lstStyle/>
          <a:p>
            <a:r>
              <a:rPr lang="en-US" altLang="ja-JP"/>
              <a:t>Ⅵ. </a:t>
            </a:r>
            <a:r>
              <a:rPr lang="ja-JP" altLang="en-US"/>
              <a:t>マネジメント計画</a:t>
            </a:r>
          </a:p>
        </p:txBody>
      </p:sp>
      <p:sp>
        <p:nvSpPr>
          <p:cNvPr id="4" name="タイトル 3">
            <a:extLst>
              <a:ext uri="{FF2B5EF4-FFF2-40B4-BE49-F238E27FC236}">
                <a16:creationId xmlns:a16="http://schemas.microsoft.com/office/drawing/2014/main" id="{12C53150-040F-52DA-C62A-71223FB5EBC3}"/>
              </a:ext>
            </a:extLst>
          </p:cNvPr>
          <p:cNvSpPr>
            <a:spLocks noGrp="1"/>
          </p:cNvSpPr>
          <p:nvPr>
            <p:ph type="title"/>
          </p:nvPr>
        </p:nvSpPr>
        <p:spPr/>
        <p:txBody>
          <a:bodyPr vert="horz"/>
          <a:lstStyle/>
          <a:p>
            <a:r>
              <a:rPr lang="en-US" altLang="ja-JP"/>
              <a:t>2.</a:t>
            </a:r>
            <a:r>
              <a:rPr lang="ja-JP" altLang="en-US"/>
              <a:t>コスト</a:t>
            </a:r>
            <a:endParaRPr kumimoji="1" lang="ja-JP" altLang="en-US"/>
          </a:p>
        </p:txBody>
      </p:sp>
      <p:sp>
        <p:nvSpPr>
          <p:cNvPr id="2" name="テキスト ボックス 1">
            <a:extLst>
              <a:ext uri="{FF2B5EF4-FFF2-40B4-BE49-F238E27FC236}">
                <a16:creationId xmlns:a16="http://schemas.microsoft.com/office/drawing/2014/main" id="{C2B92959-466B-8EBF-B6C6-3BFCC839C237}"/>
              </a:ext>
            </a:extLst>
          </p:cNvPr>
          <p:cNvSpPr txBox="1"/>
          <p:nvPr/>
        </p:nvSpPr>
        <p:spPr>
          <a:xfrm>
            <a:off x="3083206" y="2820813"/>
            <a:ext cx="6135987" cy="2385668"/>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現在予定している補助事業の項目ごとの費用について記載してください。​</a:t>
            </a:r>
          </a:p>
        </p:txBody>
      </p:sp>
    </p:spTree>
    <p:extLst>
      <p:ext uri="{BB962C8B-B14F-4D97-AF65-F5344CB8AC3E}">
        <p14:creationId xmlns:p14="http://schemas.microsoft.com/office/powerpoint/2010/main" val="257411257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243FF5B-2F65-6662-CEDF-EC47912AAF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12" imgH="511" progId="TCLayout.ActiveDocument.1">
                  <p:embed/>
                </p:oleObj>
              </mc:Choice>
              <mc:Fallback>
                <p:oleObj name="think-cell スライド" r:id="rId3" imgW="512" imgH="511" progId="TCLayout.ActiveDocument.1">
                  <p:embed/>
                  <p:pic>
                    <p:nvPicPr>
                      <p:cNvPr id="5" name="think-cell data - do not delete" hidden="1">
                        <a:extLst>
                          <a:ext uri="{FF2B5EF4-FFF2-40B4-BE49-F238E27FC236}">
                            <a16:creationId xmlns:a16="http://schemas.microsoft.com/office/drawing/2014/main" id="{A243FF5B-2F65-6662-CEDF-EC47912AAF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3889FB1B-DE63-B6FC-8D02-5D400D923577}"/>
              </a:ext>
            </a:extLst>
          </p:cNvPr>
          <p:cNvSpPr>
            <a:spLocks noGrp="1"/>
          </p:cNvSpPr>
          <p:nvPr>
            <p:ph type="body" sz="quarter" idx="36"/>
          </p:nvPr>
        </p:nvSpPr>
        <p:spPr/>
        <p:txBody>
          <a:bodyPr/>
          <a:lstStyle/>
          <a:p>
            <a:r>
              <a:rPr lang="en-US" altLang="ja-JP"/>
              <a:t>Ⅵ. </a:t>
            </a:r>
            <a:r>
              <a:rPr lang="ja-JP" altLang="en-US"/>
              <a:t>マネジメント計画</a:t>
            </a:r>
          </a:p>
        </p:txBody>
      </p:sp>
      <p:sp>
        <p:nvSpPr>
          <p:cNvPr id="4" name="タイトル 3">
            <a:extLst>
              <a:ext uri="{FF2B5EF4-FFF2-40B4-BE49-F238E27FC236}">
                <a16:creationId xmlns:a16="http://schemas.microsoft.com/office/drawing/2014/main" id="{12C53150-040F-52DA-C62A-71223FB5EBC3}"/>
              </a:ext>
            </a:extLst>
          </p:cNvPr>
          <p:cNvSpPr>
            <a:spLocks noGrp="1"/>
          </p:cNvSpPr>
          <p:nvPr>
            <p:ph type="title"/>
          </p:nvPr>
        </p:nvSpPr>
        <p:spPr/>
        <p:txBody>
          <a:bodyPr vert="horz"/>
          <a:lstStyle/>
          <a:p>
            <a:r>
              <a:rPr kumimoji="1" lang="ja-JP" altLang="en-US"/>
              <a:t>３</a:t>
            </a:r>
            <a:r>
              <a:rPr kumimoji="1" lang="en-US" altLang="ja-JP"/>
              <a:t>.</a:t>
            </a:r>
            <a:r>
              <a:rPr lang="ja-JP" altLang="en-US"/>
              <a:t>リソース</a:t>
            </a:r>
            <a:r>
              <a:rPr lang="en-US" altLang="ja-JP"/>
              <a:t>(</a:t>
            </a:r>
            <a:r>
              <a:rPr lang="ja-JP" altLang="en-US"/>
              <a:t>プロジェクト実施体制</a:t>
            </a:r>
            <a:r>
              <a:rPr lang="en-US" altLang="ja-JP"/>
              <a:t>)</a:t>
            </a:r>
            <a:r>
              <a:rPr lang="ja-JP" altLang="en-US"/>
              <a:t>（表）</a:t>
            </a:r>
            <a:endParaRPr kumimoji="1" lang="ja-JP" altLang="en-US"/>
          </a:p>
        </p:txBody>
      </p:sp>
      <p:graphicFrame>
        <p:nvGraphicFramePr>
          <p:cNvPr id="2" name="表 7">
            <a:extLst>
              <a:ext uri="{FF2B5EF4-FFF2-40B4-BE49-F238E27FC236}">
                <a16:creationId xmlns:a16="http://schemas.microsoft.com/office/drawing/2014/main" id="{D78F7A95-31FB-06D3-5B63-5BEDF8ABCBC0}"/>
              </a:ext>
            </a:extLst>
          </p:cNvPr>
          <p:cNvGraphicFramePr>
            <a:graphicFrameLocks noGrp="1"/>
          </p:cNvGraphicFramePr>
          <p:nvPr>
            <p:extLst>
              <p:ext uri="{D42A27DB-BD31-4B8C-83A1-F6EECF244321}">
                <p14:modId xmlns:p14="http://schemas.microsoft.com/office/powerpoint/2010/main" val="4122509256"/>
              </p:ext>
            </p:extLst>
          </p:nvPr>
        </p:nvGraphicFramePr>
        <p:xfrm>
          <a:off x="303211" y="1428943"/>
          <a:ext cx="11586389" cy="2514600"/>
        </p:xfrm>
        <a:graphic>
          <a:graphicData uri="http://schemas.openxmlformats.org/drawingml/2006/table">
            <a:tbl>
              <a:tblPr>
                <a:tableStyleId>{5C22544A-7EE6-4342-B048-85BDC9FD1C3A}</a:tableStyleId>
              </a:tblPr>
              <a:tblGrid>
                <a:gridCol w="2061858">
                  <a:extLst>
                    <a:ext uri="{9D8B030D-6E8A-4147-A177-3AD203B41FA5}">
                      <a16:colId xmlns:a16="http://schemas.microsoft.com/office/drawing/2014/main" val="1942113200"/>
                    </a:ext>
                  </a:extLst>
                </a:gridCol>
                <a:gridCol w="2150076">
                  <a:extLst>
                    <a:ext uri="{9D8B030D-6E8A-4147-A177-3AD203B41FA5}">
                      <a16:colId xmlns:a16="http://schemas.microsoft.com/office/drawing/2014/main" val="3914001273"/>
                    </a:ext>
                  </a:extLst>
                </a:gridCol>
                <a:gridCol w="1405063">
                  <a:extLst>
                    <a:ext uri="{9D8B030D-6E8A-4147-A177-3AD203B41FA5}">
                      <a16:colId xmlns:a16="http://schemas.microsoft.com/office/drawing/2014/main" val="2412381286"/>
                    </a:ext>
                  </a:extLst>
                </a:gridCol>
                <a:gridCol w="2182484">
                  <a:extLst>
                    <a:ext uri="{9D8B030D-6E8A-4147-A177-3AD203B41FA5}">
                      <a16:colId xmlns:a16="http://schemas.microsoft.com/office/drawing/2014/main" val="3406812435"/>
                    </a:ext>
                  </a:extLst>
                </a:gridCol>
                <a:gridCol w="1893714">
                  <a:extLst>
                    <a:ext uri="{9D8B030D-6E8A-4147-A177-3AD203B41FA5}">
                      <a16:colId xmlns:a16="http://schemas.microsoft.com/office/drawing/2014/main" val="3520855363"/>
                    </a:ext>
                  </a:extLst>
                </a:gridCol>
                <a:gridCol w="1893194">
                  <a:extLst>
                    <a:ext uri="{9D8B030D-6E8A-4147-A177-3AD203B41FA5}">
                      <a16:colId xmlns:a16="http://schemas.microsoft.com/office/drawing/2014/main" val="1115002749"/>
                    </a:ext>
                  </a:extLst>
                </a:gridCol>
              </a:tblGrid>
              <a:tr h="227986">
                <a:tc>
                  <a:txBody>
                    <a:bodyPr/>
                    <a:lstStyle/>
                    <a:p>
                      <a:r>
                        <a:rPr kumimoji="1" lang="ja-JP" altLang="en-US" sz="1050" b="1">
                          <a:latin typeface="+mn-ea"/>
                          <a:ea typeface="+mn-ea"/>
                        </a:rPr>
                        <a:t>会社名</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50" b="1">
                          <a:latin typeface="+mn-ea"/>
                          <a:ea typeface="+mn-ea"/>
                        </a:rPr>
                        <a:t>担当業務（事業者ごと）</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50" b="1">
                          <a:latin typeface="+mn-ea"/>
                          <a:ea typeface="+mn-ea"/>
                        </a:rPr>
                        <a:t>部署名</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50" b="1">
                          <a:latin typeface="+mn-ea"/>
                          <a:ea typeface="+mn-ea"/>
                        </a:rPr>
                        <a:t>役職</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50" b="1">
                          <a:latin typeface="+mn-ea"/>
                          <a:ea typeface="+mn-ea"/>
                        </a:rPr>
                        <a:t>氏名</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50" b="1">
                          <a:latin typeface="+mn-ea"/>
                          <a:ea typeface="+mn-ea"/>
                        </a:rPr>
                        <a:t>担当業務（個人ごと）</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9378519"/>
                  </a:ext>
                </a:extLst>
              </a:tr>
              <a:tr h="227986">
                <a:tc>
                  <a:txBody>
                    <a:bodyPr/>
                    <a:lstStyle/>
                    <a:p>
                      <a:r>
                        <a:rPr kumimoji="1" lang="en-US" altLang="ja-JP" sz="1050">
                          <a:solidFill>
                            <a:srgbClr val="0070C0"/>
                          </a:solidFill>
                          <a:latin typeface="+mn-ea"/>
                          <a:ea typeface="+mn-ea"/>
                        </a:rPr>
                        <a:t>AAA</a:t>
                      </a:r>
                      <a:r>
                        <a:rPr kumimoji="1" lang="ja-JP" altLang="en-US" sz="1050">
                          <a:solidFill>
                            <a:srgbClr val="0070C0"/>
                          </a:solidFill>
                          <a:latin typeface="+mn-ea"/>
                          <a:ea typeface="+mn-ea"/>
                        </a:rPr>
                        <a:t>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buNone/>
                      </a:pPr>
                      <a:r>
                        <a:rPr kumimoji="1" lang="ja-JP" altLang="en-US" sz="1050">
                          <a:solidFill>
                            <a:srgbClr val="0070C0"/>
                          </a:solidFill>
                          <a:latin typeface="+mn-ea"/>
                          <a:ea typeface="+mn-ea"/>
                        </a:rPr>
                        <a:t>全体総括、企画運営</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lang="ja-JP" altLang="ja-JP" sz="1050" b="0" i="0" u="none" strike="noStrike" noProof="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5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65614511"/>
                  </a:ext>
                </a:extLst>
              </a:tr>
              <a:tr h="227986">
                <a:tc>
                  <a:txBody>
                    <a:bodyPr/>
                    <a:lstStyle/>
                    <a:p>
                      <a:r>
                        <a:rPr kumimoji="1" lang="en-US" altLang="ja-JP" sz="1050">
                          <a:solidFill>
                            <a:srgbClr val="0070C0"/>
                          </a:solidFill>
                          <a:latin typeface="+mn-ea"/>
                          <a:ea typeface="+mn-ea"/>
                        </a:rPr>
                        <a:t>BBB</a:t>
                      </a:r>
                      <a:r>
                        <a:rPr kumimoji="1" lang="ja-JP" altLang="en-US" sz="1050">
                          <a:solidFill>
                            <a:srgbClr val="0070C0"/>
                          </a:solidFill>
                          <a:latin typeface="+mn-ea"/>
                          <a:ea typeface="+mn-ea"/>
                        </a:rPr>
                        <a:t>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buNone/>
                      </a:pPr>
                      <a:r>
                        <a:rPr kumimoji="1" lang="en-US" altLang="ja-JP" sz="1050">
                          <a:solidFill>
                            <a:srgbClr val="0070C0"/>
                          </a:solidFill>
                          <a:latin typeface="+mn-ea"/>
                          <a:ea typeface="+mn-ea"/>
                        </a:rPr>
                        <a:t>MaaS</a:t>
                      </a:r>
                      <a:r>
                        <a:rPr kumimoji="1" lang="ja-JP" altLang="en-US" sz="1050">
                          <a:solidFill>
                            <a:srgbClr val="0070C0"/>
                          </a:solidFill>
                          <a:latin typeface="+mn-ea"/>
                          <a:ea typeface="+mn-ea"/>
                        </a:rPr>
                        <a:t>アプリ改修</a:t>
                      </a:r>
                      <a:endParaRPr kumimoji="1" lang="ja-JP" sz="105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lang="ja-JP" altLang="ja-JP" sz="1050" b="0" i="0" u="none" strike="noStrike" noProof="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5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00116814"/>
                  </a:ext>
                </a:extLst>
              </a:tr>
              <a:tr h="227986">
                <a:tc>
                  <a:txBody>
                    <a:bodyPr/>
                    <a:lstStyle/>
                    <a:p>
                      <a:r>
                        <a:rPr kumimoji="1" lang="en-US" altLang="ja-JP" sz="1050">
                          <a:solidFill>
                            <a:srgbClr val="0070C0"/>
                          </a:solidFill>
                          <a:latin typeface="+mn-ea"/>
                          <a:ea typeface="+mn-ea"/>
                        </a:rPr>
                        <a:t>CCC</a:t>
                      </a:r>
                      <a:r>
                        <a:rPr kumimoji="1" lang="ja-JP" altLang="en-US" sz="1050">
                          <a:solidFill>
                            <a:srgbClr val="0070C0"/>
                          </a:solidFill>
                          <a:latin typeface="+mn-ea"/>
                          <a:ea typeface="+mn-ea"/>
                        </a:rPr>
                        <a:t>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buNone/>
                      </a:pPr>
                      <a:r>
                        <a:rPr kumimoji="1" lang="ja-JP" altLang="en-US" sz="1050">
                          <a:solidFill>
                            <a:srgbClr val="0070C0"/>
                          </a:solidFill>
                          <a:latin typeface="+mn-ea"/>
                          <a:ea typeface="+mn-ea"/>
                        </a:rPr>
                        <a:t>ダッシュボードシステム開発</a:t>
                      </a:r>
                      <a:endParaRPr kumimoji="1" lang="ja-JP" altLang="ja-JP" sz="105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lang="ja-JP" altLang="ja-JP" sz="1050" b="0" i="0" u="none" strike="noStrike" noProof="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65891718"/>
                  </a:ext>
                </a:extLst>
              </a:tr>
              <a:tr h="227986">
                <a:tc>
                  <a:txBody>
                    <a:bodyPr/>
                    <a:lstStyle/>
                    <a:p>
                      <a:r>
                        <a:rPr kumimoji="1" lang="en-US" altLang="ja-JP" sz="1050">
                          <a:solidFill>
                            <a:srgbClr val="0070C0"/>
                          </a:solidFill>
                          <a:latin typeface="+mn-ea"/>
                          <a:ea typeface="+mn-ea"/>
                        </a:rPr>
                        <a:t>DDD</a:t>
                      </a:r>
                      <a:r>
                        <a:rPr kumimoji="1" lang="ja-JP" altLang="en-US" sz="1050">
                          <a:solidFill>
                            <a:srgbClr val="0070C0"/>
                          </a:solidFill>
                          <a:latin typeface="+mn-ea"/>
                          <a:ea typeface="+mn-ea"/>
                        </a:rPr>
                        <a:t>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buNone/>
                      </a:pPr>
                      <a:r>
                        <a:rPr kumimoji="1" lang="en-US" altLang="ja-JP" sz="1050">
                          <a:solidFill>
                            <a:srgbClr val="0070C0"/>
                          </a:solidFill>
                          <a:latin typeface="+mn-ea"/>
                          <a:ea typeface="+mn-ea"/>
                        </a:rPr>
                        <a:t>【</a:t>
                      </a:r>
                      <a:r>
                        <a:rPr kumimoji="1" lang="ja-JP" altLang="en-US" sz="1050">
                          <a:solidFill>
                            <a:srgbClr val="0070C0"/>
                          </a:solidFill>
                          <a:latin typeface="+mn-ea"/>
                          <a:ea typeface="+mn-ea"/>
                        </a:rPr>
                        <a:t>外部委託</a:t>
                      </a:r>
                      <a:r>
                        <a:rPr kumimoji="1" lang="en-US" altLang="ja-JP" sz="1050">
                          <a:solidFill>
                            <a:srgbClr val="0070C0"/>
                          </a:solidFill>
                          <a:latin typeface="+mn-ea"/>
                          <a:ea typeface="+mn-ea"/>
                        </a:rPr>
                        <a:t>】</a:t>
                      </a:r>
                      <a:r>
                        <a:rPr kumimoji="1" lang="ja-JP" altLang="en-US" sz="1050">
                          <a:solidFill>
                            <a:srgbClr val="0070C0"/>
                          </a:solidFill>
                          <a:latin typeface="+mn-ea"/>
                          <a:ea typeface="+mn-ea"/>
                        </a:rPr>
                        <a:t>プロモーション</a:t>
                      </a:r>
                      <a:endParaRPr kumimoji="1" lang="ja-JP" sz="105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lang="ja-JP" altLang="ja-JP" sz="1050" b="0" i="0" u="none" strike="noStrike" noProof="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32274276"/>
                  </a:ext>
                </a:extLst>
              </a:tr>
              <a:tr h="227986">
                <a:tc>
                  <a:txBody>
                    <a:bodyPr/>
                    <a:lstStyle/>
                    <a:p>
                      <a:r>
                        <a:rPr kumimoji="1" lang="en-US" altLang="ja-JP" sz="1050">
                          <a:solidFill>
                            <a:srgbClr val="0070C0"/>
                          </a:solidFill>
                          <a:latin typeface="+mn-ea"/>
                          <a:ea typeface="+mn-ea"/>
                        </a:rPr>
                        <a:t>EEE</a:t>
                      </a:r>
                      <a:r>
                        <a:rPr kumimoji="1" lang="ja-JP" altLang="en-US" sz="1050">
                          <a:solidFill>
                            <a:srgbClr val="0070C0"/>
                          </a:solidFill>
                          <a:latin typeface="+mn-ea"/>
                          <a:ea typeface="+mn-ea"/>
                        </a:rPr>
                        <a:t>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buNone/>
                      </a:pPr>
                      <a:r>
                        <a:rPr kumimoji="1" lang="en-US" altLang="ja-JP" sz="1050">
                          <a:solidFill>
                            <a:srgbClr val="0070C0"/>
                          </a:solidFill>
                          <a:latin typeface="+mn-ea"/>
                          <a:ea typeface="+mn-ea"/>
                        </a:rPr>
                        <a:t>QR</a:t>
                      </a:r>
                      <a:r>
                        <a:rPr kumimoji="1" lang="ja-JP" altLang="en-US" sz="1050">
                          <a:solidFill>
                            <a:srgbClr val="0070C0"/>
                          </a:solidFill>
                          <a:latin typeface="+mn-ea"/>
                          <a:ea typeface="+mn-ea"/>
                        </a:rPr>
                        <a:t>認証機器提供</a:t>
                      </a:r>
                      <a:endParaRPr kumimoji="1" lang="ja-JP" sz="105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lang="ja-JP" altLang="ja-JP" sz="1050" b="0" i="0" u="none" strike="noStrike" noProof="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36046752"/>
                  </a:ext>
                </a:extLst>
              </a:tr>
              <a:tr h="227986">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buNone/>
                      </a:pPr>
                      <a:endParaRPr kumimoji="1" lang="ja-JP"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lang="ja-JP" altLang="ja-JP" sz="1050" b="0" i="0" u="none" strike="noStrike" noProof="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37819880"/>
                  </a:ext>
                </a:extLst>
              </a:tr>
              <a:tr h="227986">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buNone/>
                      </a:pPr>
                      <a:endParaRPr kumimoji="1" lang="ja-JP"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lang="ja-JP" altLang="ja-JP" sz="1050" b="0" i="0" u="none" strike="noStrike" noProof="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37318575"/>
                  </a:ext>
                </a:extLst>
              </a:tr>
              <a:tr h="227986">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lang="ja-JP" altLang="ja-JP" sz="1050" b="0" i="0" u="none" strike="noStrike" noProof="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4626523"/>
                  </a:ext>
                </a:extLst>
              </a:tr>
              <a:tr h="227986">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lang="ja-JP" altLang="ja-JP" sz="1050" b="0" i="0" u="none" strike="noStrike" noProof="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58544468"/>
                  </a:ext>
                </a:extLst>
              </a:tr>
            </a:tbl>
          </a:graphicData>
        </a:graphic>
      </p:graphicFrame>
      <p:cxnSp>
        <p:nvCxnSpPr>
          <p:cNvPr id="10" name="直線矢印コネクタ 9">
            <a:extLst>
              <a:ext uri="{FF2B5EF4-FFF2-40B4-BE49-F238E27FC236}">
                <a16:creationId xmlns:a16="http://schemas.microsoft.com/office/drawing/2014/main" id="{6735B9E2-CEAA-B979-67C8-2554417B1CDE}"/>
              </a:ext>
            </a:extLst>
          </p:cNvPr>
          <p:cNvCxnSpPr/>
          <p:nvPr/>
        </p:nvCxnSpPr>
        <p:spPr>
          <a:xfrm>
            <a:off x="302400" y="1221926"/>
            <a:ext cx="11587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05C1BC80-6DE9-57F3-13C1-E4ECE8B12C3B}"/>
              </a:ext>
            </a:extLst>
          </p:cNvPr>
          <p:cNvSpPr txBox="1"/>
          <p:nvPr/>
        </p:nvSpPr>
        <p:spPr>
          <a:xfrm>
            <a:off x="2940474" y="2820813"/>
            <a:ext cx="6311051" cy="1984269"/>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プロジェクトを実施するために必要なリソースとその体制を明確にしてください。</a:t>
            </a: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チーム構成と各メンバーの役割・責任を網羅的に記載してください。</a:t>
            </a: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外部リソースを利用する場合は、その旨を明確にしてください。</a:t>
            </a:r>
          </a:p>
        </p:txBody>
      </p:sp>
    </p:spTree>
    <p:extLst>
      <p:ext uri="{BB962C8B-B14F-4D97-AF65-F5344CB8AC3E}">
        <p14:creationId xmlns:p14="http://schemas.microsoft.com/office/powerpoint/2010/main" val="43968774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243FF5B-2F65-6662-CEDF-EC47912AAF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12" imgH="511" progId="TCLayout.ActiveDocument.1">
                  <p:embed/>
                </p:oleObj>
              </mc:Choice>
              <mc:Fallback>
                <p:oleObj name="think-cell スライド" r:id="rId3" imgW="512" imgH="511" progId="TCLayout.ActiveDocument.1">
                  <p:embed/>
                  <p:pic>
                    <p:nvPicPr>
                      <p:cNvPr id="5" name="think-cell data - do not delete" hidden="1">
                        <a:extLst>
                          <a:ext uri="{FF2B5EF4-FFF2-40B4-BE49-F238E27FC236}">
                            <a16:creationId xmlns:a16="http://schemas.microsoft.com/office/drawing/2014/main" id="{A243FF5B-2F65-6662-CEDF-EC47912AAF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3889FB1B-DE63-B6FC-8D02-5D400D923577}"/>
              </a:ext>
            </a:extLst>
          </p:cNvPr>
          <p:cNvSpPr>
            <a:spLocks noGrp="1"/>
          </p:cNvSpPr>
          <p:nvPr>
            <p:ph type="body" sz="quarter" idx="36"/>
          </p:nvPr>
        </p:nvSpPr>
        <p:spPr/>
        <p:txBody>
          <a:bodyPr/>
          <a:lstStyle/>
          <a:p>
            <a:r>
              <a:rPr lang="en-US" altLang="ja-JP"/>
              <a:t>Ⅵ. </a:t>
            </a:r>
            <a:r>
              <a:rPr lang="ja-JP" altLang="en-US"/>
              <a:t>マネジメント計画</a:t>
            </a:r>
          </a:p>
        </p:txBody>
      </p:sp>
      <p:sp>
        <p:nvSpPr>
          <p:cNvPr id="4" name="タイトル 3">
            <a:extLst>
              <a:ext uri="{FF2B5EF4-FFF2-40B4-BE49-F238E27FC236}">
                <a16:creationId xmlns:a16="http://schemas.microsoft.com/office/drawing/2014/main" id="{12C53150-040F-52DA-C62A-71223FB5EBC3}"/>
              </a:ext>
            </a:extLst>
          </p:cNvPr>
          <p:cNvSpPr>
            <a:spLocks noGrp="1"/>
          </p:cNvSpPr>
          <p:nvPr>
            <p:ph type="title"/>
          </p:nvPr>
        </p:nvSpPr>
        <p:spPr/>
        <p:txBody>
          <a:bodyPr vert="horz"/>
          <a:lstStyle/>
          <a:p>
            <a:r>
              <a:rPr kumimoji="1" lang="en-US" altLang="ja-JP"/>
              <a:t>3.</a:t>
            </a:r>
            <a:r>
              <a:rPr lang="ja-JP" altLang="en-US"/>
              <a:t>リソース</a:t>
            </a:r>
            <a:r>
              <a:rPr lang="en-US" altLang="ja-JP"/>
              <a:t>(</a:t>
            </a:r>
            <a:r>
              <a:rPr lang="ja-JP" altLang="en-US"/>
              <a:t>プロジェクト実施体制</a:t>
            </a:r>
            <a:r>
              <a:rPr lang="en-US" altLang="ja-JP"/>
              <a:t>)</a:t>
            </a:r>
            <a:r>
              <a:rPr lang="ja-JP" altLang="en-US"/>
              <a:t>（図）</a:t>
            </a:r>
            <a:endParaRPr kumimoji="1" lang="ja-JP" altLang="en-US"/>
          </a:p>
        </p:txBody>
      </p:sp>
      <p:grpSp>
        <p:nvGrpSpPr>
          <p:cNvPr id="2" name="PanelGroup1">
            <a:extLst>
              <a:ext uri="{FF2B5EF4-FFF2-40B4-BE49-F238E27FC236}">
                <a16:creationId xmlns:a16="http://schemas.microsoft.com/office/drawing/2014/main" id="{372A3CF7-5B7A-0B5D-9138-971927D27558}"/>
              </a:ext>
            </a:extLst>
          </p:cNvPr>
          <p:cNvGrpSpPr/>
          <p:nvPr/>
        </p:nvGrpSpPr>
        <p:grpSpPr>
          <a:xfrm>
            <a:off x="302400" y="1219802"/>
            <a:ext cx="11587200" cy="309600"/>
            <a:chOff x="302400" y="1990800"/>
            <a:chExt cx="11587200" cy="309600"/>
          </a:xfrm>
        </p:grpSpPr>
        <p:sp>
          <p:nvSpPr>
            <p:cNvPr id="6" name="正方形/長方形 5">
              <a:extLst>
                <a:ext uri="{FF2B5EF4-FFF2-40B4-BE49-F238E27FC236}">
                  <a16:creationId xmlns:a16="http://schemas.microsoft.com/office/drawing/2014/main" id="{9FFD2353-EF62-BFA0-5B44-F7ABF536D584}"/>
                </a:ext>
              </a:extLst>
            </p:cNvPr>
            <p:cNvSpPr/>
            <p:nvPr/>
          </p:nvSpPr>
          <p:spPr>
            <a:xfrm>
              <a:off x="302400" y="1990800"/>
              <a:ext cx="11587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管理者・担当者の意思決定ライン</a:t>
              </a:r>
            </a:p>
          </p:txBody>
        </p:sp>
        <p:cxnSp>
          <p:nvCxnSpPr>
            <p:cNvPr id="7" name="直線矢印コネクタ 6">
              <a:extLst>
                <a:ext uri="{FF2B5EF4-FFF2-40B4-BE49-F238E27FC236}">
                  <a16:creationId xmlns:a16="http://schemas.microsoft.com/office/drawing/2014/main" id="{21A3E467-6F88-7859-37D3-00A944DAABE1}"/>
                </a:ext>
              </a:extLst>
            </p:cNvPr>
            <p:cNvCxnSpPr/>
            <p:nvPr/>
          </p:nvCxnSpPr>
          <p:spPr>
            <a:xfrm>
              <a:off x="302400" y="2300400"/>
              <a:ext cx="11587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8" name="Rectangle 75">
            <a:extLst>
              <a:ext uri="{FF2B5EF4-FFF2-40B4-BE49-F238E27FC236}">
                <a16:creationId xmlns:a16="http://schemas.microsoft.com/office/drawing/2014/main" id="{01D4BCA7-C89A-20E2-6428-C51A003E8B36}"/>
              </a:ext>
            </a:extLst>
          </p:cNvPr>
          <p:cNvSpPr>
            <a:spLocks noChangeArrowheads="1"/>
          </p:cNvSpPr>
          <p:nvPr/>
        </p:nvSpPr>
        <p:spPr bwMode="gray">
          <a:xfrm>
            <a:off x="1853937" y="1921717"/>
            <a:ext cx="1400677" cy="523722"/>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Rectangle 5">
            <a:extLst>
              <a:ext uri="{FF2B5EF4-FFF2-40B4-BE49-F238E27FC236}">
                <a16:creationId xmlns:a16="http://schemas.microsoft.com/office/drawing/2014/main" id="{C6836692-CDAE-C475-A8B0-1602682A1D72}"/>
              </a:ext>
            </a:extLst>
          </p:cNvPr>
          <p:cNvSpPr>
            <a:spLocks noChangeArrowheads="1"/>
          </p:cNvSpPr>
          <p:nvPr/>
        </p:nvSpPr>
        <p:spPr bwMode="gray">
          <a:xfrm>
            <a:off x="1853936" y="1664317"/>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全体管理者</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Rectangle 75">
            <a:extLst>
              <a:ext uri="{FF2B5EF4-FFF2-40B4-BE49-F238E27FC236}">
                <a16:creationId xmlns:a16="http://schemas.microsoft.com/office/drawing/2014/main" id="{F671E48A-0AEB-34DC-C9B0-947ACB9BE53F}"/>
              </a:ext>
            </a:extLst>
          </p:cNvPr>
          <p:cNvSpPr>
            <a:spLocks noChangeArrowheads="1"/>
          </p:cNvSpPr>
          <p:nvPr/>
        </p:nvSpPr>
        <p:spPr bwMode="gray">
          <a:xfrm>
            <a:off x="1861946" y="2866013"/>
            <a:ext cx="1400677" cy="523923"/>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Rectangle 5">
            <a:extLst>
              <a:ext uri="{FF2B5EF4-FFF2-40B4-BE49-F238E27FC236}">
                <a16:creationId xmlns:a16="http://schemas.microsoft.com/office/drawing/2014/main" id="{F1215F89-A0A0-AB28-F8E7-84581D64B7EE}"/>
              </a:ext>
            </a:extLst>
          </p:cNvPr>
          <p:cNvSpPr>
            <a:spLocks noChangeArrowheads="1"/>
          </p:cNvSpPr>
          <p:nvPr/>
        </p:nvSpPr>
        <p:spPr bwMode="gray">
          <a:xfrm>
            <a:off x="1861945" y="2608569"/>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開発・実証とりまとめ</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Rectangle 75">
            <a:extLst>
              <a:ext uri="{FF2B5EF4-FFF2-40B4-BE49-F238E27FC236}">
                <a16:creationId xmlns:a16="http://schemas.microsoft.com/office/drawing/2014/main" id="{DD2FC9B4-133C-45AC-F63A-4DA5444194C1}"/>
              </a:ext>
            </a:extLst>
          </p:cNvPr>
          <p:cNvSpPr>
            <a:spLocks noChangeArrowheads="1"/>
          </p:cNvSpPr>
          <p:nvPr/>
        </p:nvSpPr>
        <p:spPr bwMode="gray">
          <a:xfrm>
            <a:off x="2229092" y="3777971"/>
            <a:ext cx="1400677" cy="518662"/>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4" name="Rectangle 5">
            <a:extLst>
              <a:ext uri="{FF2B5EF4-FFF2-40B4-BE49-F238E27FC236}">
                <a16:creationId xmlns:a16="http://schemas.microsoft.com/office/drawing/2014/main" id="{85688145-F176-E15B-9ADA-FF1D4E4EAD73}"/>
              </a:ext>
            </a:extLst>
          </p:cNvPr>
          <p:cNvSpPr>
            <a:spLocks noChangeArrowheads="1"/>
          </p:cNvSpPr>
          <p:nvPr/>
        </p:nvSpPr>
        <p:spPr bwMode="gray">
          <a:xfrm>
            <a:off x="2229091" y="3521703"/>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実証推進</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5" name="Rectangle 75">
            <a:extLst>
              <a:ext uri="{FF2B5EF4-FFF2-40B4-BE49-F238E27FC236}">
                <a16:creationId xmlns:a16="http://schemas.microsoft.com/office/drawing/2014/main" id="{9CA01B65-AA7F-E153-53A0-22F4C72906C9}"/>
              </a:ext>
            </a:extLst>
          </p:cNvPr>
          <p:cNvSpPr>
            <a:spLocks noChangeArrowheads="1"/>
          </p:cNvSpPr>
          <p:nvPr/>
        </p:nvSpPr>
        <p:spPr bwMode="gray">
          <a:xfrm>
            <a:off x="300780" y="2884254"/>
            <a:ext cx="1400677" cy="523722"/>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BB</a:t>
            </a:r>
          </a:p>
        </p:txBody>
      </p:sp>
      <p:sp>
        <p:nvSpPr>
          <p:cNvPr id="16" name="Rectangle 5">
            <a:extLst>
              <a:ext uri="{FF2B5EF4-FFF2-40B4-BE49-F238E27FC236}">
                <a16:creationId xmlns:a16="http://schemas.microsoft.com/office/drawing/2014/main" id="{4ED0277C-A056-D022-829C-561BA5F238E4}"/>
              </a:ext>
            </a:extLst>
          </p:cNvPr>
          <p:cNvSpPr>
            <a:spLocks noChangeArrowheads="1"/>
          </p:cNvSpPr>
          <p:nvPr/>
        </p:nvSpPr>
        <p:spPr bwMode="gray">
          <a:xfrm>
            <a:off x="300779" y="2626854"/>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WS</a:t>
            </a:r>
            <a:r>
              <a:rPr kumimoji="1"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デザイン支援</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7" name="コネクタ: カギ線 16">
            <a:extLst>
              <a:ext uri="{FF2B5EF4-FFF2-40B4-BE49-F238E27FC236}">
                <a16:creationId xmlns:a16="http://schemas.microsoft.com/office/drawing/2014/main" id="{B33F1110-77B4-AF22-55D7-F4851EF459EE}"/>
              </a:ext>
            </a:extLst>
          </p:cNvPr>
          <p:cNvCxnSpPr>
            <a:cxnSpLocks/>
            <a:stCxn id="8" idx="3"/>
            <a:endCxn id="34" idx="0"/>
          </p:cNvCxnSpPr>
          <p:nvPr/>
        </p:nvCxnSpPr>
        <p:spPr>
          <a:xfrm>
            <a:off x="3254614" y="2183578"/>
            <a:ext cx="4485405" cy="443276"/>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コネクタ: カギ線 17">
            <a:extLst>
              <a:ext uri="{FF2B5EF4-FFF2-40B4-BE49-F238E27FC236}">
                <a16:creationId xmlns:a16="http://schemas.microsoft.com/office/drawing/2014/main" id="{891B5930-A38E-A0C5-BE51-42817003E8A5}"/>
              </a:ext>
            </a:extLst>
          </p:cNvPr>
          <p:cNvCxnSpPr>
            <a:cxnSpLocks/>
            <a:stCxn id="13" idx="1"/>
          </p:cNvCxnSpPr>
          <p:nvPr/>
        </p:nvCxnSpPr>
        <p:spPr>
          <a:xfrm rot="10800000">
            <a:off x="2040706" y="3386692"/>
            <a:ext cx="188387" cy="650610"/>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コネクタ: カギ線 18">
            <a:extLst>
              <a:ext uri="{FF2B5EF4-FFF2-40B4-BE49-F238E27FC236}">
                <a16:creationId xmlns:a16="http://schemas.microsoft.com/office/drawing/2014/main" id="{A844BD0C-0A40-51E8-A09A-D30427306A66}"/>
              </a:ext>
            </a:extLst>
          </p:cNvPr>
          <p:cNvCxnSpPr>
            <a:cxnSpLocks/>
            <a:stCxn id="16" idx="0"/>
            <a:endCxn id="8" idx="1"/>
          </p:cNvCxnSpPr>
          <p:nvPr/>
        </p:nvCxnSpPr>
        <p:spPr>
          <a:xfrm rot="5400000" flipH="1" flipV="1">
            <a:off x="1205889" y="1978807"/>
            <a:ext cx="443276" cy="852819"/>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Rectangle 75">
            <a:extLst>
              <a:ext uri="{FF2B5EF4-FFF2-40B4-BE49-F238E27FC236}">
                <a16:creationId xmlns:a16="http://schemas.microsoft.com/office/drawing/2014/main" id="{E8836C59-B8B6-C85D-E010-EBC8663348AC}"/>
              </a:ext>
            </a:extLst>
          </p:cNvPr>
          <p:cNvSpPr>
            <a:spLocks noChangeArrowheads="1"/>
          </p:cNvSpPr>
          <p:nvPr/>
        </p:nvSpPr>
        <p:spPr bwMode="gray">
          <a:xfrm>
            <a:off x="3872137" y="3777971"/>
            <a:ext cx="1400677" cy="518662"/>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Rectangle 5">
            <a:extLst>
              <a:ext uri="{FF2B5EF4-FFF2-40B4-BE49-F238E27FC236}">
                <a16:creationId xmlns:a16="http://schemas.microsoft.com/office/drawing/2014/main" id="{8B2388F4-8880-EE2F-03BB-997FC1E6C222}"/>
              </a:ext>
            </a:extLst>
          </p:cNvPr>
          <p:cNvSpPr>
            <a:spLocks noChangeArrowheads="1"/>
          </p:cNvSpPr>
          <p:nvPr/>
        </p:nvSpPr>
        <p:spPr bwMode="gray">
          <a:xfrm>
            <a:off x="3872136" y="3521703"/>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実証推進</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2" name="Rectangle 75">
            <a:extLst>
              <a:ext uri="{FF2B5EF4-FFF2-40B4-BE49-F238E27FC236}">
                <a16:creationId xmlns:a16="http://schemas.microsoft.com/office/drawing/2014/main" id="{9D9B6B73-E941-4FB2-6F67-6D2282E2F654}"/>
              </a:ext>
            </a:extLst>
          </p:cNvPr>
          <p:cNvSpPr>
            <a:spLocks noChangeArrowheads="1"/>
          </p:cNvSpPr>
          <p:nvPr/>
        </p:nvSpPr>
        <p:spPr bwMode="gray">
          <a:xfrm>
            <a:off x="5490866" y="3777971"/>
            <a:ext cx="1400677" cy="518662"/>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3" name="Rectangle 5">
            <a:extLst>
              <a:ext uri="{FF2B5EF4-FFF2-40B4-BE49-F238E27FC236}">
                <a16:creationId xmlns:a16="http://schemas.microsoft.com/office/drawing/2014/main" id="{40803D02-B102-890E-D54A-16FBEA6E318B}"/>
              </a:ext>
            </a:extLst>
          </p:cNvPr>
          <p:cNvSpPr>
            <a:spLocks noChangeArrowheads="1"/>
          </p:cNvSpPr>
          <p:nvPr/>
        </p:nvSpPr>
        <p:spPr bwMode="gray">
          <a:xfrm>
            <a:off x="5490865" y="3521703"/>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実証推進</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4" name="Rectangle 75">
            <a:extLst>
              <a:ext uri="{FF2B5EF4-FFF2-40B4-BE49-F238E27FC236}">
                <a16:creationId xmlns:a16="http://schemas.microsoft.com/office/drawing/2014/main" id="{282F57DD-EF41-A330-6783-2B46B29B454B}"/>
              </a:ext>
            </a:extLst>
          </p:cNvPr>
          <p:cNvSpPr>
            <a:spLocks noChangeArrowheads="1"/>
          </p:cNvSpPr>
          <p:nvPr/>
        </p:nvSpPr>
        <p:spPr bwMode="gray">
          <a:xfrm>
            <a:off x="2233868" y="4683096"/>
            <a:ext cx="1400677" cy="518662"/>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5" name="Rectangle 5">
            <a:extLst>
              <a:ext uri="{FF2B5EF4-FFF2-40B4-BE49-F238E27FC236}">
                <a16:creationId xmlns:a16="http://schemas.microsoft.com/office/drawing/2014/main" id="{E4B5370A-7499-03A1-CF77-0E693D5DDE7E}"/>
              </a:ext>
            </a:extLst>
          </p:cNvPr>
          <p:cNvSpPr>
            <a:spLocks noChangeArrowheads="1"/>
          </p:cNvSpPr>
          <p:nvPr/>
        </p:nvSpPr>
        <p:spPr bwMode="gray">
          <a:xfrm>
            <a:off x="2233867" y="4426828"/>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アプリ開発</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6" name="Rectangle 75">
            <a:extLst>
              <a:ext uri="{FF2B5EF4-FFF2-40B4-BE49-F238E27FC236}">
                <a16:creationId xmlns:a16="http://schemas.microsoft.com/office/drawing/2014/main" id="{5E459C84-978B-D044-BE65-FCB09332A3B0}"/>
              </a:ext>
            </a:extLst>
          </p:cNvPr>
          <p:cNvSpPr>
            <a:spLocks noChangeArrowheads="1"/>
          </p:cNvSpPr>
          <p:nvPr/>
        </p:nvSpPr>
        <p:spPr bwMode="gray">
          <a:xfrm>
            <a:off x="2235174" y="5542426"/>
            <a:ext cx="1400677" cy="518662"/>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Rectangle 5">
            <a:extLst>
              <a:ext uri="{FF2B5EF4-FFF2-40B4-BE49-F238E27FC236}">
                <a16:creationId xmlns:a16="http://schemas.microsoft.com/office/drawing/2014/main" id="{C5731C2D-659C-4328-D18C-83B7B6BBC6DF}"/>
              </a:ext>
            </a:extLst>
          </p:cNvPr>
          <p:cNvSpPr>
            <a:spLocks noChangeArrowheads="1"/>
          </p:cNvSpPr>
          <p:nvPr/>
        </p:nvSpPr>
        <p:spPr bwMode="gray">
          <a:xfrm>
            <a:off x="2235173" y="5286158"/>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基盤開発</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8" name="Rectangle 75">
            <a:extLst>
              <a:ext uri="{FF2B5EF4-FFF2-40B4-BE49-F238E27FC236}">
                <a16:creationId xmlns:a16="http://schemas.microsoft.com/office/drawing/2014/main" id="{55864B40-97CF-F0B3-B2B5-B6FFCF2C3E5B}"/>
              </a:ext>
            </a:extLst>
          </p:cNvPr>
          <p:cNvSpPr>
            <a:spLocks noChangeArrowheads="1"/>
          </p:cNvSpPr>
          <p:nvPr/>
        </p:nvSpPr>
        <p:spPr bwMode="gray">
          <a:xfrm>
            <a:off x="3857617" y="5563341"/>
            <a:ext cx="1400677" cy="518662"/>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9" name="Rectangle 5">
            <a:extLst>
              <a:ext uri="{FF2B5EF4-FFF2-40B4-BE49-F238E27FC236}">
                <a16:creationId xmlns:a16="http://schemas.microsoft.com/office/drawing/2014/main" id="{6066413C-AE1D-EB1F-F755-AA17280E6D6B}"/>
              </a:ext>
            </a:extLst>
          </p:cNvPr>
          <p:cNvSpPr>
            <a:spLocks noChangeArrowheads="1"/>
          </p:cNvSpPr>
          <p:nvPr/>
        </p:nvSpPr>
        <p:spPr bwMode="gray">
          <a:xfrm>
            <a:off x="3857616" y="5307073"/>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基盤開発</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0" name="Rectangle 75">
            <a:extLst>
              <a:ext uri="{FF2B5EF4-FFF2-40B4-BE49-F238E27FC236}">
                <a16:creationId xmlns:a16="http://schemas.microsoft.com/office/drawing/2014/main" id="{73C2D3B9-B7E8-F47D-F1E3-D52A1C96AB7D}"/>
              </a:ext>
            </a:extLst>
          </p:cNvPr>
          <p:cNvSpPr>
            <a:spLocks noChangeArrowheads="1"/>
          </p:cNvSpPr>
          <p:nvPr/>
        </p:nvSpPr>
        <p:spPr bwMode="gray">
          <a:xfrm>
            <a:off x="5490865" y="5556108"/>
            <a:ext cx="1400677" cy="518662"/>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1" name="Rectangle 5">
            <a:extLst>
              <a:ext uri="{FF2B5EF4-FFF2-40B4-BE49-F238E27FC236}">
                <a16:creationId xmlns:a16="http://schemas.microsoft.com/office/drawing/2014/main" id="{26A09F49-1E75-5FA2-7FCE-7166D389CEA9}"/>
              </a:ext>
            </a:extLst>
          </p:cNvPr>
          <p:cNvSpPr>
            <a:spLocks noChangeArrowheads="1"/>
          </p:cNvSpPr>
          <p:nvPr/>
        </p:nvSpPr>
        <p:spPr bwMode="gray">
          <a:xfrm>
            <a:off x="5490864" y="5299840"/>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基盤開発</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32" name="コネクタ: カギ線 31">
            <a:extLst>
              <a:ext uri="{FF2B5EF4-FFF2-40B4-BE49-F238E27FC236}">
                <a16:creationId xmlns:a16="http://schemas.microsoft.com/office/drawing/2014/main" id="{E759765E-E000-B6F8-7FD9-0B57C3A2ABBD}"/>
              </a:ext>
            </a:extLst>
          </p:cNvPr>
          <p:cNvCxnSpPr>
            <a:cxnSpLocks/>
            <a:stCxn id="24" idx="1"/>
          </p:cNvCxnSpPr>
          <p:nvPr/>
        </p:nvCxnSpPr>
        <p:spPr>
          <a:xfrm rot="10800000">
            <a:off x="1988736" y="3386693"/>
            <a:ext cx="245133" cy="1555734"/>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Rectangle 75">
            <a:extLst>
              <a:ext uri="{FF2B5EF4-FFF2-40B4-BE49-F238E27FC236}">
                <a16:creationId xmlns:a16="http://schemas.microsoft.com/office/drawing/2014/main" id="{0B64D96B-A150-F2DE-7473-4CD8D8C60016}"/>
              </a:ext>
            </a:extLst>
          </p:cNvPr>
          <p:cNvSpPr>
            <a:spLocks noChangeArrowheads="1"/>
          </p:cNvSpPr>
          <p:nvPr/>
        </p:nvSpPr>
        <p:spPr bwMode="gray">
          <a:xfrm>
            <a:off x="7039681" y="2896569"/>
            <a:ext cx="1400677" cy="505215"/>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4" name="Rectangle 5">
            <a:extLst>
              <a:ext uri="{FF2B5EF4-FFF2-40B4-BE49-F238E27FC236}">
                <a16:creationId xmlns:a16="http://schemas.microsoft.com/office/drawing/2014/main" id="{A7CA29C7-B260-867A-6467-CB38E6F69C54}"/>
              </a:ext>
            </a:extLst>
          </p:cNvPr>
          <p:cNvSpPr>
            <a:spLocks noChangeArrowheads="1"/>
          </p:cNvSpPr>
          <p:nvPr/>
        </p:nvSpPr>
        <p:spPr bwMode="gray">
          <a:xfrm>
            <a:off x="7039680" y="2626854"/>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WS</a:t>
            </a:r>
            <a:r>
              <a:rPr kumimoji="1"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企画・運営</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35" name="コネクタ: カギ線 34">
            <a:extLst>
              <a:ext uri="{FF2B5EF4-FFF2-40B4-BE49-F238E27FC236}">
                <a16:creationId xmlns:a16="http://schemas.microsoft.com/office/drawing/2014/main" id="{40F97130-3434-E197-FDD8-0A50B799631A}"/>
              </a:ext>
            </a:extLst>
          </p:cNvPr>
          <p:cNvCxnSpPr>
            <a:cxnSpLocks/>
            <a:stCxn id="8" idx="2"/>
            <a:endCxn id="12" idx="0"/>
          </p:cNvCxnSpPr>
          <p:nvPr/>
        </p:nvCxnSpPr>
        <p:spPr>
          <a:xfrm rot="16200000" flipH="1">
            <a:off x="2476715" y="2523000"/>
            <a:ext cx="163130" cy="800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Rectangle 75">
            <a:extLst>
              <a:ext uri="{FF2B5EF4-FFF2-40B4-BE49-F238E27FC236}">
                <a16:creationId xmlns:a16="http://schemas.microsoft.com/office/drawing/2014/main" id="{80884C5C-1F6D-E162-A074-F65661FD98B3}"/>
              </a:ext>
            </a:extLst>
          </p:cNvPr>
          <p:cNvSpPr>
            <a:spLocks noChangeArrowheads="1"/>
          </p:cNvSpPr>
          <p:nvPr/>
        </p:nvSpPr>
        <p:spPr bwMode="gray">
          <a:xfrm>
            <a:off x="8802592" y="2896265"/>
            <a:ext cx="1400677" cy="505215"/>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7" name="Rectangle 5">
            <a:extLst>
              <a:ext uri="{FF2B5EF4-FFF2-40B4-BE49-F238E27FC236}">
                <a16:creationId xmlns:a16="http://schemas.microsoft.com/office/drawing/2014/main" id="{1DE1309E-B0E0-21F8-EF43-640ECB6D56F5}"/>
              </a:ext>
            </a:extLst>
          </p:cNvPr>
          <p:cNvSpPr>
            <a:spLocks noChangeArrowheads="1"/>
          </p:cNvSpPr>
          <p:nvPr/>
        </p:nvSpPr>
        <p:spPr bwMode="gray">
          <a:xfrm>
            <a:off x="8802591" y="2626550"/>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lang="en-US" altLang="ja-JP" sz="1050" b="1">
                <a:solidFill>
                  <a:schemeClr val="bg1"/>
                </a:solidFill>
                <a:latin typeface="Meiryo UI" panose="020B0604030504040204" pitchFamily="50" charset="-128"/>
                <a:ea typeface="Meiryo UI" panose="020B0604030504040204" pitchFamily="50" charset="-128"/>
                <a:cs typeface="Meiryo UI" panose="020B0604030504040204" pitchFamily="50" charset="-128"/>
              </a:rPr>
              <a:t>WS</a:t>
            </a:r>
            <a:r>
              <a:rPr kumimoji="1" lang="ja-JP" altLang="en-US" sz="1050" b="1">
                <a:solidFill>
                  <a:schemeClr val="bg1"/>
                </a:solidFill>
                <a:latin typeface="Meiryo UI" panose="020B0604030504040204" pitchFamily="50" charset="-128"/>
                <a:ea typeface="Meiryo UI" panose="020B0604030504040204" pitchFamily="50" charset="-128"/>
                <a:cs typeface="Meiryo UI" panose="020B0604030504040204" pitchFamily="50" charset="-128"/>
              </a:rPr>
              <a:t>運営支援</a:t>
            </a:r>
          </a:p>
        </p:txBody>
      </p:sp>
      <p:sp>
        <p:nvSpPr>
          <p:cNvPr id="38" name="Rectangle 75">
            <a:extLst>
              <a:ext uri="{FF2B5EF4-FFF2-40B4-BE49-F238E27FC236}">
                <a16:creationId xmlns:a16="http://schemas.microsoft.com/office/drawing/2014/main" id="{F1D12892-50BC-B332-CA0D-537FABFF159B}"/>
              </a:ext>
            </a:extLst>
          </p:cNvPr>
          <p:cNvSpPr>
            <a:spLocks noChangeArrowheads="1"/>
          </p:cNvSpPr>
          <p:nvPr/>
        </p:nvSpPr>
        <p:spPr bwMode="gray">
          <a:xfrm>
            <a:off x="7039682" y="3837422"/>
            <a:ext cx="1400677" cy="505215"/>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9" name="Rectangle 5">
            <a:extLst>
              <a:ext uri="{FF2B5EF4-FFF2-40B4-BE49-F238E27FC236}">
                <a16:creationId xmlns:a16="http://schemas.microsoft.com/office/drawing/2014/main" id="{16E41540-A219-2419-B67C-A2AE13CFB814}"/>
              </a:ext>
            </a:extLst>
          </p:cNvPr>
          <p:cNvSpPr>
            <a:spLocks noChangeArrowheads="1"/>
          </p:cNvSpPr>
          <p:nvPr/>
        </p:nvSpPr>
        <p:spPr bwMode="gray">
          <a:xfrm>
            <a:off x="7039681" y="3567707"/>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WS</a:t>
            </a:r>
            <a:r>
              <a:rPr kumimoji="1"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実行推進</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0" name="Rectangle 75">
            <a:extLst>
              <a:ext uri="{FF2B5EF4-FFF2-40B4-BE49-F238E27FC236}">
                <a16:creationId xmlns:a16="http://schemas.microsoft.com/office/drawing/2014/main" id="{C2888749-FFD2-DC62-AABB-61DFA8B597C7}"/>
              </a:ext>
            </a:extLst>
          </p:cNvPr>
          <p:cNvSpPr>
            <a:spLocks noChangeArrowheads="1"/>
          </p:cNvSpPr>
          <p:nvPr/>
        </p:nvSpPr>
        <p:spPr bwMode="gray">
          <a:xfrm>
            <a:off x="3868423" y="4689375"/>
            <a:ext cx="1400677" cy="518662"/>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1" name="Rectangle 5">
            <a:extLst>
              <a:ext uri="{FF2B5EF4-FFF2-40B4-BE49-F238E27FC236}">
                <a16:creationId xmlns:a16="http://schemas.microsoft.com/office/drawing/2014/main" id="{2249E747-F546-ABD1-FC84-71B243C4B29B}"/>
              </a:ext>
            </a:extLst>
          </p:cNvPr>
          <p:cNvSpPr>
            <a:spLocks noChangeArrowheads="1"/>
          </p:cNvSpPr>
          <p:nvPr/>
        </p:nvSpPr>
        <p:spPr bwMode="gray">
          <a:xfrm>
            <a:off x="3868422" y="4433107"/>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アプリ開発</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42" name="コネクタ: カギ線 41">
            <a:extLst>
              <a:ext uri="{FF2B5EF4-FFF2-40B4-BE49-F238E27FC236}">
                <a16:creationId xmlns:a16="http://schemas.microsoft.com/office/drawing/2014/main" id="{9B4560C3-E523-8803-F24F-44C0F6BB8B8F}"/>
              </a:ext>
            </a:extLst>
          </p:cNvPr>
          <p:cNvCxnSpPr>
            <a:cxnSpLocks/>
            <a:stCxn id="26" idx="1"/>
          </p:cNvCxnSpPr>
          <p:nvPr/>
        </p:nvCxnSpPr>
        <p:spPr>
          <a:xfrm rot="10800000">
            <a:off x="1951448" y="3386693"/>
            <a:ext cx="283727" cy="2415065"/>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コネクタ: カギ線 42">
            <a:extLst>
              <a:ext uri="{FF2B5EF4-FFF2-40B4-BE49-F238E27FC236}">
                <a16:creationId xmlns:a16="http://schemas.microsoft.com/office/drawing/2014/main" id="{C09F7C0D-715C-1DE6-CA70-0114A80EE9E6}"/>
              </a:ext>
            </a:extLst>
          </p:cNvPr>
          <p:cNvCxnSpPr>
            <a:cxnSpLocks/>
            <a:stCxn id="33" idx="2"/>
            <a:endCxn id="39" idx="0"/>
          </p:cNvCxnSpPr>
          <p:nvPr/>
        </p:nvCxnSpPr>
        <p:spPr>
          <a:xfrm rot="5400000">
            <a:off x="7657059" y="3484745"/>
            <a:ext cx="165923" cy="127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Rectangle 75">
            <a:extLst>
              <a:ext uri="{FF2B5EF4-FFF2-40B4-BE49-F238E27FC236}">
                <a16:creationId xmlns:a16="http://schemas.microsoft.com/office/drawing/2014/main" id="{11FC1E08-94B3-8FE9-9E3E-BC734176F0F1}"/>
              </a:ext>
            </a:extLst>
          </p:cNvPr>
          <p:cNvSpPr>
            <a:spLocks noChangeArrowheads="1"/>
          </p:cNvSpPr>
          <p:nvPr/>
        </p:nvSpPr>
        <p:spPr bwMode="gray">
          <a:xfrm>
            <a:off x="8799878" y="3840574"/>
            <a:ext cx="1400677" cy="505215"/>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5" name="Rectangle 5">
            <a:extLst>
              <a:ext uri="{FF2B5EF4-FFF2-40B4-BE49-F238E27FC236}">
                <a16:creationId xmlns:a16="http://schemas.microsoft.com/office/drawing/2014/main" id="{A34458C2-FB11-5CAF-BCC4-3B2308FFD976}"/>
              </a:ext>
            </a:extLst>
          </p:cNvPr>
          <p:cNvSpPr>
            <a:spLocks noChangeArrowheads="1"/>
          </p:cNvSpPr>
          <p:nvPr/>
        </p:nvSpPr>
        <p:spPr bwMode="gray">
          <a:xfrm>
            <a:off x="8799877" y="3570859"/>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lang="en-US" altLang="ja-JP" sz="1050" b="1">
                <a:solidFill>
                  <a:schemeClr val="bg1"/>
                </a:solidFill>
                <a:latin typeface="Meiryo UI" panose="020B0604030504040204" pitchFamily="50" charset="-128"/>
                <a:ea typeface="Meiryo UI" panose="020B0604030504040204" pitchFamily="50" charset="-128"/>
                <a:cs typeface="Meiryo UI" panose="020B0604030504040204" pitchFamily="50" charset="-128"/>
              </a:rPr>
              <a:t>WS</a:t>
            </a:r>
            <a:r>
              <a:rPr kumimoji="1" lang="ja-JP" altLang="en-US" sz="1050" b="1">
                <a:solidFill>
                  <a:schemeClr val="bg1"/>
                </a:solidFill>
                <a:latin typeface="Meiryo UI" panose="020B0604030504040204" pitchFamily="50" charset="-128"/>
                <a:ea typeface="Meiryo UI" panose="020B0604030504040204" pitchFamily="50" charset="-128"/>
                <a:cs typeface="Meiryo UI" panose="020B0604030504040204" pitchFamily="50" charset="-128"/>
              </a:rPr>
              <a:t>運営支援</a:t>
            </a:r>
          </a:p>
        </p:txBody>
      </p:sp>
      <p:sp>
        <p:nvSpPr>
          <p:cNvPr id="46" name="Rectangle 75">
            <a:extLst>
              <a:ext uri="{FF2B5EF4-FFF2-40B4-BE49-F238E27FC236}">
                <a16:creationId xmlns:a16="http://schemas.microsoft.com/office/drawing/2014/main" id="{EAE7E9A2-9C75-5C55-3083-CF8CFC02DB28}"/>
              </a:ext>
            </a:extLst>
          </p:cNvPr>
          <p:cNvSpPr>
            <a:spLocks noChangeArrowheads="1"/>
          </p:cNvSpPr>
          <p:nvPr/>
        </p:nvSpPr>
        <p:spPr bwMode="gray">
          <a:xfrm>
            <a:off x="8799878" y="4801123"/>
            <a:ext cx="1400677" cy="505215"/>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7" name="Rectangle 5">
            <a:extLst>
              <a:ext uri="{FF2B5EF4-FFF2-40B4-BE49-F238E27FC236}">
                <a16:creationId xmlns:a16="http://schemas.microsoft.com/office/drawing/2014/main" id="{A43E12AD-B2EB-E739-14BE-B941DFF7D18A}"/>
              </a:ext>
            </a:extLst>
          </p:cNvPr>
          <p:cNvSpPr>
            <a:spLocks noChangeArrowheads="1"/>
          </p:cNvSpPr>
          <p:nvPr/>
        </p:nvSpPr>
        <p:spPr bwMode="gray">
          <a:xfrm>
            <a:off x="8799877" y="4531408"/>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lang="en-US" altLang="ja-JP" sz="1050" b="1">
                <a:solidFill>
                  <a:schemeClr val="bg1"/>
                </a:solidFill>
                <a:latin typeface="Meiryo UI" panose="020B0604030504040204" pitchFamily="50" charset="-128"/>
                <a:ea typeface="Meiryo UI" panose="020B0604030504040204" pitchFamily="50" charset="-128"/>
                <a:cs typeface="Meiryo UI" panose="020B0604030504040204" pitchFamily="50" charset="-128"/>
              </a:rPr>
              <a:t>WS</a:t>
            </a:r>
            <a:r>
              <a:rPr kumimoji="1" lang="ja-JP" altLang="en-US" sz="1050" b="1">
                <a:solidFill>
                  <a:schemeClr val="bg1"/>
                </a:solidFill>
                <a:latin typeface="Meiryo UI" panose="020B0604030504040204" pitchFamily="50" charset="-128"/>
                <a:ea typeface="Meiryo UI" panose="020B0604030504040204" pitchFamily="50" charset="-128"/>
                <a:cs typeface="Meiryo UI" panose="020B0604030504040204" pitchFamily="50" charset="-128"/>
              </a:rPr>
              <a:t>運営支援</a:t>
            </a:r>
          </a:p>
        </p:txBody>
      </p:sp>
      <p:sp>
        <p:nvSpPr>
          <p:cNvPr id="48" name="Rectangle 75">
            <a:extLst>
              <a:ext uri="{FF2B5EF4-FFF2-40B4-BE49-F238E27FC236}">
                <a16:creationId xmlns:a16="http://schemas.microsoft.com/office/drawing/2014/main" id="{C80863E0-C0EC-A8A5-0450-8E2D5C9CF665}"/>
              </a:ext>
            </a:extLst>
          </p:cNvPr>
          <p:cNvSpPr>
            <a:spLocks noChangeArrowheads="1"/>
          </p:cNvSpPr>
          <p:nvPr/>
        </p:nvSpPr>
        <p:spPr bwMode="gray">
          <a:xfrm>
            <a:off x="7039681" y="4788511"/>
            <a:ext cx="1400677" cy="505215"/>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9" name="Rectangle 5">
            <a:extLst>
              <a:ext uri="{FF2B5EF4-FFF2-40B4-BE49-F238E27FC236}">
                <a16:creationId xmlns:a16="http://schemas.microsoft.com/office/drawing/2014/main" id="{A0D0579C-20A3-6CB7-7884-53E4873AFC1C}"/>
              </a:ext>
            </a:extLst>
          </p:cNvPr>
          <p:cNvSpPr>
            <a:spLocks noChangeArrowheads="1"/>
          </p:cNvSpPr>
          <p:nvPr/>
        </p:nvSpPr>
        <p:spPr bwMode="gray">
          <a:xfrm>
            <a:off x="7039680" y="4518796"/>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WS</a:t>
            </a:r>
            <a:r>
              <a:rPr kumimoji="1"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実行推進</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0" name="コネクタ: カギ線 49">
            <a:extLst>
              <a:ext uri="{FF2B5EF4-FFF2-40B4-BE49-F238E27FC236}">
                <a16:creationId xmlns:a16="http://schemas.microsoft.com/office/drawing/2014/main" id="{70D243EA-17DF-865D-55F4-DDB86E3FC409}"/>
              </a:ext>
            </a:extLst>
          </p:cNvPr>
          <p:cNvCxnSpPr>
            <a:cxnSpLocks/>
            <a:stCxn id="38" idx="2"/>
            <a:endCxn id="49" idx="0"/>
          </p:cNvCxnSpPr>
          <p:nvPr/>
        </p:nvCxnSpPr>
        <p:spPr>
          <a:xfrm rot="5400000">
            <a:off x="7651941" y="4430715"/>
            <a:ext cx="176159" cy="2"/>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コネクタ: カギ線 50">
            <a:extLst>
              <a:ext uri="{FF2B5EF4-FFF2-40B4-BE49-F238E27FC236}">
                <a16:creationId xmlns:a16="http://schemas.microsoft.com/office/drawing/2014/main" id="{89F55B38-D3AD-5356-0792-1365F2725CD9}"/>
              </a:ext>
            </a:extLst>
          </p:cNvPr>
          <p:cNvCxnSpPr>
            <a:cxnSpLocks/>
            <a:stCxn id="44" idx="2"/>
            <a:endCxn id="47" idx="0"/>
          </p:cNvCxnSpPr>
          <p:nvPr/>
        </p:nvCxnSpPr>
        <p:spPr>
          <a:xfrm rot="5400000">
            <a:off x="9407408" y="4438598"/>
            <a:ext cx="185619" cy="1"/>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コネクタ: カギ線 51">
            <a:extLst>
              <a:ext uri="{FF2B5EF4-FFF2-40B4-BE49-F238E27FC236}">
                <a16:creationId xmlns:a16="http://schemas.microsoft.com/office/drawing/2014/main" id="{66B9DD1B-C64B-4F75-5CF8-B98CD9A23B09}"/>
              </a:ext>
            </a:extLst>
          </p:cNvPr>
          <p:cNvCxnSpPr>
            <a:cxnSpLocks/>
            <a:stCxn id="37" idx="0"/>
            <a:endCxn id="8" idx="3"/>
          </p:cNvCxnSpPr>
          <p:nvPr/>
        </p:nvCxnSpPr>
        <p:spPr>
          <a:xfrm rot="16200000" flipV="1">
            <a:off x="6157286" y="-719094"/>
            <a:ext cx="442972" cy="6248316"/>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コネクタ: カギ線 52">
            <a:extLst>
              <a:ext uri="{FF2B5EF4-FFF2-40B4-BE49-F238E27FC236}">
                <a16:creationId xmlns:a16="http://schemas.microsoft.com/office/drawing/2014/main" id="{BE418135-FB4D-DCAA-9BF1-13BC0FEA9AAB}"/>
              </a:ext>
            </a:extLst>
          </p:cNvPr>
          <p:cNvCxnSpPr>
            <a:cxnSpLocks/>
            <a:stCxn id="33" idx="3"/>
            <a:endCxn id="36" idx="1"/>
          </p:cNvCxnSpPr>
          <p:nvPr/>
        </p:nvCxnSpPr>
        <p:spPr>
          <a:xfrm flipV="1">
            <a:off x="8440358" y="3148873"/>
            <a:ext cx="362234" cy="304"/>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Rectangle 75">
            <a:extLst>
              <a:ext uri="{FF2B5EF4-FFF2-40B4-BE49-F238E27FC236}">
                <a16:creationId xmlns:a16="http://schemas.microsoft.com/office/drawing/2014/main" id="{257CE3ED-27EF-8BB9-8AC6-A65A773D1B5F}"/>
              </a:ext>
            </a:extLst>
          </p:cNvPr>
          <p:cNvSpPr>
            <a:spLocks noChangeArrowheads="1"/>
          </p:cNvSpPr>
          <p:nvPr/>
        </p:nvSpPr>
        <p:spPr bwMode="gray">
          <a:xfrm>
            <a:off x="10384520" y="1964717"/>
            <a:ext cx="1400677" cy="505215"/>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5" name="Rectangle 5">
            <a:extLst>
              <a:ext uri="{FF2B5EF4-FFF2-40B4-BE49-F238E27FC236}">
                <a16:creationId xmlns:a16="http://schemas.microsoft.com/office/drawing/2014/main" id="{3A150D87-5B38-9F6A-05D1-4FD2C26D10CF}"/>
              </a:ext>
            </a:extLst>
          </p:cNvPr>
          <p:cNvSpPr>
            <a:spLocks noChangeArrowheads="1"/>
          </p:cNvSpPr>
          <p:nvPr/>
        </p:nvSpPr>
        <p:spPr bwMode="gray">
          <a:xfrm>
            <a:off x="10384519" y="1695002"/>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WS</a:t>
            </a:r>
            <a:r>
              <a:rPr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主催</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6" name="Rectangle 75">
            <a:extLst>
              <a:ext uri="{FF2B5EF4-FFF2-40B4-BE49-F238E27FC236}">
                <a16:creationId xmlns:a16="http://schemas.microsoft.com/office/drawing/2014/main" id="{E7A256B4-413F-307C-5439-6870A4ACBCED}"/>
              </a:ext>
            </a:extLst>
          </p:cNvPr>
          <p:cNvSpPr>
            <a:spLocks noChangeArrowheads="1"/>
          </p:cNvSpPr>
          <p:nvPr/>
        </p:nvSpPr>
        <p:spPr bwMode="gray">
          <a:xfrm>
            <a:off x="10384519" y="2866014"/>
            <a:ext cx="1400677" cy="505215"/>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7" name="Rectangle 5">
            <a:extLst>
              <a:ext uri="{FF2B5EF4-FFF2-40B4-BE49-F238E27FC236}">
                <a16:creationId xmlns:a16="http://schemas.microsoft.com/office/drawing/2014/main" id="{7FADCBDB-26FF-BE72-8F14-BA953AD29C27}"/>
              </a:ext>
            </a:extLst>
          </p:cNvPr>
          <p:cNvSpPr>
            <a:spLocks noChangeArrowheads="1"/>
          </p:cNvSpPr>
          <p:nvPr/>
        </p:nvSpPr>
        <p:spPr bwMode="gray">
          <a:xfrm>
            <a:off x="10384518" y="2596299"/>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lang="en-US" altLang="ja-JP"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Decidim</a:t>
            </a:r>
            <a:r>
              <a:rPr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担当</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8" name="テキスト ボックス 57">
            <a:extLst>
              <a:ext uri="{FF2B5EF4-FFF2-40B4-BE49-F238E27FC236}">
                <a16:creationId xmlns:a16="http://schemas.microsoft.com/office/drawing/2014/main" id="{C9BFE387-081A-F493-758E-0F6BD91A7288}"/>
              </a:ext>
            </a:extLst>
          </p:cNvPr>
          <p:cNvSpPr txBox="1"/>
          <p:nvPr/>
        </p:nvSpPr>
        <p:spPr>
          <a:xfrm>
            <a:off x="11219579" y="1257150"/>
            <a:ext cx="914400" cy="914400"/>
          </a:xfrm>
          <a:prstGeom prst="rect">
            <a:avLst/>
          </a:prstGeom>
          <a:noFill/>
        </p:spPr>
        <p:txBody>
          <a:bodyPr wrap="none" rtlCol="0">
            <a:noAutofit/>
          </a:bodyPr>
          <a:lstStyle/>
          <a:p>
            <a:pPr algn="l"/>
            <a:r>
              <a:rPr kumimoji="1" lang="ja-JP" altLang="en-US" sz="1100">
                <a:latin typeface="+mn-ea"/>
                <a:ea typeface="+mn-ea"/>
              </a:rPr>
              <a:t>敬称略</a:t>
            </a:r>
          </a:p>
        </p:txBody>
      </p:sp>
      <p:sp>
        <p:nvSpPr>
          <p:cNvPr id="59" name="Rectangle 75">
            <a:extLst>
              <a:ext uri="{FF2B5EF4-FFF2-40B4-BE49-F238E27FC236}">
                <a16:creationId xmlns:a16="http://schemas.microsoft.com/office/drawing/2014/main" id="{814DB610-F1B5-FED4-96F6-356A96984752}"/>
              </a:ext>
            </a:extLst>
          </p:cNvPr>
          <p:cNvSpPr>
            <a:spLocks noChangeArrowheads="1"/>
          </p:cNvSpPr>
          <p:nvPr/>
        </p:nvSpPr>
        <p:spPr bwMode="gray">
          <a:xfrm>
            <a:off x="10398430" y="3763632"/>
            <a:ext cx="1400677" cy="505215"/>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0" name="Rectangle 5">
            <a:extLst>
              <a:ext uri="{FF2B5EF4-FFF2-40B4-BE49-F238E27FC236}">
                <a16:creationId xmlns:a16="http://schemas.microsoft.com/office/drawing/2014/main" id="{3FBE18F8-DF94-8BCA-4933-9DC0688EE117}"/>
              </a:ext>
            </a:extLst>
          </p:cNvPr>
          <p:cNvSpPr>
            <a:spLocks noChangeArrowheads="1"/>
          </p:cNvSpPr>
          <p:nvPr/>
        </p:nvSpPr>
        <p:spPr bwMode="gray">
          <a:xfrm>
            <a:off x="10398429" y="3493917"/>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lang="en-US" altLang="ja-JP"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FIWARE</a:t>
            </a:r>
            <a:r>
              <a:rPr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担当</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61" name="コネクタ: カギ線 60">
            <a:extLst>
              <a:ext uri="{FF2B5EF4-FFF2-40B4-BE49-F238E27FC236}">
                <a16:creationId xmlns:a16="http://schemas.microsoft.com/office/drawing/2014/main" id="{8294B53B-40A2-5BE4-9CB0-796238DAF687}"/>
              </a:ext>
            </a:extLst>
          </p:cNvPr>
          <p:cNvCxnSpPr>
            <a:cxnSpLocks/>
            <a:stCxn id="59" idx="3"/>
            <a:endCxn id="54" idx="3"/>
          </p:cNvCxnSpPr>
          <p:nvPr/>
        </p:nvCxnSpPr>
        <p:spPr>
          <a:xfrm flipH="1" flipV="1">
            <a:off x="11785197" y="2217325"/>
            <a:ext cx="13910" cy="1798915"/>
          </a:xfrm>
          <a:prstGeom prst="bentConnector3">
            <a:avLst>
              <a:gd name="adj1" fmla="val -164342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コネクタ: カギ線 61">
            <a:extLst>
              <a:ext uri="{FF2B5EF4-FFF2-40B4-BE49-F238E27FC236}">
                <a16:creationId xmlns:a16="http://schemas.microsoft.com/office/drawing/2014/main" id="{535A823C-A292-AD77-1929-6FC5127AA2E1}"/>
              </a:ext>
            </a:extLst>
          </p:cNvPr>
          <p:cNvCxnSpPr>
            <a:cxnSpLocks/>
            <a:stCxn id="56" idx="3"/>
            <a:endCxn id="54" idx="3"/>
          </p:cNvCxnSpPr>
          <p:nvPr/>
        </p:nvCxnSpPr>
        <p:spPr>
          <a:xfrm flipV="1">
            <a:off x="11785196" y="2217325"/>
            <a:ext cx="1" cy="901297"/>
          </a:xfrm>
          <a:prstGeom prst="bentConnector3">
            <a:avLst>
              <a:gd name="adj1" fmla="val 2286010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テキスト ボックス 62">
            <a:extLst>
              <a:ext uri="{FF2B5EF4-FFF2-40B4-BE49-F238E27FC236}">
                <a16:creationId xmlns:a16="http://schemas.microsoft.com/office/drawing/2014/main" id="{7C6B3982-F0AE-8DE6-BAA9-70D33CDCF18C}"/>
              </a:ext>
            </a:extLst>
          </p:cNvPr>
          <p:cNvSpPr txBox="1"/>
          <p:nvPr/>
        </p:nvSpPr>
        <p:spPr>
          <a:xfrm>
            <a:off x="2940474" y="2820813"/>
            <a:ext cx="6311051" cy="1984269"/>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前項のアサインメンバーを組織図で表してください​。</a:t>
            </a:r>
          </a:p>
        </p:txBody>
      </p:sp>
    </p:spTree>
    <p:extLst>
      <p:ext uri="{BB962C8B-B14F-4D97-AF65-F5344CB8AC3E}">
        <p14:creationId xmlns:p14="http://schemas.microsoft.com/office/powerpoint/2010/main" val="107579354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243FF5B-2F65-6662-CEDF-EC47912AAF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12" imgH="511" progId="TCLayout.ActiveDocument.1">
                  <p:embed/>
                </p:oleObj>
              </mc:Choice>
              <mc:Fallback>
                <p:oleObj name="think-cell スライド" r:id="rId3" imgW="512" imgH="511" progId="TCLayout.ActiveDocument.1">
                  <p:embed/>
                  <p:pic>
                    <p:nvPicPr>
                      <p:cNvPr id="5" name="think-cell data - do not delete" hidden="1">
                        <a:extLst>
                          <a:ext uri="{FF2B5EF4-FFF2-40B4-BE49-F238E27FC236}">
                            <a16:creationId xmlns:a16="http://schemas.microsoft.com/office/drawing/2014/main" id="{A243FF5B-2F65-6662-CEDF-EC47912AAF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3889FB1B-DE63-B6FC-8D02-5D400D923577}"/>
              </a:ext>
            </a:extLst>
          </p:cNvPr>
          <p:cNvSpPr>
            <a:spLocks noGrp="1"/>
          </p:cNvSpPr>
          <p:nvPr>
            <p:ph type="body" sz="quarter" idx="36"/>
          </p:nvPr>
        </p:nvSpPr>
        <p:spPr/>
        <p:txBody>
          <a:bodyPr/>
          <a:lstStyle/>
          <a:p>
            <a:r>
              <a:rPr lang="en-US" altLang="ja-JP"/>
              <a:t>Ⅵ. </a:t>
            </a:r>
            <a:r>
              <a:rPr lang="ja-JP" altLang="en-US"/>
              <a:t>マネジメント計画</a:t>
            </a:r>
          </a:p>
        </p:txBody>
      </p:sp>
      <p:sp>
        <p:nvSpPr>
          <p:cNvPr id="4" name="タイトル 3">
            <a:extLst>
              <a:ext uri="{FF2B5EF4-FFF2-40B4-BE49-F238E27FC236}">
                <a16:creationId xmlns:a16="http://schemas.microsoft.com/office/drawing/2014/main" id="{12C53150-040F-52DA-C62A-71223FB5EBC3}"/>
              </a:ext>
            </a:extLst>
          </p:cNvPr>
          <p:cNvSpPr>
            <a:spLocks noGrp="1"/>
          </p:cNvSpPr>
          <p:nvPr>
            <p:ph type="title"/>
          </p:nvPr>
        </p:nvSpPr>
        <p:spPr/>
        <p:txBody>
          <a:bodyPr vert="horz"/>
          <a:lstStyle/>
          <a:p>
            <a:r>
              <a:rPr lang="en-US" altLang="ja-JP"/>
              <a:t>4.</a:t>
            </a:r>
            <a:r>
              <a:rPr lang="ja-JP" altLang="en-US"/>
              <a:t>コミュニケーション（</a:t>
            </a:r>
            <a:r>
              <a:rPr lang="en-US" altLang="ja-JP"/>
              <a:t>WBS</a:t>
            </a:r>
            <a:r>
              <a:rPr lang="ja-JP" altLang="en-US"/>
              <a:t>ガントチャート）</a:t>
            </a:r>
            <a:endParaRPr kumimoji="1" lang="ja-JP" altLang="en-US"/>
          </a:p>
        </p:txBody>
      </p:sp>
      <p:graphicFrame>
        <p:nvGraphicFramePr>
          <p:cNvPr id="2" name="表 7">
            <a:extLst>
              <a:ext uri="{FF2B5EF4-FFF2-40B4-BE49-F238E27FC236}">
                <a16:creationId xmlns:a16="http://schemas.microsoft.com/office/drawing/2014/main" id="{F9E0DDCD-6644-BE19-62E5-D3AB6A2D7C99}"/>
              </a:ext>
            </a:extLst>
          </p:cNvPr>
          <p:cNvGraphicFramePr>
            <a:graphicFrameLocks noGrp="1"/>
          </p:cNvGraphicFramePr>
          <p:nvPr>
            <p:extLst>
              <p:ext uri="{D42A27DB-BD31-4B8C-83A1-F6EECF244321}">
                <p14:modId xmlns:p14="http://schemas.microsoft.com/office/powerpoint/2010/main" val="3658037777"/>
              </p:ext>
            </p:extLst>
          </p:nvPr>
        </p:nvGraphicFramePr>
        <p:xfrm>
          <a:off x="292100" y="1315811"/>
          <a:ext cx="11595097" cy="4886832"/>
        </p:xfrm>
        <a:graphic>
          <a:graphicData uri="http://schemas.openxmlformats.org/drawingml/2006/table">
            <a:tbl>
              <a:tblPr>
                <a:tableStyleId>{5C22544A-7EE6-4342-B048-85BDC9FD1C3A}</a:tableStyleId>
              </a:tblPr>
              <a:tblGrid>
                <a:gridCol w="1149452">
                  <a:extLst>
                    <a:ext uri="{9D8B030D-6E8A-4147-A177-3AD203B41FA5}">
                      <a16:colId xmlns:a16="http://schemas.microsoft.com/office/drawing/2014/main" val="1942113200"/>
                    </a:ext>
                  </a:extLst>
                </a:gridCol>
                <a:gridCol w="2089129">
                  <a:extLst>
                    <a:ext uri="{9D8B030D-6E8A-4147-A177-3AD203B41FA5}">
                      <a16:colId xmlns:a16="http://schemas.microsoft.com/office/drawing/2014/main" val="1115002749"/>
                    </a:ext>
                  </a:extLst>
                </a:gridCol>
                <a:gridCol w="2089129">
                  <a:extLst>
                    <a:ext uri="{9D8B030D-6E8A-4147-A177-3AD203B41FA5}">
                      <a16:colId xmlns:a16="http://schemas.microsoft.com/office/drawing/2014/main" val="4180606030"/>
                    </a:ext>
                  </a:extLst>
                </a:gridCol>
                <a:gridCol w="2089129">
                  <a:extLst>
                    <a:ext uri="{9D8B030D-6E8A-4147-A177-3AD203B41FA5}">
                      <a16:colId xmlns:a16="http://schemas.microsoft.com/office/drawing/2014/main" val="295045662"/>
                    </a:ext>
                  </a:extLst>
                </a:gridCol>
                <a:gridCol w="2089129">
                  <a:extLst>
                    <a:ext uri="{9D8B030D-6E8A-4147-A177-3AD203B41FA5}">
                      <a16:colId xmlns:a16="http://schemas.microsoft.com/office/drawing/2014/main" val="1508992956"/>
                    </a:ext>
                  </a:extLst>
                </a:gridCol>
                <a:gridCol w="2089129">
                  <a:extLst>
                    <a:ext uri="{9D8B030D-6E8A-4147-A177-3AD203B41FA5}">
                      <a16:colId xmlns:a16="http://schemas.microsoft.com/office/drawing/2014/main" val="1128553473"/>
                    </a:ext>
                  </a:extLst>
                </a:gridCol>
              </a:tblGrid>
              <a:tr h="574060">
                <a:tc>
                  <a:txBody>
                    <a:bodyPr/>
                    <a:lstStyle/>
                    <a:p>
                      <a:pPr algn="ctr"/>
                      <a:r>
                        <a:rPr kumimoji="1" lang="ja-JP" altLang="en-US" sz="1400" b="1">
                          <a:latin typeface="Meiryo UI" panose="020B0604030504040204" pitchFamily="50" charset="-128"/>
                          <a:ea typeface="Meiryo UI" panose="020B0604030504040204" pitchFamily="50" charset="-128"/>
                        </a:rPr>
                        <a:t>項目</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キックオフ</a:t>
                      </a: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p>
                    <a:p>
                      <a:pPr algn="ct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実施計画書確認会</a:t>
                      </a:r>
                      <a:endParaRPr kumimoji="1" lang="ja-JP" altLang="en-US" sz="1400" b="1">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要件定義確認会</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実証計画確認会</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実証立ち合い</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スコープ調整の相談</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9378519"/>
                  </a:ext>
                </a:extLst>
              </a:tr>
              <a:tr h="337682">
                <a:tc>
                  <a:txBody>
                    <a:bodyPr/>
                    <a:lstStyle/>
                    <a:p>
                      <a:r>
                        <a:rPr kumimoji="1" lang="ja-JP" altLang="en-US" sz="1400">
                          <a:latin typeface="Meiryo UI" panose="020B0604030504040204" pitchFamily="50" charset="-128"/>
                          <a:ea typeface="Meiryo UI" panose="020B0604030504040204" pitchFamily="50" charset="-128"/>
                        </a:rPr>
                        <a:t>想定時期</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4/11,19</a:t>
                      </a:r>
                      <a:endParaRPr kumimoji="1" lang="ja-JP" altLang="en-US"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6</a:t>
                      </a:r>
                      <a:r>
                        <a:rPr kumimoji="1" lang="ja-JP" altLang="en-US"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月下旬</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7</a:t>
                      </a:r>
                      <a:r>
                        <a:rPr kumimoji="1" lang="ja-JP" altLang="en-US"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月中旬</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7</a:t>
                      </a:r>
                      <a:r>
                        <a:rPr kumimoji="1" lang="ja-JP" altLang="en-US"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月下旬～</a:t>
                      </a:r>
                      <a:r>
                        <a:rPr kumimoji="1" lang="en-US" altLang="ja-JP"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11</a:t>
                      </a:r>
                      <a:r>
                        <a:rPr kumimoji="1" lang="ja-JP" altLang="en-US"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400">
                          <a:solidFill>
                            <a:srgbClr val="0070C0"/>
                          </a:solidFill>
                          <a:latin typeface="Meiryo UI" panose="020B0604030504040204" pitchFamily="50" charset="-128"/>
                          <a:ea typeface="Meiryo UI" panose="020B0604030504040204" pitchFamily="50" charset="-128"/>
                        </a:rPr>
                        <a:t>必要に応じて設定</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94776207"/>
                  </a:ext>
                </a:extLst>
              </a:tr>
              <a:tr h="1879606">
                <a:tc>
                  <a:txBody>
                    <a:bodyPr/>
                    <a:lstStyle/>
                    <a:p>
                      <a:r>
                        <a:rPr kumimoji="1" lang="ja-JP" altLang="en-US" sz="1400">
                          <a:latin typeface="Meiryo UI" panose="020B0604030504040204" pitchFamily="50" charset="-128"/>
                          <a:ea typeface="Meiryo UI" panose="020B0604030504040204" pitchFamily="50" charset="-128"/>
                        </a:rPr>
                        <a:t>出席者</a:t>
                      </a:r>
                      <a:br>
                        <a:rPr kumimoji="1" lang="en-US" altLang="ja-JP" sz="1400">
                          <a:latin typeface="Meiryo UI" panose="020B0604030504040204" pitchFamily="50" charset="-128"/>
                          <a:ea typeface="Meiryo UI" panose="020B0604030504040204" pitchFamily="50" charset="-128"/>
                        </a:rPr>
                      </a:br>
                      <a:r>
                        <a:rPr kumimoji="1" lang="ja-JP" altLang="en-US" sz="1400">
                          <a:latin typeface="Meiryo UI" panose="020B0604030504040204" pitchFamily="50" charset="-128"/>
                          <a:ea typeface="Meiryo UI" panose="020B0604030504040204" pitchFamily="50" charset="-128"/>
                        </a:rPr>
                        <a:t>（社名）</a:t>
                      </a:r>
                      <a:endParaRPr kumimoji="1" lang="en-US" altLang="ja-JP" sz="140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03200" marR="0" lvl="0" indent="-203200" algn="l" defTabSz="742950" rtl="0" eaLnBrk="1" fontAlgn="auto" latinLnBrk="0" hangingPunct="1">
                        <a:lnSpc>
                          <a:spcPct val="100000"/>
                        </a:lnSpc>
                        <a:spcBef>
                          <a:spcPts val="0"/>
                        </a:spcBef>
                        <a:spcAft>
                          <a:spcPts val="0"/>
                        </a:spcAft>
                        <a:buClrTx/>
                        <a:buSzTx/>
                        <a:buFontTx/>
                        <a:buChar char="•"/>
                        <a:tabLst/>
                        <a:defRPr/>
                      </a:pPr>
                      <a:r>
                        <a:rPr kumimoji="1" lang="ja-JP" altLang="en-US"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国土交通省モビ課</a:t>
                      </a:r>
                      <a:endParaRPr kumimoji="1" lang="ja-JP" altLang="en-US" sz="1400">
                        <a:solidFill>
                          <a:srgbClr val="0070C0"/>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03200" marR="0" lvl="0" indent="-203200" algn="l" defTabSz="742950" rtl="0" eaLnBrk="1" fontAlgn="auto" latinLnBrk="0" hangingPunct="1">
                        <a:lnSpc>
                          <a:spcPct val="100000"/>
                        </a:lnSpc>
                        <a:spcBef>
                          <a:spcPts val="0"/>
                        </a:spcBef>
                        <a:spcAft>
                          <a:spcPts val="0"/>
                        </a:spcAft>
                        <a:buClrTx/>
                        <a:buSzTx/>
                        <a:buFontTx/>
                        <a:buChar char="•"/>
                        <a:tabLst/>
                        <a:defRPr/>
                      </a:pPr>
                      <a:r>
                        <a:rPr kumimoji="1" lang="en-US" altLang="ja-JP"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AAA</a:t>
                      </a:r>
                    </a:p>
                    <a:p>
                      <a:pPr marL="203200" marR="0" lvl="0" indent="-203200" algn="l" defTabSz="742950" rtl="0" eaLnBrk="1" fontAlgn="auto" latinLnBrk="0" hangingPunct="1">
                        <a:lnSpc>
                          <a:spcPct val="100000"/>
                        </a:lnSpc>
                        <a:spcBef>
                          <a:spcPts val="0"/>
                        </a:spcBef>
                        <a:spcAft>
                          <a:spcPts val="0"/>
                        </a:spcAft>
                        <a:buClrTx/>
                        <a:buSzTx/>
                        <a:buFontTx/>
                        <a:buChar char="•"/>
                        <a:tabLst/>
                        <a:defRPr/>
                      </a:pPr>
                      <a:r>
                        <a:rPr kumimoji="1" lang="en-US" altLang="ja-JP"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BBB</a:t>
                      </a:r>
                      <a:endParaRPr kumimoji="1" lang="ja-JP" altLang="en-US" sz="1400">
                        <a:solidFill>
                          <a:srgbClr val="0070C0"/>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03200" marR="0" lvl="0" indent="-203200" algn="l" defTabSz="742950" rtl="0" eaLnBrk="1" fontAlgn="auto" latinLnBrk="0" hangingPunct="1">
                        <a:lnSpc>
                          <a:spcPct val="100000"/>
                        </a:lnSpc>
                        <a:spcBef>
                          <a:spcPts val="0"/>
                        </a:spcBef>
                        <a:spcAft>
                          <a:spcPts val="0"/>
                        </a:spcAft>
                        <a:buClrTx/>
                        <a:buSzTx/>
                        <a:buFontTx/>
                        <a:buChar char="•"/>
                        <a:tabLst/>
                        <a:defRPr/>
                      </a:pPr>
                      <a:r>
                        <a:rPr kumimoji="1" lang="en-US" altLang="ja-JP"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AAA</a:t>
                      </a:r>
                    </a:p>
                    <a:p>
                      <a:pPr marL="203200" marR="0" lvl="0" indent="-203200" algn="l" defTabSz="742950" rtl="0" eaLnBrk="1" fontAlgn="auto" latinLnBrk="0" hangingPunct="1">
                        <a:lnSpc>
                          <a:spcPct val="100000"/>
                        </a:lnSpc>
                        <a:spcBef>
                          <a:spcPts val="0"/>
                        </a:spcBef>
                        <a:spcAft>
                          <a:spcPts val="0"/>
                        </a:spcAft>
                        <a:buClrTx/>
                        <a:buSzTx/>
                        <a:buFontTx/>
                        <a:buChar char="•"/>
                        <a:tabLst/>
                        <a:defRPr/>
                      </a:pPr>
                      <a:r>
                        <a:rPr kumimoji="1" lang="en-US" altLang="ja-JP"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BBB</a:t>
                      </a:r>
                      <a:endParaRPr kumimoji="1" lang="ja-JP" altLang="en-US" sz="1400">
                        <a:solidFill>
                          <a:srgbClr val="0070C0"/>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03200" marR="0" lvl="0" indent="-203200" algn="l" defTabSz="742950" rtl="0" eaLnBrk="1" fontAlgn="auto" latinLnBrk="0" hangingPunct="1">
                        <a:lnSpc>
                          <a:spcPct val="100000"/>
                        </a:lnSpc>
                        <a:spcBef>
                          <a:spcPts val="0"/>
                        </a:spcBef>
                        <a:spcAft>
                          <a:spcPts val="0"/>
                        </a:spcAft>
                        <a:buClrTx/>
                        <a:buSzTx/>
                        <a:buFontTx/>
                        <a:buChar char="•"/>
                        <a:tabLst/>
                        <a:defRPr/>
                      </a:pPr>
                      <a:r>
                        <a:rPr kumimoji="1" lang="en-US" altLang="ja-JP"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AAA</a:t>
                      </a:r>
                    </a:p>
                    <a:p>
                      <a:pPr marL="203200" marR="0" lvl="0" indent="-203200" algn="l" defTabSz="742950" rtl="0" eaLnBrk="1" fontAlgn="auto" latinLnBrk="0" hangingPunct="1">
                        <a:lnSpc>
                          <a:spcPct val="100000"/>
                        </a:lnSpc>
                        <a:spcBef>
                          <a:spcPts val="0"/>
                        </a:spcBef>
                        <a:spcAft>
                          <a:spcPts val="0"/>
                        </a:spcAft>
                        <a:buClrTx/>
                        <a:buSzTx/>
                        <a:buFontTx/>
                        <a:buChar char="•"/>
                        <a:tabLst/>
                        <a:defRPr/>
                      </a:pPr>
                      <a:r>
                        <a:rPr kumimoji="1" lang="en-US" altLang="ja-JP"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BBB</a:t>
                      </a:r>
                      <a:endParaRPr kumimoji="1" lang="ja-JP" altLang="en-US" sz="1400">
                        <a:solidFill>
                          <a:srgbClr val="0070C0"/>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03200" marR="0" lvl="0" indent="-203200" algn="l" defTabSz="742950" rtl="0" eaLnBrk="1" fontAlgn="auto" latinLnBrk="0" hangingPunct="1">
                        <a:lnSpc>
                          <a:spcPct val="100000"/>
                        </a:lnSpc>
                        <a:spcBef>
                          <a:spcPts val="0"/>
                        </a:spcBef>
                        <a:spcAft>
                          <a:spcPts val="0"/>
                        </a:spcAft>
                        <a:buClrTx/>
                        <a:buSzTx/>
                        <a:buFontTx/>
                        <a:buChar char="•"/>
                        <a:tabLst/>
                        <a:defRPr/>
                      </a:pPr>
                      <a:r>
                        <a:rPr kumimoji="1" lang="en-US" altLang="ja-JP"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AAA</a:t>
                      </a:r>
                    </a:p>
                    <a:p>
                      <a:pPr marL="203200" marR="0" lvl="0" indent="-203200" algn="l" defTabSz="742950" rtl="0" eaLnBrk="1" fontAlgn="auto" latinLnBrk="0" hangingPunct="1">
                        <a:lnSpc>
                          <a:spcPct val="100000"/>
                        </a:lnSpc>
                        <a:spcBef>
                          <a:spcPts val="0"/>
                        </a:spcBef>
                        <a:spcAft>
                          <a:spcPts val="0"/>
                        </a:spcAft>
                        <a:buClrTx/>
                        <a:buSzTx/>
                        <a:buFontTx/>
                        <a:buChar char="•"/>
                        <a:tabLst/>
                        <a:defRPr/>
                      </a:pPr>
                      <a:r>
                        <a:rPr kumimoji="1" lang="en-US" altLang="ja-JP"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BBB</a:t>
                      </a:r>
                      <a:endParaRPr kumimoji="1" lang="ja-JP" altLang="en-US" sz="1400">
                        <a:solidFill>
                          <a:srgbClr val="0070C0"/>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44902017"/>
                  </a:ext>
                </a:extLst>
              </a:tr>
              <a:tr h="1181091">
                <a:tc>
                  <a:txBody>
                    <a:bodyPr/>
                    <a:lstStyle/>
                    <a:p>
                      <a:r>
                        <a:rPr kumimoji="1" lang="ja-JP" altLang="en-US" sz="1400">
                          <a:latin typeface="Meiryo UI" panose="020B0604030504040204" pitchFamily="50" charset="-128"/>
                          <a:ea typeface="Meiryo UI" panose="020B0604030504040204" pitchFamily="50" charset="-128"/>
                        </a:rPr>
                        <a:t>会議内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03200" indent="-203200" algn="l">
                        <a:buFontTx/>
                        <a:buChar char="•"/>
                      </a:pPr>
                      <a:r>
                        <a:rPr kumimoji="1" lang="ja-JP" altLang="en-US" sz="1400">
                          <a:solidFill>
                            <a:srgbClr val="0070C0"/>
                          </a:solidFill>
                          <a:latin typeface="Meiryo UI" panose="020B0604030504040204" pitchFamily="50" charset="-128"/>
                          <a:ea typeface="Meiryo UI" panose="020B0604030504040204" pitchFamily="50" charset="-128"/>
                        </a:rPr>
                        <a:t>実施計画書の共有</a:t>
                      </a:r>
                      <a:endParaRPr kumimoji="1" lang="en-US" altLang="ja-JP" sz="1400">
                        <a:solidFill>
                          <a:srgbClr val="0070C0"/>
                        </a:solidFill>
                        <a:latin typeface="Meiryo UI" panose="020B0604030504040204" pitchFamily="50" charset="-128"/>
                        <a:ea typeface="Meiryo UI" panose="020B0604030504040204" pitchFamily="50" charset="-128"/>
                      </a:endParaRPr>
                    </a:p>
                    <a:p>
                      <a:pPr marL="203200" indent="-203200" algn="l">
                        <a:buFontTx/>
                        <a:buChar char="•"/>
                      </a:pPr>
                      <a:r>
                        <a:rPr kumimoji="1" lang="ja-JP" altLang="en-US" sz="1400">
                          <a:solidFill>
                            <a:srgbClr val="0070C0"/>
                          </a:solidFill>
                          <a:latin typeface="Meiryo UI" panose="020B0604030504040204" pitchFamily="50" charset="-128"/>
                          <a:ea typeface="Meiryo UI" panose="020B0604030504040204" pitchFamily="50" charset="-128"/>
                        </a:rPr>
                        <a:t>業務スコープの合意</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03200" indent="-203200" algn="l">
                        <a:buFontTx/>
                        <a:buChar char="•"/>
                      </a:pPr>
                      <a:r>
                        <a:rPr kumimoji="1" lang="ja-JP" altLang="en-US" sz="1400">
                          <a:solidFill>
                            <a:srgbClr val="0070C0"/>
                          </a:solidFill>
                          <a:latin typeface="Meiryo UI" panose="020B0604030504040204" pitchFamily="50" charset="-128"/>
                          <a:ea typeface="Meiryo UI" panose="020B0604030504040204" pitchFamily="50" charset="-128"/>
                        </a:rPr>
                        <a:t>要件定義書の共有</a:t>
                      </a:r>
                      <a:endParaRPr kumimoji="1" lang="en-US" altLang="ja-JP" sz="1400">
                        <a:solidFill>
                          <a:srgbClr val="0070C0"/>
                        </a:solidFill>
                        <a:latin typeface="Meiryo UI" panose="020B0604030504040204" pitchFamily="50" charset="-128"/>
                        <a:ea typeface="Meiryo UI" panose="020B0604030504040204" pitchFamily="50" charset="-128"/>
                      </a:endParaRPr>
                    </a:p>
                    <a:p>
                      <a:pPr marL="203200" indent="-203200" algn="l">
                        <a:buFontTx/>
                        <a:buChar char="•"/>
                      </a:pPr>
                      <a:r>
                        <a:rPr kumimoji="1" lang="ja-JP" altLang="en-US" sz="1400">
                          <a:solidFill>
                            <a:srgbClr val="0070C0"/>
                          </a:solidFill>
                          <a:latin typeface="Meiryo UI" panose="020B0604030504040204" pitchFamily="50" charset="-128"/>
                          <a:ea typeface="Meiryo UI" panose="020B0604030504040204" pitchFamily="50" charset="-128"/>
                        </a:rPr>
                        <a:t>開発システムの要件定義の合意</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実証計画書の共有</a:t>
                      </a: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開発システムのプロトタイプ確認</a:t>
                      </a:r>
                      <a:endParaRPr kumimoji="1" lang="en-US" altLang="ja-JP"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実証計画の合意</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完成したシステムの確認</a:t>
                      </a: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実証実験の視察・参加</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スコープ調整の原因の共有</a:t>
                      </a:r>
                      <a:endParaRPr kumimoji="1" lang="en-US" altLang="ja-JP"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業務スコープ変更の合意</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16460124"/>
                  </a:ext>
                </a:extLst>
              </a:tr>
              <a:tr h="914393">
                <a:tc>
                  <a:txBody>
                    <a:bodyPr/>
                    <a:lstStyle/>
                    <a:p>
                      <a:r>
                        <a:rPr kumimoji="1" lang="ja-JP" altLang="en-US" sz="1400">
                          <a:latin typeface="Meiryo UI" panose="020B0604030504040204" pitchFamily="50" charset="-128"/>
                          <a:ea typeface="Meiryo UI" panose="020B0604030504040204" pitchFamily="50" charset="-128"/>
                        </a:rPr>
                        <a:t>コミュニケーションツール</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5">
                  <a:txBody>
                    <a:bodyPr/>
                    <a:lstStyle/>
                    <a:p>
                      <a:pPr marL="203200" lvl="0" indent="-203200" algn="l">
                        <a:buFontTx/>
                        <a:buChar char="•"/>
                      </a:pPr>
                      <a:r>
                        <a:rPr kumimoji="1" lang="en-US" altLang="ja-JP" sz="1400">
                          <a:solidFill>
                            <a:srgbClr val="0070C0"/>
                          </a:solidFill>
                          <a:latin typeface="Meiryo UI" panose="020B0604030504040204" pitchFamily="50" charset="-128"/>
                          <a:ea typeface="Meiryo UI" panose="020B0604030504040204" pitchFamily="50" charset="-128"/>
                        </a:rPr>
                        <a:t>Teams</a:t>
                      </a:r>
                    </a:p>
                    <a:p>
                      <a:pPr marL="203200" lvl="0" indent="-203200" algn="l">
                        <a:buFontTx/>
                        <a:buChar char="•"/>
                      </a:pPr>
                      <a:r>
                        <a:rPr kumimoji="1" lang="en-US" altLang="ja-JP" sz="1400">
                          <a:solidFill>
                            <a:srgbClr val="0070C0"/>
                          </a:solidFill>
                          <a:latin typeface="Meiryo UI" panose="020B0604030504040204" pitchFamily="50" charset="-128"/>
                          <a:ea typeface="Meiryo UI" panose="020B0604030504040204" pitchFamily="50" charset="-128"/>
                        </a:rPr>
                        <a:t>Slack</a:t>
                      </a:r>
                      <a:r>
                        <a:rPr kumimoji="1" lang="ja-JP" altLang="en-US" sz="1400">
                          <a:solidFill>
                            <a:srgbClr val="0070C0"/>
                          </a:solidFill>
                          <a:latin typeface="Meiryo UI" panose="020B0604030504040204" pitchFamily="50" charset="-128"/>
                          <a:ea typeface="Meiryo UI" panose="020B0604030504040204" pitchFamily="50" charset="-128"/>
                        </a:rPr>
                        <a:t>（フォローアップ）</a:t>
                      </a:r>
                      <a:endParaRPr kumimoji="1" lang="en-US" altLang="ja-JP" sz="1400">
                        <a:solidFill>
                          <a:srgbClr val="0070C0"/>
                        </a:solidFill>
                        <a:latin typeface="Meiryo UI" panose="020B0604030504040204" pitchFamily="50" charset="-128"/>
                        <a:ea typeface="Meiryo UI" panose="020B0604030504040204" pitchFamily="50" charset="-128"/>
                      </a:endParaRPr>
                    </a:p>
                    <a:p>
                      <a:pPr marL="203200" lvl="0" indent="-203200" algn="l">
                        <a:buFontTx/>
                        <a:buChar char="•"/>
                      </a:pPr>
                      <a:r>
                        <a:rPr kumimoji="1" lang="ja-JP" altLang="en-US" sz="1400">
                          <a:solidFill>
                            <a:srgbClr val="0070C0"/>
                          </a:solidFill>
                          <a:latin typeface="Meiryo UI" panose="020B0604030504040204" pitchFamily="50" charset="-128"/>
                          <a:ea typeface="Meiryo UI" panose="020B0604030504040204" pitchFamily="50" charset="-128"/>
                        </a:rPr>
                        <a:t>現地対面（実証立ち合い、等）</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400" b="0" i="0" u="none" strike="noStrike" kern="1200" cap="none" spc="0" normalizeH="0" baseline="0" noProof="0">
                        <a:ln>
                          <a:noFill/>
                        </a:ln>
                        <a:solidFill>
                          <a:srgbClr val="000000"/>
                        </a:solidFill>
                        <a:effectLst/>
                        <a:uLnTx/>
                        <a:uFillTx/>
                        <a:latin typeface="+mn-ea"/>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en-US" altLang="ja-JP" sz="1400" b="0" i="0" u="none" strike="noStrike" kern="1200" cap="none" spc="0" normalizeH="0" baseline="0" noProof="0">
                        <a:ln>
                          <a:noFill/>
                        </a:ln>
                        <a:solidFill>
                          <a:srgbClr val="000000"/>
                        </a:solidFill>
                        <a:effectLst/>
                        <a:uLnTx/>
                        <a:uFillTx/>
                        <a:latin typeface="+mn-ea"/>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400" b="0" i="0" u="none" strike="noStrike" kern="1200" cap="none" spc="0" normalizeH="0" baseline="0" noProof="0">
                        <a:ln>
                          <a:noFill/>
                        </a:ln>
                        <a:solidFill>
                          <a:srgbClr val="000000"/>
                        </a:solidFill>
                        <a:effectLst/>
                        <a:uLnTx/>
                        <a:uFillTx/>
                        <a:latin typeface="+mn-ea"/>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400" b="0" i="0" u="none" strike="noStrike" kern="1200" cap="none" spc="0" normalizeH="0" baseline="0" noProof="0">
                        <a:ln>
                          <a:noFill/>
                        </a:ln>
                        <a:solidFill>
                          <a:srgbClr val="000000"/>
                        </a:solidFill>
                        <a:effectLst/>
                        <a:uLnTx/>
                        <a:uFillTx/>
                        <a:latin typeface="+mn-ea"/>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04760456"/>
                  </a:ext>
                </a:extLst>
              </a:tr>
            </a:tbl>
          </a:graphicData>
        </a:graphic>
      </p:graphicFrame>
      <p:sp>
        <p:nvSpPr>
          <p:cNvPr id="6" name="テキスト ボックス 5">
            <a:extLst>
              <a:ext uri="{FF2B5EF4-FFF2-40B4-BE49-F238E27FC236}">
                <a16:creationId xmlns:a16="http://schemas.microsoft.com/office/drawing/2014/main" id="{0EF1E65A-B109-F41E-1B7B-F0E1CB735B01}"/>
              </a:ext>
            </a:extLst>
          </p:cNvPr>
          <p:cNvSpPr txBox="1"/>
          <p:nvPr/>
        </p:nvSpPr>
        <p:spPr>
          <a:xfrm>
            <a:off x="2940474" y="2820813"/>
            <a:ext cx="6311051" cy="1984269"/>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プロジェクト内部、国交省、支援事務局を含めた、本プロジェクト進行に必要なコミュニケーションプランについて記載してください。​</a:t>
            </a:r>
          </a:p>
        </p:txBody>
      </p:sp>
    </p:spTree>
    <p:extLst>
      <p:ext uri="{BB962C8B-B14F-4D97-AF65-F5344CB8AC3E}">
        <p14:creationId xmlns:p14="http://schemas.microsoft.com/office/powerpoint/2010/main" val="121525036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6A1A79F-2ACF-F9AF-66F4-DF29C14ADC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12" imgH="511" progId="TCLayout.ActiveDocument.1">
                  <p:embed/>
                </p:oleObj>
              </mc:Choice>
              <mc:Fallback>
                <p:oleObj name="think-cell スライド" r:id="rId4" imgW="512" imgH="511" progId="TCLayout.ActiveDocument.1">
                  <p:embed/>
                  <p:pic>
                    <p:nvPicPr>
                      <p:cNvPr id="5" name="think-cell data - do not delete" hidden="1">
                        <a:extLst>
                          <a:ext uri="{FF2B5EF4-FFF2-40B4-BE49-F238E27FC236}">
                            <a16:creationId xmlns:a16="http://schemas.microsoft.com/office/drawing/2014/main" id="{86A1A79F-2ACF-F9AF-66F4-DF29C14ADC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177281CC-1855-F2DB-EAE1-E4C54E0FD7E5}"/>
              </a:ext>
            </a:extLst>
          </p:cNvPr>
          <p:cNvSpPr>
            <a:spLocks noGrp="1"/>
          </p:cNvSpPr>
          <p:nvPr>
            <p:ph type="body" sz="quarter" idx="36"/>
          </p:nvPr>
        </p:nvSpPr>
        <p:spPr/>
        <p:txBody>
          <a:bodyPr/>
          <a:lstStyle/>
          <a:p>
            <a:r>
              <a:rPr lang="en-US" altLang="ja-JP"/>
              <a:t>Ⅵ. </a:t>
            </a:r>
            <a:r>
              <a:rPr lang="ja-JP" altLang="en-US"/>
              <a:t>マネジメント計画</a:t>
            </a:r>
          </a:p>
        </p:txBody>
      </p:sp>
      <p:sp>
        <p:nvSpPr>
          <p:cNvPr id="4" name="タイトル 3">
            <a:extLst>
              <a:ext uri="{FF2B5EF4-FFF2-40B4-BE49-F238E27FC236}">
                <a16:creationId xmlns:a16="http://schemas.microsoft.com/office/drawing/2014/main" id="{DCD11E60-C345-0156-A89F-36AE8A4A9155}"/>
              </a:ext>
            </a:extLst>
          </p:cNvPr>
          <p:cNvSpPr>
            <a:spLocks noGrp="1"/>
          </p:cNvSpPr>
          <p:nvPr>
            <p:ph type="title"/>
          </p:nvPr>
        </p:nvSpPr>
        <p:spPr/>
        <p:txBody>
          <a:bodyPr vert="horz"/>
          <a:lstStyle/>
          <a:p>
            <a:r>
              <a:rPr kumimoji="1" lang="en-US" altLang="ja-JP"/>
              <a:t>5.</a:t>
            </a:r>
            <a:r>
              <a:rPr kumimoji="1" lang="ja-JP" altLang="en-US"/>
              <a:t>品質</a:t>
            </a:r>
          </a:p>
        </p:txBody>
      </p:sp>
      <p:graphicFrame>
        <p:nvGraphicFramePr>
          <p:cNvPr id="2" name="表 10">
            <a:extLst>
              <a:ext uri="{FF2B5EF4-FFF2-40B4-BE49-F238E27FC236}">
                <a16:creationId xmlns:a16="http://schemas.microsoft.com/office/drawing/2014/main" id="{C643ECC8-A3AC-933C-3E81-E0D6449A8658}"/>
              </a:ext>
            </a:extLst>
          </p:cNvPr>
          <p:cNvGraphicFramePr>
            <a:graphicFrameLocks noGrp="1"/>
          </p:cNvGraphicFramePr>
          <p:nvPr>
            <p:extLst>
              <p:ext uri="{D42A27DB-BD31-4B8C-83A1-F6EECF244321}">
                <p14:modId xmlns:p14="http://schemas.microsoft.com/office/powerpoint/2010/main" val="2224182825"/>
              </p:ext>
            </p:extLst>
          </p:nvPr>
        </p:nvGraphicFramePr>
        <p:xfrm>
          <a:off x="300779" y="1750542"/>
          <a:ext cx="11595100" cy="3270345"/>
        </p:xfrm>
        <a:graphic>
          <a:graphicData uri="http://schemas.openxmlformats.org/drawingml/2006/table">
            <a:tbl>
              <a:tblPr>
                <a:tableStyleId>{073A0DAA-6AF3-43AB-8588-CEC1D06C72B9}</a:tableStyleId>
              </a:tblPr>
              <a:tblGrid>
                <a:gridCol w="2837962">
                  <a:extLst>
                    <a:ext uri="{9D8B030D-6E8A-4147-A177-3AD203B41FA5}">
                      <a16:colId xmlns:a16="http://schemas.microsoft.com/office/drawing/2014/main" val="3931309769"/>
                    </a:ext>
                  </a:extLst>
                </a:gridCol>
                <a:gridCol w="2043517">
                  <a:extLst>
                    <a:ext uri="{9D8B030D-6E8A-4147-A177-3AD203B41FA5}">
                      <a16:colId xmlns:a16="http://schemas.microsoft.com/office/drawing/2014/main" val="689635111"/>
                    </a:ext>
                  </a:extLst>
                </a:gridCol>
                <a:gridCol w="2731168">
                  <a:extLst>
                    <a:ext uri="{9D8B030D-6E8A-4147-A177-3AD203B41FA5}">
                      <a16:colId xmlns:a16="http://schemas.microsoft.com/office/drawing/2014/main" val="3537895561"/>
                    </a:ext>
                  </a:extLst>
                </a:gridCol>
                <a:gridCol w="1022685">
                  <a:extLst>
                    <a:ext uri="{9D8B030D-6E8A-4147-A177-3AD203B41FA5}">
                      <a16:colId xmlns:a16="http://schemas.microsoft.com/office/drawing/2014/main" val="1791272499"/>
                    </a:ext>
                  </a:extLst>
                </a:gridCol>
                <a:gridCol w="2959768">
                  <a:extLst>
                    <a:ext uri="{9D8B030D-6E8A-4147-A177-3AD203B41FA5}">
                      <a16:colId xmlns:a16="http://schemas.microsoft.com/office/drawing/2014/main" val="2311733011"/>
                    </a:ext>
                  </a:extLst>
                </a:gridCol>
              </a:tblGrid>
              <a:tr h="0">
                <a:tc>
                  <a:txBody>
                    <a:bodyPr/>
                    <a:lstStyle/>
                    <a:p>
                      <a:pPr algn="l"/>
                      <a:r>
                        <a:rPr kumimoji="1" lang="ja-JP" altLang="en-US" sz="1000" b="1">
                          <a:latin typeface="+mn-ea"/>
                          <a:ea typeface="+mn-ea"/>
                        </a:rPr>
                        <a:t>対象プロセス</a:t>
                      </a:r>
                      <a:r>
                        <a:rPr kumimoji="1" lang="en-US" altLang="ja-JP" sz="1000" b="1">
                          <a:latin typeface="+mn-ea"/>
                          <a:ea typeface="+mn-ea"/>
                        </a:rPr>
                        <a:t>/</a:t>
                      </a:r>
                      <a:r>
                        <a:rPr kumimoji="1" lang="ja-JP" altLang="en-US" sz="1000" b="1">
                          <a:latin typeface="+mn-ea"/>
                          <a:ea typeface="+mn-ea"/>
                        </a:rPr>
                        <a:t>サブシステム</a:t>
                      </a: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l"/>
                      <a:r>
                        <a:rPr kumimoji="1" lang="ja-JP" altLang="en-US" sz="1000" b="1">
                          <a:latin typeface="+mn-ea"/>
                          <a:ea typeface="+mn-ea"/>
                        </a:rPr>
                        <a:t>品質評価項目</a:t>
                      </a: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l"/>
                      <a:r>
                        <a:rPr kumimoji="1" lang="ja-JP" altLang="en-US" sz="1000" b="1">
                          <a:latin typeface="+mn-ea"/>
                          <a:ea typeface="+mn-ea"/>
                        </a:rPr>
                        <a:t>目標値</a:t>
                      </a: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l"/>
                      <a:r>
                        <a:rPr kumimoji="1" lang="ja-JP" altLang="en-US" sz="1000" b="1">
                          <a:latin typeface="+mn-ea"/>
                          <a:ea typeface="+mn-ea"/>
                        </a:rPr>
                        <a:t>期間の単位</a:t>
                      </a: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l"/>
                      <a:r>
                        <a:rPr kumimoji="1" lang="ja-JP" altLang="en-US" sz="1000" b="1">
                          <a:latin typeface="+mn-ea"/>
                          <a:ea typeface="+mn-ea"/>
                        </a:rPr>
                        <a:t>アクティビティ</a:t>
                      </a: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856390590"/>
                  </a:ext>
                </a:extLst>
              </a:tr>
              <a:tr h="0">
                <a:tc>
                  <a:txBody>
                    <a:bodyPr/>
                    <a:lstStyle/>
                    <a:p>
                      <a:pPr>
                        <a:buFont typeface="Arial" panose="020B0604020202020204" pitchFamily="34" charset="0"/>
                        <a:buNone/>
                      </a:pPr>
                      <a:r>
                        <a:rPr lang="ja-JP" altLang="en-US" sz="1400">
                          <a:solidFill>
                            <a:srgbClr val="0070C0"/>
                          </a:solidFill>
                        </a:rPr>
                        <a:t>複合的な検索機能と決済機能</a:t>
                      </a: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Font typeface="Arial" panose="020B0604020202020204" pitchFamily="34" charset="0"/>
                        <a:buChar char="•"/>
                      </a:pPr>
                      <a:r>
                        <a:rPr lang="ja-JP" altLang="en-US" sz="1400">
                          <a:solidFill>
                            <a:srgbClr val="0070C0"/>
                          </a:solidFill>
                        </a:rPr>
                        <a:t>検索レスポンスタイム</a:t>
                      </a:r>
                    </a:p>
                    <a:p>
                      <a:pPr>
                        <a:buFont typeface="Arial" panose="020B0604020202020204" pitchFamily="34" charset="0"/>
                        <a:buChar char="•"/>
                      </a:pPr>
                      <a:r>
                        <a:rPr lang="ja-JP" altLang="en-US" sz="1400">
                          <a:solidFill>
                            <a:srgbClr val="0070C0"/>
                          </a:solidFill>
                        </a:rPr>
                        <a:t>決済成功率</a:t>
                      </a: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Font typeface="Arial" panose="020B0604020202020204" pitchFamily="34" charset="0"/>
                        <a:buChar char="•"/>
                      </a:pPr>
                      <a:r>
                        <a:rPr lang="ja-JP" altLang="en-US" sz="1400">
                          <a:solidFill>
                            <a:srgbClr val="0070C0"/>
                          </a:solidFill>
                        </a:rPr>
                        <a:t>検索レスポンスタイム</a:t>
                      </a:r>
                      <a:r>
                        <a:rPr lang="en-US" altLang="ja-JP" sz="1400">
                          <a:solidFill>
                            <a:srgbClr val="0070C0"/>
                          </a:solidFill>
                        </a:rPr>
                        <a:t>: 3</a:t>
                      </a:r>
                      <a:r>
                        <a:rPr lang="ja-JP" altLang="en-US" sz="1400">
                          <a:solidFill>
                            <a:srgbClr val="0070C0"/>
                          </a:solidFill>
                        </a:rPr>
                        <a:t>秒以内</a:t>
                      </a:r>
                    </a:p>
                    <a:p>
                      <a:pPr>
                        <a:buFont typeface="Arial" panose="020B0604020202020204" pitchFamily="34" charset="0"/>
                        <a:buChar char="•"/>
                      </a:pPr>
                      <a:r>
                        <a:rPr lang="ja-JP" altLang="en-US" sz="1400">
                          <a:solidFill>
                            <a:srgbClr val="0070C0"/>
                          </a:solidFill>
                        </a:rPr>
                        <a:t>決済成功率</a:t>
                      </a:r>
                      <a:r>
                        <a:rPr lang="en-US" altLang="ja-JP" sz="1400">
                          <a:solidFill>
                            <a:srgbClr val="0070C0"/>
                          </a:solidFill>
                        </a:rPr>
                        <a:t>: 95%</a:t>
                      </a:r>
                      <a:r>
                        <a:rPr lang="ja-JP" altLang="en-US" sz="1400">
                          <a:solidFill>
                            <a:srgbClr val="0070C0"/>
                          </a:solidFill>
                        </a:rPr>
                        <a:t>以上</a:t>
                      </a: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lang="ja-JP" altLang="en-US" sz="1400">
                          <a:solidFill>
                            <a:srgbClr val="0070C0"/>
                          </a:solidFill>
                        </a:rPr>
                        <a:t>毎月評価</a:t>
                      </a: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Font typeface="Arial" panose="020B0604020202020204" pitchFamily="34" charset="0"/>
                        <a:buChar char="•"/>
                      </a:pPr>
                      <a:r>
                        <a:rPr lang="ja-JP" altLang="en-US" sz="1400">
                          <a:solidFill>
                            <a:srgbClr val="0070C0"/>
                          </a:solidFill>
                        </a:rPr>
                        <a:t>機能テスト</a:t>
                      </a:r>
                      <a:r>
                        <a:rPr lang="en-US" altLang="ja-JP" sz="1400">
                          <a:solidFill>
                            <a:srgbClr val="0070C0"/>
                          </a:solidFill>
                        </a:rPr>
                        <a:t>: </a:t>
                      </a:r>
                      <a:r>
                        <a:rPr lang="ja-JP" altLang="en-US" sz="1400">
                          <a:solidFill>
                            <a:srgbClr val="0070C0"/>
                          </a:solidFill>
                        </a:rPr>
                        <a:t>毎月実施</a:t>
                      </a:r>
                    </a:p>
                    <a:p>
                      <a:pPr>
                        <a:buFont typeface="Arial" panose="020B0604020202020204" pitchFamily="34" charset="0"/>
                        <a:buChar char="•"/>
                      </a:pPr>
                      <a:r>
                        <a:rPr lang="ja-JP" altLang="en-US" sz="1400">
                          <a:solidFill>
                            <a:srgbClr val="0070C0"/>
                          </a:solidFill>
                        </a:rPr>
                        <a:t>ユーザーフィードバック</a:t>
                      </a:r>
                      <a:r>
                        <a:rPr lang="en-US" altLang="ja-JP" sz="1400">
                          <a:solidFill>
                            <a:srgbClr val="0070C0"/>
                          </a:solidFill>
                        </a:rPr>
                        <a:t>: </a:t>
                      </a:r>
                      <a:r>
                        <a:rPr lang="ja-JP" altLang="en-US" sz="1400">
                          <a:solidFill>
                            <a:srgbClr val="0070C0"/>
                          </a:solidFill>
                        </a:rPr>
                        <a:t>毎月収集</a:t>
                      </a: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31508697"/>
                  </a:ext>
                </a:extLst>
              </a:tr>
              <a:tr h="303368">
                <a:tc>
                  <a:txBody>
                    <a:bodyPr/>
                    <a:lstStyle/>
                    <a:p>
                      <a:pPr>
                        <a:buFont typeface="Arial" panose="020B0604020202020204" pitchFamily="34" charset="0"/>
                        <a:buNone/>
                      </a:pPr>
                      <a:r>
                        <a:rPr lang="en-US" altLang="ja-JP" sz="1400">
                          <a:solidFill>
                            <a:srgbClr val="0070C0"/>
                          </a:solidFill>
                        </a:rPr>
                        <a:t>MaaS</a:t>
                      </a:r>
                      <a:r>
                        <a:rPr lang="ja-JP" altLang="en-US" sz="1400">
                          <a:solidFill>
                            <a:srgbClr val="0070C0"/>
                          </a:solidFill>
                        </a:rPr>
                        <a:t>アプリ内システムの可用性</a:t>
                      </a: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Font typeface="Arial" panose="020B0604020202020204" pitchFamily="34" charset="0"/>
                        <a:buChar char="•"/>
                      </a:pPr>
                      <a:r>
                        <a:rPr lang="ja-JP" altLang="en-US" sz="1400">
                          <a:solidFill>
                            <a:srgbClr val="0070C0"/>
                          </a:solidFill>
                        </a:rPr>
                        <a:t>稼働率</a:t>
                      </a: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Font typeface="Arial" panose="020B0604020202020204" pitchFamily="34" charset="0"/>
                        <a:buChar char="•"/>
                      </a:pPr>
                      <a:r>
                        <a:rPr lang="ja-JP" altLang="en-US" sz="1400">
                          <a:solidFill>
                            <a:srgbClr val="0070C0"/>
                          </a:solidFill>
                        </a:rPr>
                        <a:t>稼働率：</a:t>
                      </a:r>
                      <a:r>
                        <a:rPr lang="en-US" altLang="ja-JP" sz="1400">
                          <a:solidFill>
                            <a:srgbClr val="0070C0"/>
                          </a:solidFill>
                        </a:rPr>
                        <a:t>99.</a:t>
                      </a:r>
                      <a:r>
                        <a:rPr lang="ja-JP" altLang="en-US" sz="1400">
                          <a:solidFill>
                            <a:srgbClr val="0070C0"/>
                          </a:solidFill>
                        </a:rPr>
                        <a:t>５％</a:t>
                      </a:r>
                      <a:r>
                        <a:rPr lang="en-US" altLang="ja-JP" sz="1400">
                          <a:solidFill>
                            <a:srgbClr val="0070C0"/>
                          </a:solidFill>
                        </a:rPr>
                        <a:t>/</a:t>
                      </a:r>
                      <a:r>
                        <a:rPr lang="ja-JP" altLang="en-US" sz="1400">
                          <a:solidFill>
                            <a:srgbClr val="0070C0"/>
                          </a:solidFill>
                        </a:rPr>
                        <a:t>年間</a:t>
                      </a: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lang="ja-JP" altLang="en-US" sz="1400">
                          <a:solidFill>
                            <a:srgbClr val="0070C0"/>
                          </a:solidFill>
                        </a:rPr>
                        <a:t>事業実施期間</a:t>
                      </a: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Font typeface="Arial" panose="020B0604020202020204" pitchFamily="34" charset="0"/>
                        <a:buChar char="•"/>
                      </a:pPr>
                      <a:r>
                        <a:rPr lang="ja-JP" altLang="en-US" sz="1400">
                          <a:solidFill>
                            <a:srgbClr val="0070C0"/>
                          </a:solidFill>
                        </a:rPr>
                        <a:t>システムチェック：事業実施期間中のサービス断タイムとその原因、対策を確認</a:t>
                      </a: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89065627"/>
                  </a:ext>
                </a:extLst>
              </a:tr>
              <a:tr h="571173">
                <a:tc>
                  <a:txBody>
                    <a:bodyPr/>
                    <a:lstStyle/>
                    <a:p>
                      <a:pPr algn="l"/>
                      <a:endParaRPr kumimoji="1" lang="ja-JP" altLang="en-US" sz="1400">
                        <a:latin typeface="+mn-ea"/>
                        <a:ea typeface="+mn-ea"/>
                      </a:endParaRP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400">
                        <a:latin typeface="+mn-ea"/>
                        <a:ea typeface="+mn-ea"/>
                      </a:endParaRP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400">
                        <a:latin typeface="+mn-ea"/>
                        <a:ea typeface="+mn-ea"/>
                      </a:endParaRP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400">
                        <a:latin typeface="+mn-ea"/>
                        <a:ea typeface="+mn-ea"/>
                      </a:endParaRP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1" lang="ja-JP" altLang="en-US" sz="1400">
                        <a:latin typeface="+mn-ea"/>
                        <a:ea typeface="+mn-ea"/>
                      </a:endParaRP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95040027"/>
                  </a:ext>
                </a:extLst>
              </a:tr>
              <a:tr h="571173">
                <a:tc>
                  <a:txBody>
                    <a:bodyPr/>
                    <a:lstStyle/>
                    <a:p>
                      <a:pPr algn="l"/>
                      <a:endParaRPr kumimoji="1" lang="ja-JP" altLang="en-US" sz="1400">
                        <a:latin typeface="+mn-ea"/>
                        <a:ea typeface="+mn-ea"/>
                      </a:endParaRP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400">
                        <a:latin typeface="+mn-ea"/>
                        <a:ea typeface="+mn-ea"/>
                      </a:endParaRP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400">
                        <a:latin typeface="+mn-ea"/>
                        <a:ea typeface="+mn-ea"/>
                      </a:endParaRP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400">
                        <a:latin typeface="+mn-ea"/>
                        <a:ea typeface="+mn-ea"/>
                      </a:endParaRP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400">
                        <a:latin typeface="+mn-ea"/>
                        <a:ea typeface="+mn-ea"/>
                      </a:endParaRP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32193088"/>
                  </a:ext>
                </a:extLst>
              </a:tr>
              <a:tr h="571173">
                <a:tc>
                  <a:txBody>
                    <a:bodyPr/>
                    <a:lstStyle/>
                    <a:p>
                      <a:pPr algn="l"/>
                      <a:endParaRPr kumimoji="1" lang="ja-JP" altLang="en-US" sz="1400">
                        <a:latin typeface="+mn-ea"/>
                        <a:ea typeface="+mn-ea"/>
                      </a:endParaRP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400">
                        <a:latin typeface="+mn-ea"/>
                        <a:ea typeface="+mn-ea"/>
                      </a:endParaRP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400">
                        <a:latin typeface="+mn-ea"/>
                        <a:ea typeface="+mn-ea"/>
                      </a:endParaRP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400">
                        <a:latin typeface="+mn-ea"/>
                        <a:ea typeface="+mn-ea"/>
                      </a:endParaRP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400">
                        <a:latin typeface="+mn-ea"/>
                        <a:ea typeface="+mn-ea"/>
                      </a:endParaRP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61530766"/>
                  </a:ext>
                </a:extLst>
              </a:tr>
            </a:tbl>
          </a:graphicData>
        </a:graphic>
      </p:graphicFrame>
      <p:sp>
        <p:nvSpPr>
          <p:cNvPr id="10" name="テキスト ボックス 9">
            <a:extLst>
              <a:ext uri="{FF2B5EF4-FFF2-40B4-BE49-F238E27FC236}">
                <a16:creationId xmlns:a16="http://schemas.microsoft.com/office/drawing/2014/main" id="{43D27961-B657-EEB7-4DB0-0524E5478651}"/>
              </a:ext>
            </a:extLst>
          </p:cNvPr>
          <p:cNvSpPr txBox="1"/>
          <p:nvPr/>
        </p:nvSpPr>
        <p:spPr>
          <a:xfrm>
            <a:off x="2940474" y="2820813"/>
            <a:ext cx="6311051" cy="1984269"/>
          </a:xfrm>
          <a:prstGeom prst="rect">
            <a:avLst/>
          </a:prstGeom>
          <a:solidFill>
            <a:srgbClr val="F3817B">
              <a:alpha val="60000"/>
            </a:srgbClr>
          </a:solidFill>
        </p:spPr>
        <p:txBody>
          <a:bodyPr wrap="square" anchor="ctr">
            <a:noAutofit/>
          </a:bodyPr>
          <a:lstStyle/>
          <a:p>
            <a:r>
              <a:rPr lang="ja-JP" altLang="en-US" sz="1400">
                <a:solidFill>
                  <a:schemeClr val="bg1"/>
                </a:solidFill>
              </a:rPr>
              <a:t>プロジェクトの品質基準を設定し、それを維持・向上させるための計画を記載してください。</a:t>
            </a:r>
          </a:p>
        </p:txBody>
      </p:sp>
    </p:spTree>
    <p:extLst>
      <p:ext uri="{BB962C8B-B14F-4D97-AF65-F5344CB8AC3E}">
        <p14:creationId xmlns:p14="http://schemas.microsoft.com/office/powerpoint/2010/main" val="35575065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6A1A79F-2ACF-F9AF-66F4-DF29C14ADC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12" imgH="511" progId="TCLayout.ActiveDocument.1">
                  <p:embed/>
                </p:oleObj>
              </mc:Choice>
              <mc:Fallback>
                <p:oleObj name="think-cell スライド" r:id="rId4" imgW="512" imgH="511" progId="TCLayout.ActiveDocument.1">
                  <p:embed/>
                  <p:pic>
                    <p:nvPicPr>
                      <p:cNvPr id="5" name="think-cell data - do not delete" hidden="1">
                        <a:extLst>
                          <a:ext uri="{FF2B5EF4-FFF2-40B4-BE49-F238E27FC236}">
                            <a16:creationId xmlns:a16="http://schemas.microsoft.com/office/drawing/2014/main" id="{86A1A79F-2ACF-F9AF-66F4-DF29C14ADC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177281CC-1855-F2DB-EAE1-E4C54E0FD7E5}"/>
              </a:ext>
            </a:extLst>
          </p:cNvPr>
          <p:cNvSpPr>
            <a:spLocks noGrp="1"/>
          </p:cNvSpPr>
          <p:nvPr>
            <p:ph type="body" sz="quarter" idx="36"/>
          </p:nvPr>
        </p:nvSpPr>
        <p:spPr/>
        <p:txBody>
          <a:bodyPr/>
          <a:lstStyle/>
          <a:p>
            <a:r>
              <a:rPr lang="en-US" altLang="ja-JP"/>
              <a:t>Ⅵ. </a:t>
            </a:r>
            <a:r>
              <a:rPr lang="ja-JP" altLang="en-US"/>
              <a:t>マネジメント計画</a:t>
            </a:r>
          </a:p>
        </p:txBody>
      </p:sp>
      <p:sp>
        <p:nvSpPr>
          <p:cNvPr id="4" name="タイトル 3">
            <a:extLst>
              <a:ext uri="{FF2B5EF4-FFF2-40B4-BE49-F238E27FC236}">
                <a16:creationId xmlns:a16="http://schemas.microsoft.com/office/drawing/2014/main" id="{DCD11E60-C345-0156-A89F-36AE8A4A9155}"/>
              </a:ext>
            </a:extLst>
          </p:cNvPr>
          <p:cNvSpPr>
            <a:spLocks noGrp="1"/>
          </p:cNvSpPr>
          <p:nvPr>
            <p:ph type="title"/>
          </p:nvPr>
        </p:nvSpPr>
        <p:spPr/>
        <p:txBody>
          <a:bodyPr vert="horz"/>
          <a:lstStyle/>
          <a:p>
            <a:r>
              <a:rPr kumimoji="1" lang="en-US" altLang="ja-JP"/>
              <a:t>6.</a:t>
            </a:r>
            <a:r>
              <a:rPr kumimoji="1" lang="ja-JP" altLang="en-US"/>
              <a:t>成果物</a:t>
            </a:r>
          </a:p>
        </p:txBody>
      </p:sp>
      <p:graphicFrame>
        <p:nvGraphicFramePr>
          <p:cNvPr id="7" name="表 7">
            <a:extLst>
              <a:ext uri="{FF2B5EF4-FFF2-40B4-BE49-F238E27FC236}">
                <a16:creationId xmlns:a16="http://schemas.microsoft.com/office/drawing/2014/main" id="{D27285E1-CFEC-7133-4B2F-3A60A9DA58C6}"/>
              </a:ext>
            </a:extLst>
          </p:cNvPr>
          <p:cNvGraphicFramePr>
            <a:graphicFrameLocks noGrp="1"/>
          </p:cNvGraphicFramePr>
          <p:nvPr>
            <p:extLst>
              <p:ext uri="{D42A27DB-BD31-4B8C-83A1-F6EECF244321}">
                <p14:modId xmlns:p14="http://schemas.microsoft.com/office/powerpoint/2010/main" val="212979417"/>
              </p:ext>
            </p:extLst>
          </p:nvPr>
        </p:nvGraphicFramePr>
        <p:xfrm>
          <a:off x="302400" y="1395121"/>
          <a:ext cx="11587200" cy="3571307"/>
        </p:xfrm>
        <a:graphic>
          <a:graphicData uri="http://schemas.openxmlformats.org/drawingml/2006/table">
            <a:tbl>
              <a:tblPr>
                <a:tableStyleId>{5C22544A-7EE6-4342-B048-85BDC9FD1C3A}</a:tableStyleId>
              </a:tblPr>
              <a:tblGrid>
                <a:gridCol w="2697256">
                  <a:extLst>
                    <a:ext uri="{9D8B030D-6E8A-4147-A177-3AD203B41FA5}">
                      <a16:colId xmlns:a16="http://schemas.microsoft.com/office/drawing/2014/main" val="1942113200"/>
                    </a:ext>
                  </a:extLst>
                </a:gridCol>
                <a:gridCol w="8889944">
                  <a:extLst>
                    <a:ext uri="{9D8B030D-6E8A-4147-A177-3AD203B41FA5}">
                      <a16:colId xmlns:a16="http://schemas.microsoft.com/office/drawing/2014/main" val="1115002749"/>
                    </a:ext>
                  </a:extLst>
                </a:gridCol>
              </a:tblGrid>
              <a:tr h="350400">
                <a:tc>
                  <a:txBody>
                    <a:bodyPr/>
                    <a:lstStyle/>
                    <a:p>
                      <a:r>
                        <a:rPr kumimoji="1" lang="ja-JP" altLang="en-US" sz="1600" b="1">
                          <a:latin typeface="+mn-ea"/>
                          <a:ea typeface="+mn-ea"/>
                        </a:rPr>
                        <a:t>項目</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600" b="1">
                          <a:latin typeface="+mn-ea"/>
                          <a:ea typeface="+mn-ea"/>
                        </a:rPr>
                        <a:t>内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9378519"/>
                  </a:ext>
                </a:extLst>
              </a:tr>
              <a:tr h="794371">
                <a:tc>
                  <a:txBody>
                    <a:bodyPr/>
                    <a:lstStyle/>
                    <a:p>
                      <a:r>
                        <a:rPr kumimoji="1" lang="ja-JP" altLang="en-US" sz="1600">
                          <a:solidFill>
                            <a:srgbClr val="0070C0"/>
                          </a:solidFill>
                          <a:latin typeface="+mn-ea"/>
                          <a:ea typeface="+mn-ea"/>
                        </a:rPr>
                        <a:t>開発システムの</a:t>
                      </a:r>
                      <a:r>
                        <a:rPr kumimoji="1" lang="en-US" altLang="ja-JP" sz="1600">
                          <a:solidFill>
                            <a:srgbClr val="0070C0"/>
                          </a:solidFill>
                          <a:latin typeface="+mn-ea"/>
                          <a:ea typeface="+mn-ea"/>
                        </a:rPr>
                        <a:t>OSS</a:t>
                      </a:r>
                      <a:r>
                        <a:rPr kumimoji="1" lang="ja-JP" altLang="en-US" sz="1600">
                          <a:solidFill>
                            <a:srgbClr val="0070C0"/>
                          </a:solidFill>
                          <a:latin typeface="+mn-ea"/>
                          <a:ea typeface="+mn-ea"/>
                        </a:rPr>
                        <a:t>化</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03200" indent="-203200" algn="l">
                        <a:buFontTx/>
                        <a:buChar char="•"/>
                      </a:pPr>
                      <a:r>
                        <a:rPr kumimoji="1" lang="ja-JP" altLang="en-US" sz="1600">
                          <a:solidFill>
                            <a:srgbClr val="0070C0"/>
                          </a:solidFill>
                          <a:latin typeface="+mn-ea"/>
                          <a:ea typeface="+mn-ea"/>
                        </a:rPr>
                        <a:t>予定なし（事業化のた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94776207"/>
                  </a:ext>
                </a:extLst>
              </a:tr>
              <a:tr h="783232">
                <a:tc>
                  <a:txBody>
                    <a:bodyPr/>
                    <a:lstStyle/>
                    <a:p>
                      <a:r>
                        <a:rPr kumimoji="1" lang="ja-JP" altLang="en-US" sz="1600">
                          <a:solidFill>
                            <a:srgbClr val="0070C0"/>
                          </a:solidFill>
                          <a:latin typeface="+mn-ea"/>
                          <a:ea typeface="+mn-ea"/>
                        </a:rPr>
                        <a:t>オープンデータ</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ja-JP" altLang="en-US" sz="1600">
                          <a:solidFill>
                            <a:srgbClr val="0070C0"/>
                          </a:solidFill>
                          <a:latin typeface="+mn-ea"/>
                          <a:ea typeface="+mn-ea"/>
                        </a:rPr>
                        <a:t>・　○○アプリより取得したプローブデータ</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44902017"/>
                  </a:ext>
                </a:extLst>
              </a:tr>
              <a:tr h="860072">
                <a:tc>
                  <a:txBody>
                    <a:bodyPr/>
                    <a:lstStyle/>
                    <a:p>
                      <a:r>
                        <a:rPr kumimoji="1" lang="ja-JP" altLang="en-US" sz="1600">
                          <a:solidFill>
                            <a:srgbClr val="0070C0"/>
                          </a:solidFill>
                          <a:latin typeface="+mn-ea"/>
                          <a:ea typeface="+mn-ea"/>
                        </a:rPr>
                        <a:t>レポー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600">
                          <a:solidFill>
                            <a:srgbClr val="0070C0"/>
                          </a:solidFill>
                          <a:latin typeface="+mn-ea"/>
                          <a:ea typeface="+mn-ea"/>
                        </a:rPr>
                        <a:t>・　</a:t>
                      </a:r>
                      <a:r>
                        <a:rPr kumimoji="1" lang="en-US" altLang="ja-JP" sz="1600">
                          <a:solidFill>
                            <a:srgbClr val="0070C0"/>
                          </a:solidFill>
                          <a:latin typeface="+mn-ea"/>
                          <a:ea typeface="+mn-ea"/>
                        </a:rPr>
                        <a:t>OD</a:t>
                      </a:r>
                      <a:r>
                        <a:rPr kumimoji="1" lang="ja-JP" altLang="en-US" sz="1600">
                          <a:solidFill>
                            <a:srgbClr val="0070C0"/>
                          </a:solidFill>
                          <a:latin typeface="+mn-ea"/>
                          <a:ea typeface="+mn-ea"/>
                        </a:rPr>
                        <a:t>データの可視化より検討した路線バス再編計画レポー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16460124"/>
                  </a:ext>
                </a:extLst>
              </a:tr>
              <a:tr h="783232">
                <a:tc>
                  <a:txBody>
                    <a:bodyPr/>
                    <a:lstStyle/>
                    <a:p>
                      <a:r>
                        <a:rPr kumimoji="1" lang="ja-JP" altLang="en-US" sz="1600">
                          <a:solidFill>
                            <a:srgbClr val="0070C0"/>
                          </a:solidFill>
                          <a:latin typeface="+mn-ea"/>
                          <a:ea typeface="+mn-ea"/>
                        </a:rPr>
                        <a:t>その他</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600">
                          <a:solidFill>
                            <a:srgbClr val="0070C0"/>
                          </a:solidFill>
                          <a:latin typeface="+mn-ea"/>
                          <a:ea typeface="+mn-ea"/>
                        </a:rPr>
                        <a:t>・　データ分析ツールユーザーマニュアル</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35476472"/>
                  </a:ext>
                </a:extLst>
              </a:tr>
            </a:tbl>
          </a:graphicData>
        </a:graphic>
      </p:graphicFrame>
      <p:sp>
        <p:nvSpPr>
          <p:cNvPr id="8" name="テキスト ボックス 7">
            <a:extLst>
              <a:ext uri="{FF2B5EF4-FFF2-40B4-BE49-F238E27FC236}">
                <a16:creationId xmlns:a16="http://schemas.microsoft.com/office/drawing/2014/main" id="{C7306795-FA4C-4798-C6D2-630820907D06}"/>
              </a:ext>
            </a:extLst>
          </p:cNvPr>
          <p:cNvSpPr txBox="1"/>
          <p:nvPr/>
        </p:nvSpPr>
        <p:spPr>
          <a:xfrm>
            <a:off x="2632467" y="4093246"/>
            <a:ext cx="6311051" cy="1984269"/>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成果物がある場合は、こちらに内容を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なお、当課より指定の事業実施報告書以外に、実証運行のレポートや地域公共交通会議等への報告用のデータ分析結果等、本プロジェクトに関連して作成する報告書も成果物として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自社利用のみの場合は記載不要です）</a:t>
            </a:r>
          </a:p>
        </p:txBody>
      </p:sp>
    </p:spTree>
    <p:extLst>
      <p:ext uri="{BB962C8B-B14F-4D97-AF65-F5344CB8AC3E}">
        <p14:creationId xmlns:p14="http://schemas.microsoft.com/office/powerpoint/2010/main" val="159076903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6A1A79F-2ACF-F9AF-66F4-DF29C14ADC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12" imgH="511" progId="TCLayout.ActiveDocument.1">
                  <p:embed/>
                </p:oleObj>
              </mc:Choice>
              <mc:Fallback>
                <p:oleObj name="think-cell スライド" r:id="rId4" imgW="512" imgH="511" progId="TCLayout.ActiveDocument.1">
                  <p:embed/>
                  <p:pic>
                    <p:nvPicPr>
                      <p:cNvPr id="5" name="think-cell data - do not delete" hidden="1">
                        <a:extLst>
                          <a:ext uri="{FF2B5EF4-FFF2-40B4-BE49-F238E27FC236}">
                            <a16:creationId xmlns:a16="http://schemas.microsoft.com/office/drawing/2014/main" id="{86A1A79F-2ACF-F9AF-66F4-DF29C14ADC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177281CC-1855-F2DB-EAE1-E4C54E0FD7E5}"/>
              </a:ext>
            </a:extLst>
          </p:cNvPr>
          <p:cNvSpPr>
            <a:spLocks noGrp="1"/>
          </p:cNvSpPr>
          <p:nvPr>
            <p:ph type="body" sz="quarter" idx="36"/>
          </p:nvPr>
        </p:nvSpPr>
        <p:spPr/>
        <p:txBody>
          <a:bodyPr/>
          <a:lstStyle/>
          <a:p>
            <a:r>
              <a:rPr lang="en-US" altLang="ja-JP"/>
              <a:t>Ⅵ. </a:t>
            </a:r>
            <a:r>
              <a:rPr lang="ja-JP" altLang="en-US"/>
              <a:t>マネジメント計画</a:t>
            </a:r>
          </a:p>
        </p:txBody>
      </p:sp>
      <p:sp>
        <p:nvSpPr>
          <p:cNvPr id="4" name="タイトル 3">
            <a:extLst>
              <a:ext uri="{FF2B5EF4-FFF2-40B4-BE49-F238E27FC236}">
                <a16:creationId xmlns:a16="http://schemas.microsoft.com/office/drawing/2014/main" id="{DCD11E60-C345-0156-A89F-36AE8A4A9155}"/>
              </a:ext>
            </a:extLst>
          </p:cNvPr>
          <p:cNvSpPr>
            <a:spLocks noGrp="1"/>
          </p:cNvSpPr>
          <p:nvPr>
            <p:ph type="title"/>
          </p:nvPr>
        </p:nvSpPr>
        <p:spPr/>
        <p:txBody>
          <a:bodyPr vert="horz"/>
          <a:lstStyle/>
          <a:p>
            <a:r>
              <a:rPr kumimoji="1" lang="ja-JP" altLang="en-US"/>
              <a:t>申送り事項</a:t>
            </a:r>
          </a:p>
        </p:txBody>
      </p:sp>
    </p:spTree>
    <p:extLst>
      <p:ext uri="{BB962C8B-B14F-4D97-AF65-F5344CB8AC3E}">
        <p14:creationId xmlns:p14="http://schemas.microsoft.com/office/powerpoint/2010/main" val="202914216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a:extLst>
              <a:ext uri="{FF2B5EF4-FFF2-40B4-BE49-F238E27FC236}">
                <a16:creationId xmlns:a16="http://schemas.microsoft.com/office/drawing/2014/main" id="{AD1B9C76-AAD6-D7A2-0764-3F673600C06E}"/>
              </a:ext>
            </a:extLst>
          </p:cNvPr>
          <p:cNvSpPr>
            <a:spLocks noGrp="1"/>
          </p:cNvSpPr>
          <p:nvPr>
            <p:ph type="sldNum" sz="quarter" idx="12"/>
          </p:nvPr>
        </p:nvSpPr>
        <p:spPr/>
        <p:txBody>
          <a:bodyPr/>
          <a:lstStyle/>
          <a:p>
            <a:pPr>
              <a:defRPr/>
            </a:pPr>
            <a:fld id="{651FC12D-27C1-4F31-90C9-A93D49E44687}" type="slidenum">
              <a:rPr lang="en-US" altLang="ja-JP" smtClean="0"/>
              <a:pPr>
                <a:defRPr/>
              </a:pPr>
              <a:t>77</a:t>
            </a:fld>
            <a:endParaRPr lang="en-US" altLang="ja-JP"/>
          </a:p>
        </p:txBody>
      </p:sp>
    </p:spTree>
    <p:extLst>
      <p:ext uri="{BB962C8B-B14F-4D97-AF65-F5344CB8AC3E}">
        <p14:creationId xmlns:p14="http://schemas.microsoft.com/office/powerpoint/2010/main" val="12575641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I. </a:t>
            </a:r>
            <a:r>
              <a:rPr lang="ja-JP" altLang="en-US"/>
              <a:t>プロジェクトのビジョン</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en-US" altLang="ja-JP"/>
              <a:t>3.</a:t>
            </a:r>
            <a:r>
              <a:rPr lang="ja-JP" altLang="en-US"/>
              <a:t>課題解決のアプローチ</a:t>
            </a:r>
          </a:p>
        </p:txBody>
      </p:sp>
      <p:grpSp>
        <p:nvGrpSpPr>
          <p:cNvPr id="3" name="グループ化 2">
            <a:extLst>
              <a:ext uri="{FF2B5EF4-FFF2-40B4-BE49-F238E27FC236}">
                <a16:creationId xmlns:a16="http://schemas.microsoft.com/office/drawing/2014/main" id="{EBC23DA4-F36B-555D-CA5C-39F94E08823F}"/>
              </a:ext>
            </a:extLst>
          </p:cNvPr>
          <p:cNvGrpSpPr/>
          <p:nvPr/>
        </p:nvGrpSpPr>
        <p:grpSpPr>
          <a:xfrm>
            <a:off x="302400" y="1661738"/>
            <a:ext cx="11587200" cy="309600"/>
            <a:chOff x="302400" y="1990800"/>
            <a:chExt cx="11587200" cy="309600"/>
          </a:xfrm>
        </p:grpSpPr>
        <p:grpSp>
          <p:nvGrpSpPr>
            <p:cNvPr id="4" name="PanelGroup1">
              <a:extLst>
                <a:ext uri="{FF2B5EF4-FFF2-40B4-BE49-F238E27FC236}">
                  <a16:creationId xmlns:a16="http://schemas.microsoft.com/office/drawing/2014/main" id="{182836E8-0A6C-6508-BE54-D9FA5966D104}"/>
                </a:ext>
              </a:extLst>
            </p:cNvPr>
            <p:cNvGrpSpPr/>
            <p:nvPr/>
          </p:nvGrpSpPr>
          <p:grpSpPr>
            <a:xfrm>
              <a:off x="302400" y="1990800"/>
              <a:ext cx="5761200" cy="309600"/>
              <a:chOff x="302400" y="1990800"/>
              <a:chExt cx="5761200" cy="309600"/>
            </a:xfrm>
          </p:grpSpPr>
          <p:sp>
            <p:nvSpPr>
              <p:cNvPr id="12" name="正方形/長方形 11">
                <a:extLst>
                  <a:ext uri="{FF2B5EF4-FFF2-40B4-BE49-F238E27FC236}">
                    <a16:creationId xmlns:a16="http://schemas.microsoft.com/office/drawing/2014/main" id="{0885EF34-1A86-AA39-1A1A-5F99ABF6B7EF}"/>
                  </a:ext>
                </a:extLst>
              </p:cNvPr>
              <p:cNvSpPr/>
              <p:nvPr/>
            </p:nvSpPr>
            <p:spPr>
              <a:xfrm>
                <a:off x="302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プロジェクトの概要</a:t>
                </a:r>
              </a:p>
            </p:txBody>
          </p:sp>
          <p:cxnSp>
            <p:nvCxnSpPr>
              <p:cNvPr id="13" name="直線矢印コネクタ 12">
                <a:extLst>
                  <a:ext uri="{FF2B5EF4-FFF2-40B4-BE49-F238E27FC236}">
                    <a16:creationId xmlns:a16="http://schemas.microsoft.com/office/drawing/2014/main" id="{819B2E49-17B8-3727-8812-69FD5702E69C}"/>
                  </a:ext>
                </a:extLst>
              </p:cNvPr>
              <p:cNvCxnSpPr/>
              <p:nvPr/>
            </p:nvCxnSpPr>
            <p:spPr>
              <a:xfrm>
                <a:off x="302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7" name="PanelGroup2">
              <a:extLst>
                <a:ext uri="{FF2B5EF4-FFF2-40B4-BE49-F238E27FC236}">
                  <a16:creationId xmlns:a16="http://schemas.microsoft.com/office/drawing/2014/main" id="{2FB98B28-3911-4D54-DF63-480395E4E9E6}"/>
                </a:ext>
              </a:extLst>
            </p:cNvPr>
            <p:cNvGrpSpPr/>
            <p:nvPr/>
          </p:nvGrpSpPr>
          <p:grpSpPr>
            <a:xfrm>
              <a:off x="6128400" y="1990800"/>
              <a:ext cx="5761200" cy="309600"/>
              <a:chOff x="6128400" y="1990800"/>
              <a:chExt cx="5761200" cy="309600"/>
            </a:xfrm>
          </p:grpSpPr>
          <p:sp>
            <p:nvSpPr>
              <p:cNvPr id="8" name="正方形/長方形 7">
                <a:extLst>
                  <a:ext uri="{FF2B5EF4-FFF2-40B4-BE49-F238E27FC236}">
                    <a16:creationId xmlns:a16="http://schemas.microsoft.com/office/drawing/2014/main" id="{95ACE118-4131-DE79-F02F-66722864A02D}"/>
                  </a:ext>
                </a:extLst>
              </p:cNvPr>
              <p:cNvSpPr/>
              <p:nvPr/>
            </p:nvSpPr>
            <p:spPr>
              <a:xfrm>
                <a:off x="6128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イメージ</a:t>
                </a:r>
              </a:p>
            </p:txBody>
          </p:sp>
          <p:cxnSp>
            <p:nvCxnSpPr>
              <p:cNvPr id="10" name="直線矢印コネクタ 9">
                <a:extLst>
                  <a:ext uri="{FF2B5EF4-FFF2-40B4-BE49-F238E27FC236}">
                    <a16:creationId xmlns:a16="http://schemas.microsoft.com/office/drawing/2014/main" id="{EEF86A98-39B5-3E9C-8313-F6410191C7AD}"/>
                  </a:ext>
                </a:extLst>
              </p:cNvPr>
              <p:cNvCxnSpPr/>
              <p:nvPr/>
            </p:nvCxnSpPr>
            <p:spPr>
              <a:xfrm>
                <a:off x="6128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sp>
        <p:nvSpPr>
          <p:cNvPr id="17" name="テキスト プレースホルダー 16">
            <a:extLst>
              <a:ext uri="{FF2B5EF4-FFF2-40B4-BE49-F238E27FC236}">
                <a16:creationId xmlns:a16="http://schemas.microsoft.com/office/drawing/2014/main" id="{ED5B4037-6A33-091F-CAB0-26A3BC43E5EE}"/>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6" name="テキスト ボックス 5">
            <a:extLst>
              <a:ext uri="{FF2B5EF4-FFF2-40B4-BE49-F238E27FC236}">
                <a16:creationId xmlns:a16="http://schemas.microsoft.com/office/drawing/2014/main" id="{95B7D5A6-3733-419F-5F47-1323A3D8D852}"/>
              </a:ext>
            </a:extLst>
          </p:cNvPr>
          <p:cNvSpPr txBox="1"/>
          <p:nvPr/>
        </p:nvSpPr>
        <p:spPr>
          <a:xfrm>
            <a:off x="300779" y="2079520"/>
            <a:ext cx="5761200" cy="4463159"/>
          </a:xfrm>
          <a:prstGeom prst="rect">
            <a:avLst/>
          </a:prstGeom>
          <a:noFill/>
        </p:spPr>
        <p:txBody>
          <a:bodyPr wrap="square" anchor="t">
            <a:noAutofit/>
          </a:bodyPr>
          <a:lstStyle/>
          <a:p>
            <a:pPr marR="0" lvl="0" algn="l" defTabSz="914400" rtl="0" eaLnBrk="1" fontAlgn="auto" latinLnBrk="0" hangingPunct="1">
              <a:lnSpc>
                <a:spcPct val="100000"/>
              </a:lnSpc>
              <a:spcBef>
                <a:spcPts val="300"/>
              </a:spcBef>
              <a:spcAft>
                <a:spcPts val="0"/>
              </a:spcAft>
              <a:buClrTx/>
              <a:buSzTx/>
              <a:tabLst/>
              <a:defRPr/>
            </a:pPr>
            <a:r>
              <a:rPr lang="en-US" altLang="ja-JP" sz="1200">
                <a:solidFill>
                  <a:srgbClr val="0070C0"/>
                </a:solidFill>
                <a:latin typeface="BIZ UDPゴシック"/>
                <a:ea typeface="BIZ UDPゴシック"/>
              </a:rPr>
              <a:t>XX</a:t>
            </a:r>
            <a:r>
              <a:rPr lang="ja-JP" altLang="en-US" sz="1200">
                <a:solidFill>
                  <a:srgbClr val="0070C0"/>
                </a:solidFill>
                <a:latin typeface="BIZ UDPゴシック"/>
                <a:ea typeface="BIZ UDPゴシック"/>
              </a:rPr>
              <a:t>地域の交通空白を解消するため、地域の交通事業者と連携した</a:t>
            </a:r>
            <a:r>
              <a:rPr lang="en-US" altLang="ja-JP" sz="1200" err="1">
                <a:solidFill>
                  <a:srgbClr val="0070C0"/>
                </a:solidFill>
                <a:latin typeface="BIZ UDPゴシック"/>
                <a:ea typeface="BIZ UDPゴシック"/>
              </a:rPr>
              <a:t>MaaS</a:t>
            </a:r>
            <a:r>
              <a:rPr lang="ja-JP" altLang="en-US" sz="1200">
                <a:solidFill>
                  <a:srgbClr val="0070C0"/>
                </a:solidFill>
                <a:latin typeface="BIZ UDPゴシック"/>
                <a:ea typeface="BIZ UDPゴシック"/>
              </a:rPr>
              <a:t>プラットフォームを開発し、地域交通へのアクセシビリティを改善する。</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①新規</a:t>
            </a:r>
            <a:r>
              <a:rPr lang="en-US" altLang="ja-JP" sz="1200" err="1">
                <a:solidFill>
                  <a:srgbClr val="0070C0"/>
                </a:solidFill>
                <a:latin typeface="BIZ UDPゴシック"/>
                <a:ea typeface="BIZ UDPゴシック"/>
              </a:rPr>
              <a:t>MaaS</a:t>
            </a:r>
            <a:r>
              <a:rPr lang="ja-JP" altLang="en-US" sz="1200">
                <a:solidFill>
                  <a:srgbClr val="0070C0"/>
                </a:solidFill>
                <a:latin typeface="BIZ UDPゴシック"/>
                <a:ea typeface="BIZ UDPゴシック"/>
              </a:rPr>
              <a:t>アプリの開発</a:t>
            </a:r>
            <a:endParaRPr lang="en-US" altLang="ja-JP" sz="1200">
              <a:solidFill>
                <a:srgbClr val="0070C0"/>
              </a:solidFill>
              <a:latin typeface="BIZ UDPゴシック"/>
              <a:ea typeface="BIZ UDPゴシック"/>
            </a:endParaRPr>
          </a:p>
          <a:p>
            <a:pPr>
              <a:spcBef>
                <a:spcPts val="300"/>
              </a:spcBef>
              <a:defRPr/>
            </a:pPr>
            <a:r>
              <a:rPr lang="ja-JP" altLang="en-US" sz="1200">
                <a:solidFill>
                  <a:srgbClr val="0070C0"/>
                </a:solidFill>
                <a:latin typeface="BIZ UDPゴシック"/>
                <a:ea typeface="BIZ UDPゴシック"/>
              </a:rPr>
              <a:t>　当該エリア内のシームレスな移動を可能とするため、</a:t>
            </a:r>
            <a:r>
              <a:rPr lang="en-US" altLang="ja-JP" sz="1200" err="1">
                <a:solidFill>
                  <a:srgbClr val="0070C0"/>
                </a:solidFill>
                <a:latin typeface="BIZ UDPゴシック"/>
                <a:ea typeface="BIZ UDPゴシック"/>
              </a:rPr>
              <a:t>MaaS</a:t>
            </a:r>
            <a:r>
              <a:rPr lang="ja-JP" altLang="en-US" sz="1200">
                <a:solidFill>
                  <a:srgbClr val="0070C0"/>
                </a:solidFill>
                <a:latin typeface="BIZ UDPゴシック"/>
                <a:ea typeface="BIZ UDPゴシック"/>
              </a:rPr>
              <a:t>アプリの開発及び実</a:t>
            </a:r>
            <a:endParaRPr lang="en-US" altLang="ja-JP" sz="1200">
              <a:solidFill>
                <a:srgbClr val="0070C0"/>
              </a:solidFill>
              <a:latin typeface="BIZ UDPゴシック"/>
              <a:ea typeface="BIZ UDPゴシック"/>
            </a:endParaRPr>
          </a:p>
          <a:p>
            <a:pPr>
              <a:spcBef>
                <a:spcPts val="300"/>
              </a:spcBef>
              <a:defRPr/>
            </a:pPr>
            <a:r>
              <a:rPr lang="ja-JP" altLang="en-US" sz="1200">
                <a:solidFill>
                  <a:srgbClr val="0070C0"/>
                </a:solidFill>
                <a:latin typeface="BIZ UDPゴシック"/>
                <a:ea typeface="BIZ UDPゴシック"/>
              </a:rPr>
              <a:t>　証を行う。</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②デジタルパスの販売</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①で開発したアプリにおいて、エリア内の交通のフリー乗車券と商業施設のクーポ</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ンをセットにし他デジタルパスの販売を実施。</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③サブスクサービスの提供</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当該エリア内で主にマイカー通勤者に対して公共交通利用への転換を促すため、サ　</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ブスクサービスの提供を実施。</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④データ分析の実施</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a:t>
            </a:r>
            <a:r>
              <a:rPr lang="en-US" altLang="ja-JP" sz="1200" err="1">
                <a:solidFill>
                  <a:srgbClr val="0070C0"/>
                </a:solidFill>
                <a:latin typeface="BIZ UDPゴシック"/>
                <a:ea typeface="BIZ UDPゴシック"/>
              </a:rPr>
              <a:t>MaaS</a:t>
            </a:r>
            <a:r>
              <a:rPr lang="ja-JP" altLang="en-US" sz="1200">
                <a:solidFill>
                  <a:srgbClr val="0070C0"/>
                </a:solidFill>
                <a:latin typeface="BIZ UDPゴシック"/>
                <a:ea typeface="BIZ UDPゴシック"/>
              </a:rPr>
              <a:t>アプリ利用者の</a:t>
            </a:r>
            <a:r>
              <a:rPr lang="en-US" altLang="ja-JP" sz="1200">
                <a:solidFill>
                  <a:srgbClr val="0070C0"/>
                </a:solidFill>
                <a:latin typeface="BIZ UDPゴシック"/>
                <a:ea typeface="BIZ UDPゴシック"/>
              </a:rPr>
              <a:t>OD</a:t>
            </a:r>
            <a:r>
              <a:rPr lang="ja-JP" altLang="en-US" sz="1200">
                <a:solidFill>
                  <a:srgbClr val="0070C0"/>
                </a:solidFill>
                <a:latin typeface="BIZ UDPゴシック"/>
                <a:ea typeface="BIZ UDPゴシック"/>
              </a:rPr>
              <a:t>データを取得し、路線バスの再編計画や赤字路線を</a:t>
            </a:r>
            <a:r>
              <a:rPr lang="en-US" altLang="ja-JP" sz="1200">
                <a:solidFill>
                  <a:srgbClr val="0070C0"/>
                </a:solidFill>
                <a:latin typeface="BIZ UDPゴシック"/>
                <a:ea typeface="BIZ UDPゴシック"/>
              </a:rPr>
              <a:t>AI</a:t>
            </a:r>
            <a:r>
              <a:rPr lang="ja-JP" altLang="en-US" sz="1200">
                <a:solidFill>
                  <a:srgbClr val="0070C0"/>
                </a:solidFill>
                <a:latin typeface="BIZ UDPゴシック"/>
                <a:ea typeface="BIZ UDPゴシック"/>
              </a:rPr>
              <a:t>オ</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ンデマンド交通へ転換するなどの政策を検討。</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⑤宿泊施設との連携</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当該エリアの宿泊施設までの移動の利便性を向上させるとともに宿泊施設近隣の</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観光地の周遊を促進させるため、</a:t>
            </a:r>
            <a:r>
              <a:rPr lang="en-US" altLang="ja-JP" sz="1200" err="1">
                <a:solidFill>
                  <a:srgbClr val="0070C0"/>
                </a:solidFill>
                <a:latin typeface="BIZ UDPゴシック"/>
                <a:ea typeface="BIZ UDPゴシック"/>
              </a:rPr>
              <a:t>MaaS</a:t>
            </a:r>
            <a:r>
              <a:rPr lang="ja-JP" altLang="en-US" sz="1200">
                <a:solidFill>
                  <a:srgbClr val="0070C0"/>
                </a:solidFill>
                <a:latin typeface="BIZ UDPゴシック"/>
                <a:ea typeface="BIZ UDPゴシック"/>
              </a:rPr>
              <a:t>アプリ上で宿泊施設との連携を実施する。</a:t>
            </a: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endParaRPr kumimoji="1" lang="en-US" altLang="ja-JP" sz="1200" b="0" i="0" u="none" strike="noStrike" kern="1200" cap="none" spc="0" normalizeH="0" baseline="0" noProof="0">
              <a:ln>
                <a:noFill/>
              </a:ln>
              <a:solidFill>
                <a:srgbClr val="0070C0"/>
              </a:solidFill>
              <a:effectLst/>
              <a:uLnTx/>
              <a:uFillTx/>
              <a:latin typeface="BIZ UDPゴシック"/>
              <a:ea typeface="BIZ UDPゴシック"/>
              <a:cs typeface="+mn-cs"/>
            </a:endParaRPr>
          </a:p>
        </p:txBody>
      </p:sp>
      <p:sp>
        <p:nvSpPr>
          <p:cNvPr id="50" name="テキスト ボックス 49">
            <a:extLst>
              <a:ext uri="{FF2B5EF4-FFF2-40B4-BE49-F238E27FC236}">
                <a16:creationId xmlns:a16="http://schemas.microsoft.com/office/drawing/2014/main" id="{5B635FEA-2811-3A33-A6E6-95440B42D811}"/>
              </a:ext>
            </a:extLst>
          </p:cNvPr>
          <p:cNvSpPr txBox="1"/>
          <p:nvPr/>
        </p:nvSpPr>
        <p:spPr>
          <a:xfrm>
            <a:off x="6280186" y="4311100"/>
            <a:ext cx="5670325" cy="1578177"/>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プロジェクトのイメージビジュアルを掲載してください。</a:t>
            </a:r>
            <a:endParaRPr kumimoji="0" lang="en-US" altLang="ja-JP" sz="1400" b="0" i="0" u="none" strike="noStrike" kern="0" cap="none" spc="0" normalizeH="0" baseline="0" noProof="0">
              <a:ln>
                <a:noFill/>
              </a:ln>
              <a:solidFill>
                <a:srgbClr val="FFFFFF"/>
              </a:solidFill>
              <a:effectLst/>
              <a:uLnTx/>
              <a:uFillTx/>
            </a:endParaRPr>
          </a:p>
        </p:txBody>
      </p:sp>
      <p:sp>
        <p:nvSpPr>
          <p:cNvPr id="53" name="テキスト ボックス 52">
            <a:extLst>
              <a:ext uri="{FF2B5EF4-FFF2-40B4-BE49-F238E27FC236}">
                <a16:creationId xmlns:a16="http://schemas.microsoft.com/office/drawing/2014/main" id="{600AE28E-2F7C-E1F6-5796-97DD1A8A0830}"/>
              </a:ext>
            </a:extLst>
          </p:cNvPr>
          <p:cNvSpPr txBox="1"/>
          <p:nvPr/>
        </p:nvSpPr>
        <p:spPr>
          <a:xfrm>
            <a:off x="391654" y="4311100"/>
            <a:ext cx="5670325" cy="1578177"/>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プロジェクトの全体像と個別のスコープについて明確に記載してください。</a:t>
            </a:r>
            <a:endParaRPr kumimoji="0" lang="en-US" altLang="ja-JP"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27080775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I. </a:t>
            </a:r>
            <a:r>
              <a:rPr lang="ja-JP" altLang="en-US"/>
              <a:t>プロジェクトのビジョン</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a:xfrm>
            <a:off x="300778" y="655357"/>
            <a:ext cx="11891221" cy="432000"/>
          </a:xfrm>
        </p:spPr>
        <p:txBody>
          <a:bodyPr vert="horz"/>
          <a:lstStyle/>
          <a:p>
            <a:r>
              <a:rPr lang="ja-JP" altLang="en-US"/>
              <a:t>４</a:t>
            </a:r>
            <a:r>
              <a:rPr lang="en-US" altLang="ja-JP"/>
              <a:t>.KPI</a:t>
            </a:r>
            <a:r>
              <a:rPr lang="ja-JP" altLang="en-US"/>
              <a:t>│これまでの</a:t>
            </a:r>
            <a:r>
              <a:rPr lang="en-US" altLang="ja-JP"/>
              <a:t>KPI</a:t>
            </a:r>
            <a:r>
              <a:rPr lang="ja-JP" altLang="en-US"/>
              <a:t>実績</a:t>
            </a:r>
          </a:p>
        </p:txBody>
      </p:sp>
      <p:sp>
        <p:nvSpPr>
          <p:cNvPr id="7" name="テキスト プレースホルダー 10">
            <a:extLst>
              <a:ext uri="{FF2B5EF4-FFF2-40B4-BE49-F238E27FC236}">
                <a16:creationId xmlns:a16="http://schemas.microsoft.com/office/drawing/2014/main" id="{3691CDB4-58BB-E579-BB19-C14A7E95B4EB}"/>
              </a:ext>
            </a:extLst>
          </p:cNvPr>
          <p:cNvSpPr txBox="1">
            <a:spLocks/>
          </p:cNvSpPr>
          <p:nvPr/>
        </p:nvSpPr>
        <p:spPr>
          <a:xfrm>
            <a:off x="300779" y="1736090"/>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lang="en-US" altLang="ja-JP" sz="1800" kern="0">
                <a:solidFill>
                  <a:srgbClr val="000000"/>
                </a:solidFill>
              </a:rPr>
              <a:t>[</a:t>
            </a:r>
            <a:r>
              <a:rPr lang="ja-JP" altLang="en-US" sz="1800" kern="0">
                <a:solidFill>
                  <a:srgbClr val="000000"/>
                </a:solidFill>
              </a:rPr>
              <a:t>サマリーを記載</a:t>
            </a:r>
            <a:r>
              <a:rPr lang="en-US" altLang="ja-JP" sz="1800" kern="0">
                <a:solidFill>
                  <a:srgbClr val="000000"/>
                </a:solidFill>
              </a:rPr>
              <a:t>]</a:t>
            </a:r>
            <a:endParaRPr lang="ja-JP" altLang="en-US" sz="1800" kern="0">
              <a:solidFill>
                <a:srgbClr val="000000"/>
              </a:solidFill>
            </a:endParaRPr>
          </a:p>
        </p:txBody>
      </p:sp>
      <p:graphicFrame>
        <p:nvGraphicFramePr>
          <p:cNvPr id="4" name="表 3">
            <a:extLst>
              <a:ext uri="{FF2B5EF4-FFF2-40B4-BE49-F238E27FC236}">
                <a16:creationId xmlns:a16="http://schemas.microsoft.com/office/drawing/2014/main" id="{0C7EBEDC-46F2-4C75-201F-1BD5EC9DF524}"/>
              </a:ext>
            </a:extLst>
          </p:cNvPr>
          <p:cNvGraphicFramePr>
            <a:graphicFrameLocks noGrp="1"/>
          </p:cNvGraphicFramePr>
          <p:nvPr>
            <p:extLst>
              <p:ext uri="{D42A27DB-BD31-4B8C-83A1-F6EECF244321}">
                <p14:modId xmlns:p14="http://schemas.microsoft.com/office/powerpoint/2010/main" val="429053458"/>
              </p:ext>
            </p:extLst>
          </p:nvPr>
        </p:nvGraphicFramePr>
        <p:xfrm>
          <a:off x="296121" y="1443789"/>
          <a:ext cx="11595100" cy="4326097"/>
        </p:xfrm>
        <a:graphic>
          <a:graphicData uri="http://schemas.openxmlformats.org/drawingml/2006/table">
            <a:tbl>
              <a:tblPr>
                <a:tableStyleId>{E8034E78-7F5D-4C2E-B375-FC64B27BC917}</a:tableStyleId>
              </a:tblPr>
              <a:tblGrid>
                <a:gridCol w="280242">
                  <a:extLst>
                    <a:ext uri="{9D8B030D-6E8A-4147-A177-3AD203B41FA5}">
                      <a16:colId xmlns:a16="http://schemas.microsoft.com/office/drawing/2014/main" val="20003"/>
                    </a:ext>
                  </a:extLst>
                </a:gridCol>
                <a:gridCol w="2706768">
                  <a:extLst>
                    <a:ext uri="{9D8B030D-6E8A-4147-A177-3AD203B41FA5}">
                      <a16:colId xmlns:a16="http://schemas.microsoft.com/office/drawing/2014/main" val="3299919043"/>
                    </a:ext>
                  </a:extLst>
                </a:gridCol>
                <a:gridCol w="1881963">
                  <a:extLst>
                    <a:ext uri="{9D8B030D-6E8A-4147-A177-3AD203B41FA5}">
                      <a16:colId xmlns:a16="http://schemas.microsoft.com/office/drawing/2014/main" val="4027897853"/>
                    </a:ext>
                  </a:extLst>
                </a:gridCol>
                <a:gridCol w="1360968">
                  <a:extLst>
                    <a:ext uri="{9D8B030D-6E8A-4147-A177-3AD203B41FA5}">
                      <a16:colId xmlns:a16="http://schemas.microsoft.com/office/drawing/2014/main" val="22851105"/>
                    </a:ext>
                  </a:extLst>
                </a:gridCol>
                <a:gridCol w="1392865">
                  <a:extLst>
                    <a:ext uri="{9D8B030D-6E8A-4147-A177-3AD203B41FA5}">
                      <a16:colId xmlns:a16="http://schemas.microsoft.com/office/drawing/2014/main" val="177072808"/>
                    </a:ext>
                  </a:extLst>
                </a:gridCol>
                <a:gridCol w="3972294">
                  <a:extLst>
                    <a:ext uri="{9D8B030D-6E8A-4147-A177-3AD203B41FA5}">
                      <a16:colId xmlns:a16="http://schemas.microsoft.com/office/drawing/2014/main" val="3075782870"/>
                    </a:ext>
                  </a:extLst>
                </a:gridCol>
              </a:tblGrid>
              <a:tr h="746417">
                <a:tc>
                  <a:txBody>
                    <a:bodyPr/>
                    <a:lstStyle/>
                    <a:p>
                      <a:pPr algn="ctr"/>
                      <a:r>
                        <a:rPr kumimoji="1" lang="en-US" altLang="ja-JP" sz="1050" b="1">
                          <a:solidFill>
                            <a:sysClr val="windowText" lastClr="000000"/>
                          </a:solidFill>
                          <a:latin typeface="+mn-ea"/>
                          <a:ea typeface="+mn-ea"/>
                        </a:rPr>
                        <a:t>#</a:t>
                      </a:r>
                      <a:endParaRPr kumimoji="1" lang="ja-JP" altLang="en-US" sz="1050" b="1">
                        <a:solidFill>
                          <a:sysClr val="windowText" lastClr="000000"/>
                        </a:solidFill>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50" b="1">
                          <a:solidFill>
                            <a:sysClr val="windowText" lastClr="000000"/>
                          </a:solidFill>
                          <a:latin typeface="+mn-ea"/>
                          <a:ea typeface="+mn-ea"/>
                        </a:rPr>
                        <a:t>測定項目</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en-US" altLang="ja-JP" sz="1050" b="1">
                          <a:solidFill>
                            <a:sysClr val="windowText" lastClr="000000"/>
                          </a:solidFill>
                          <a:latin typeface="+mn-ea"/>
                          <a:ea typeface="+mn-ea"/>
                        </a:rPr>
                        <a:t>KPI</a:t>
                      </a:r>
                      <a:endParaRPr kumimoji="1" lang="ja-JP" altLang="en-US" sz="1050" b="1">
                        <a:solidFill>
                          <a:sysClr val="windowText" lastClr="000000"/>
                        </a:solidFill>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50" b="1">
                          <a:solidFill>
                            <a:sysClr val="windowText" lastClr="000000"/>
                          </a:solidFill>
                          <a:latin typeface="+mn-ea"/>
                          <a:ea typeface="+mn-ea"/>
                        </a:rPr>
                        <a:t>事業実施年度</a:t>
                      </a:r>
                      <a:endParaRPr kumimoji="1" lang="en-US" altLang="ja-JP" sz="1050" b="1">
                        <a:solidFill>
                          <a:sysClr val="windowText" lastClr="000000"/>
                        </a:solidFill>
                        <a:latin typeface="+mn-ea"/>
                        <a:ea typeface="+mn-ea"/>
                      </a:endParaRPr>
                    </a:p>
                    <a:p>
                      <a:r>
                        <a:rPr kumimoji="1" lang="ja-JP" altLang="en-US" sz="1050" b="1">
                          <a:solidFill>
                            <a:sysClr val="windowText" lastClr="000000"/>
                          </a:solidFill>
                          <a:latin typeface="+mn-ea"/>
                          <a:ea typeface="+mn-ea"/>
                        </a:rPr>
                        <a:t>の目標値</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50" b="1">
                          <a:solidFill>
                            <a:sysClr val="windowText" lastClr="000000"/>
                          </a:solidFill>
                          <a:latin typeface="+mn-ea"/>
                          <a:ea typeface="+mn-ea"/>
                        </a:rPr>
                        <a:t>実績値</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50" b="1">
                          <a:solidFill>
                            <a:sysClr val="windowText" lastClr="000000"/>
                          </a:solidFill>
                          <a:latin typeface="+mn-ea"/>
                          <a:ea typeface="+mn-ea"/>
                        </a:rPr>
                        <a:t>目標値設定根拠</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740036">
                <a:tc>
                  <a:txBody>
                    <a:bodyPr/>
                    <a:lstStyle/>
                    <a:p>
                      <a:pPr algn="ctr"/>
                      <a:r>
                        <a:rPr kumimoji="1" lang="en-US" altLang="ja-JP" sz="1050" kern="1200">
                          <a:solidFill>
                            <a:sysClr val="windowText" lastClr="000000"/>
                          </a:solidFill>
                          <a:latin typeface="+mn-ea"/>
                          <a:ea typeface="+mn-ea"/>
                          <a:cs typeface="+mn-cs"/>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050" kern="1200">
                          <a:solidFill>
                            <a:srgbClr val="0070C0"/>
                          </a:solidFill>
                          <a:latin typeface="+mn-ea"/>
                          <a:ea typeface="+mn-ea"/>
                          <a:cs typeface="+mn-cs"/>
                        </a:rPr>
                        <a:t>MaaS</a:t>
                      </a:r>
                      <a:r>
                        <a:rPr kumimoji="1" lang="ja-JP" altLang="en-US" sz="1050" kern="1200">
                          <a:solidFill>
                            <a:srgbClr val="0070C0"/>
                          </a:solidFill>
                          <a:latin typeface="+mn-ea"/>
                          <a:ea typeface="+mn-ea"/>
                          <a:cs typeface="+mn-cs"/>
                        </a:rPr>
                        <a:t>アプリ利用者の増加</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050" kern="1200">
                          <a:solidFill>
                            <a:srgbClr val="0070C0"/>
                          </a:solidFill>
                          <a:latin typeface="+mn-ea"/>
                          <a:ea typeface="+mn-ea"/>
                          <a:cs typeface="+mn-cs"/>
                        </a:rPr>
                        <a:t>MaaS</a:t>
                      </a:r>
                      <a:r>
                        <a:rPr kumimoji="1" lang="ja-JP" altLang="en-US" sz="1050" kern="1200">
                          <a:solidFill>
                            <a:srgbClr val="0070C0"/>
                          </a:solidFill>
                          <a:latin typeface="+mn-ea"/>
                          <a:ea typeface="+mn-ea"/>
                          <a:cs typeface="+mn-cs"/>
                        </a:rPr>
                        <a:t>会員登録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ターゲット人口の</a:t>
                      </a:r>
                      <a:r>
                        <a:rPr kumimoji="1" lang="en-US" altLang="ja-JP" sz="1050" kern="1200">
                          <a:solidFill>
                            <a:srgbClr val="0070C0"/>
                          </a:solidFill>
                          <a:latin typeface="+mn-ea"/>
                          <a:ea typeface="+mn-ea"/>
                          <a:cs typeface="+mn-cs"/>
                        </a:rPr>
                        <a:t>1%</a:t>
                      </a:r>
                      <a:r>
                        <a:rPr kumimoji="1" lang="ja-JP" altLang="en-US" sz="1050" kern="1200">
                          <a:solidFill>
                            <a:srgbClr val="0070C0"/>
                          </a:solidFill>
                          <a:latin typeface="+mn-ea"/>
                          <a:ea typeface="+mn-ea"/>
                          <a:cs typeface="+mn-cs"/>
                        </a:rPr>
                        <a:t>、先行事例のデータを参考に設定。</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673405">
                <a:tc>
                  <a:txBody>
                    <a:bodyPr/>
                    <a:lstStyle/>
                    <a:p>
                      <a:pPr algn="ctr"/>
                      <a:r>
                        <a:rPr kumimoji="1" lang="en-US" altLang="ja-JP" sz="1050" kern="1200">
                          <a:solidFill>
                            <a:sysClr val="windowText" lastClr="000000"/>
                          </a:solidFill>
                          <a:latin typeface="+mn-ea"/>
                          <a:ea typeface="+mn-ea"/>
                          <a:cs typeface="+mn-cs"/>
                        </a:rPr>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i="0" u="none">
                          <a:solidFill>
                            <a:srgbClr val="0070C0"/>
                          </a:solidFill>
                          <a:latin typeface="+mn-ea"/>
                          <a:ea typeface="+mn-ea"/>
                        </a:rPr>
                        <a:t>乗継ぎ割引サービスの利用者増加</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乗継ぎ利用者数</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0070C0"/>
                          </a:solidFill>
                          <a:effectLst/>
                          <a:uLnTx/>
                          <a:uFillTx/>
                          <a:latin typeface="BIZ UDPゴシック"/>
                          <a:ea typeface="+mn-ea"/>
                          <a:cs typeface="+mn-cs"/>
                        </a:rPr>
                        <a:t>ターゲット人口の</a:t>
                      </a:r>
                      <a:r>
                        <a:rPr kumimoji="1" lang="en-US" altLang="ja-JP" sz="1050" b="0" i="0" u="none" strike="noStrike" kern="1200" cap="none" spc="0" normalizeH="0" baseline="0" noProof="0">
                          <a:ln>
                            <a:noFill/>
                          </a:ln>
                          <a:solidFill>
                            <a:srgbClr val="0070C0"/>
                          </a:solidFill>
                          <a:effectLst/>
                          <a:uLnTx/>
                          <a:uFillTx/>
                          <a:latin typeface="BIZ UDPゴシック"/>
                          <a:ea typeface="+mn-ea"/>
                          <a:cs typeface="+mn-cs"/>
                        </a:rPr>
                        <a:t>1%</a:t>
                      </a:r>
                      <a:r>
                        <a:rPr kumimoji="1" lang="ja-JP" altLang="en-US" sz="1050" b="0" i="0" u="none" strike="noStrike" kern="1200" cap="none" spc="0" normalizeH="0" baseline="0" noProof="0">
                          <a:ln>
                            <a:noFill/>
                          </a:ln>
                          <a:solidFill>
                            <a:srgbClr val="0070C0"/>
                          </a:solidFill>
                          <a:effectLst/>
                          <a:uLnTx/>
                          <a:uFillTx/>
                          <a:latin typeface="BIZ UDPゴシック"/>
                          <a:ea typeface="+mn-ea"/>
                          <a:cs typeface="+mn-cs"/>
                        </a:rPr>
                        <a:t>、先行事例のデータを参考に設定。</a:t>
                      </a:r>
                      <a:endParaRPr kumimoji="1" lang="en-US" altLang="ja-JP" sz="1050" b="0" i="0" u="none" strike="noStrike" kern="1200" cap="none" spc="0" normalizeH="0" baseline="0" noProof="0">
                        <a:ln>
                          <a:noFill/>
                        </a:ln>
                        <a:solidFill>
                          <a:srgbClr val="0070C0"/>
                        </a:solidFill>
                        <a:effectLst/>
                        <a:uLnTx/>
                        <a:uFillTx/>
                        <a:latin typeface="BIZ UDPゴシック"/>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746417">
                <a:tc>
                  <a:txBody>
                    <a:bodyPr/>
                    <a:lstStyle/>
                    <a:p>
                      <a:pPr algn="ctr"/>
                      <a:r>
                        <a:rPr kumimoji="1" lang="ja-JP" altLang="en-US" sz="1050" kern="1200">
                          <a:solidFill>
                            <a:sysClr val="windowText" lastClr="000000"/>
                          </a:solidFill>
                          <a:latin typeface="+mn-ea"/>
                          <a:ea typeface="+mn-ea"/>
                          <a:cs typeface="+mn-cs"/>
                        </a:rPr>
                        <a:t>３</a:t>
                      </a:r>
                      <a:endParaRPr kumimoji="1" lang="en-US" altLang="ja-JP" sz="1050" kern="1200">
                        <a:solidFill>
                          <a:sysClr val="windowText" lastClr="00000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i="0" u="none">
                          <a:solidFill>
                            <a:srgbClr val="0070C0"/>
                          </a:solidFill>
                          <a:latin typeface="+mn-ea"/>
                          <a:ea typeface="+mn-ea"/>
                        </a:rPr>
                        <a:t>MaaS</a:t>
                      </a:r>
                      <a:r>
                        <a:rPr kumimoji="1" lang="ja-JP" altLang="en-US" sz="1050" i="0" u="none">
                          <a:solidFill>
                            <a:srgbClr val="0070C0"/>
                          </a:solidFill>
                          <a:latin typeface="+mn-ea"/>
                          <a:ea typeface="+mn-ea"/>
                        </a:rPr>
                        <a:t>アプリでのデマンドバス予約提供開始による利用者の増加</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i="0" u="none">
                          <a:solidFill>
                            <a:srgbClr val="0070C0"/>
                          </a:solidFill>
                          <a:latin typeface="+mn-ea"/>
                          <a:ea typeface="+mn-ea"/>
                        </a:rPr>
                        <a:t>デマンドバス利用者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kern="1200">
                          <a:solidFill>
                            <a:srgbClr val="0070C0"/>
                          </a:solidFill>
                          <a:latin typeface="+mn-ea"/>
                          <a:ea typeface="+mn-ea"/>
                          <a:cs typeface="+mn-cs"/>
                        </a:rPr>
                        <a:t>MaaS</a:t>
                      </a:r>
                      <a:r>
                        <a:rPr kumimoji="1" lang="ja-JP" altLang="en-US" sz="1050" kern="1200">
                          <a:solidFill>
                            <a:srgbClr val="0070C0"/>
                          </a:solidFill>
                          <a:latin typeface="+mn-ea"/>
                          <a:ea typeface="+mn-ea"/>
                          <a:cs typeface="+mn-cs"/>
                        </a:rPr>
                        <a:t>アプリ提供前のデマンドバス利用者の○％に設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82229529"/>
                  </a:ext>
                </a:extLst>
              </a:tr>
              <a:tr h="673405">
                <a:tc>
                  <a:txBody>
                    <a:bodyPr/>
                    <a:lstStyle/>
                    <a:p>
                      <a:pPr algn="ctr"/>
                      <a:r>
                        <a:rPr kumimoji="1" lang="en-US" altLang="ja-JP" sz="1050" kern="1200">
                          <a:solidFill>
                            <a:sysClr val="windowText" lastClr="000000"/>
                          </a:solidFill>
                          <a:latin typeface="+mn-ea"/>
                          <a:ea typeface="+mn-ea"/>
                          <a:cs typeface="+mn-cs"/>
                        </a:rPr>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企画乗車券の販売数増加</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企画乗車券の販売数</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件</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件</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対象路線の通常乗車券利用者の○％に設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37395077"/>
                  </a:ext>
                </a:extLst>
              </a:tr>
              <a:tr h="746417">
                <a:tc>
                  <a:txBody>
                    <a:bodyPr/>
                    <a:lstStyle/>
                    <a:p>
                      <a:pPr algn="ctr"/>
                      <a:r>
                        <a:rPr kumimoji="1" lang="en-US" altLang="ja-JP" sz="1050" kern="1200">
                          <a:solidFill>
                            <a:sysClr val="windowText" lastClr="000000"/>
                          </a:solidFill>
                          <a:latin typeface="+mn-ea"/>
                          <a:ea typeface="+mn-ea"/>
                          <a:cs typeface="+mn-cs"/>
                        </a:rPr>
                        <a:t>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利用者の利便性向上</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利用者のサービス満足度</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アンケート回答の</a:t>
                      </a:r>
                      <a:endParaRPr kumimoji="1" lang="en-US" altLang="ja-JP" sz="1050" kern="1200">
                        <a:solidFill>
                          <a:srgbClr val="0070C0"/>
                        </a:solidFill>
                        <a:latin typeface="+mn-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平均値○以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アンケート回答の</a:t>
                      </a:r>
                      <a:endParaRPr kumimoji="1" lang="en-US" altLang="ja-JP" sz="1050" kern="1200">
                        <a:solidFill>
                          <a:srgbClr val="0070C0"/>
                        </a:solidFill>
                        <a:latin typeface="+mn-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平均値○以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15378374"/>
                  </a:ext>
                </a:extLst>
              </a:tr>
            </a:tbl>
          </a:graphicData>
        </a:graphic>
      </p:graphicFrame>
      <p:sp>
        <p:nvSpPr>
          <p:cNvPr id="6" name="テキスト ボックス 5">
            <a:extLst>
              <a:ext uri="{FF2B5EF4-FFF2-40B4-BE49-F238E27FC236}">
                <a16:creationId xmlns:a16="http://schemas.microsoft.com/office/drawing/2014/main" id="{21D13A10-9062-ED6C-1199-D4C143403E83}"/>
              </a:ext>
            </a:extLst>
          </p:cNvPr>
          <p:cNvSpPr txBox="1"/>
          <p:nvPr/>
        </p:nvSpPr>
        <p:spPr>
          <a:xfrm>
            <a:off x="3411225" y="3728182"/>
            <a:ext cx="5670325" cy="1578177"/>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新規項目については記載不要です。</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実装済みの</a:t>
            </a:r>
            <a:r>
              <a:rPr kumimoji="0" lang="en-US" altLang="ja-JP" sz="1400" b="0" i="0" u="none" strike="noStrike" kern="0" cap="none" spc="0" normalizeH="0" baseline="0" noProof="0" err="1">
                <a:ln>
                  <a:noFill/>
                </a:ln>
                <a:solidFill>
                  <a:srgbClr val="FFFFFF"/>
                </a:solidFill>
                <a:effectLst/>
                <a:uLnTx/>
                <a:uFillTx/>
              </a:rPr>
              <a:t>MaaS</a:t>
            </a:r>
            <a:r>
              <a:rPr kumimoji="0" lang="ja-JP" altLang="en-US" sz="1400" b="0" i="0" u="none" strike="noStrike" kern="0" cap="none" spc="0" normalizeH="0" baseline="0" noProof="0">
                <a:ln>
                  <a:noFill/>
                </a:ln>
                <a:solidFill>
                  <a:srgbClr val="FFFFFF"/>
                </a:solidFill>
                <a:effectLst/>
                <a:uLnTx/>
                <a:uFillTx/>
              </a:rPr>
              <a:t>の既存</a:t>
            </a:r>
            <a:r>
              <a:rPr kumimoji="0" lang="en-US" altLang="ja-JP" sz="1400" b="0" i="0" u="none" strike="noStrike" kern="0" cap="none" spc="0" normalizeH="0" baseline="0" noProof="0">
                <a:ln>
                  <a:noFill/>
                </a:ln>
                <a:solidFill>
                  <a:srgbClr val="FFFFFF"/>
                </a:solidFill>
                <a:effectLst/>
                <a:uLnTx/>
                <a:uFillTx/>
              </a:rPr>
              <a:t>KPI</a:t>
            </a:r>
            <a:r>
              <a:rPr kumimoji="0" lang="ja-JP" altLang="en-US" sz="1400" b="0" i="0" u="none" strike="noStrike" kern="0" cap="none" spc="0" normalizeH="0" baseline="0" noProof="0">
                <a:ln>
                  <a:noFill/>
                </a:ln>
                <a:solidFill>
                  <a:srgbClr val="FFFFFF"/>
                </a:solidFill>
                <a:effectLst/>
                <a:uLnTx/>
                <a:uFillTx/>
              </a:rPr>
              <a:t>の実績について記載してください。​</a:t>
            </a:r>
            <a:endParaRPr kumimoji="0" lang="en-US" altLang="ja-JP"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4781362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2CUTtPLl_woWDjQCX8xS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標準デザイン_配布版">
  <a:themeElements>
    <a:clrScheme name="plateau color1">
      <a:dk1>
        <a:srgbClr val="000000"/>
      </a:dk1>
      <a:lt1>
        <a:srgbClr val="FFFFFF"/>
      </a:lt1>
      <a:dk2>
        <a:srgbClr val="000000"/>
      </a:dk2>
      <a:lt2>
        <a:srgbClr val="808080"/>
      </a:lt2>
      <a:accent1>
        <a:srgbClr val="EDEEEE"/>
      </a:accent1>
      <a:accent2>
        <a:srgbClr val="00C2C0"/>
      </a:accent2>
      <a:accent3>
        <a:srgbClr val="483A67"/>
      </a:accent3>
      <a:accent4>
        <a:srgbClr val="E0F300"/>
      </a:accent4>
      <a:accent5>
        <a:srgbClr val="E73A43"/>
      </a:accent5>
      <a:accent6>
        <a:srgbClr val="00DA44"/>
      </a:accent6>
      <a:hlink>
        <a:srgbClr val="009999"/>
      </a:hlink>
      <a:folHlink>
        <a:srgbClr val="99CC00"/>
      </a:folHlink>
    </a:clrScheme>
    <a:fontScheme name="ユーザー定義 5">
      <a:majorFont>
        <a:latin typeface="BIZ UDPゴシック"/>
        <a:ea typeface="BIZ UDPゴシック"/>
        <a:cs typeface=""/>
      </a:majorFont>
      <a:minorFont>
        <a:latin typeface="BIZ UDPゴシック"/>
        <a:ea typeface="BIZ UDP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DEEEE"/>
        </a:solidFill>
        <a:ln>
          <a:noFill/>
        </a:ln>
      </a:spPr>
      <a:bodyPr lIns="36000" tIns="36000" rIns="36000" bIns="36000" rtlCol="0" anchor="ctr"/>
      <a:lstStyle>
        <a:defPPr algn="ctr">
          <a:spcBef>
            <a:spcPts val="300"/>
          </a:spcBef>
          <a:defRPr kumimoji="1" sz="16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lgn="l">
          <a:defRPr kumimoji="1" sz="1100" dirty="0">
            <a:latin typeface="+mn-ea"/>
            <a:ea typeface="+mn-ea"/>
          </a:defRPr>
        </a:defPPr>
      </a:lstStyle>
    </a:txDef>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タイトル.pptx" id="{E7498F8A-E358-466F-AF97-A85145EC8708}" vid="{1396C27A-9803-4462-9F31-16E49278FC2D}"/>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8796a868-7127-405e-9e92-a32837cab98d">
      <Terms xmlns="http://schemas.microsoft.com/office/infopath/2007/PartnerControls"/>
    </lcf76f155ced4ddcb4097134ff3c332f>
    <TaxCatchAll xmlns="32f61a2f-400f-4e9e-94b6-317688899f21" xsi:nil="true"/>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F006C88635A2424E86804F2342387106" ma:contentTypeVersion="15" ma:contentTypeDescription="新しいドキュメントを作成します。" ma:contentTypeScope="" ma:versionID="c0aecfde86254b3ee9b7b4fd78e73f19">
  <xsd:schema xmlns:xsd="http://www.w3.org/2001/XMLSchema" xmlns:xs="http://www.w3.org/2001/XMLSchema" xmlns:p="http://schemas.microsoft.com/office/2006/metadata/properties" xmlns:ns2="8796a868-7127-405e-9e92-a32837cab98d" xmlns:ns3="32f61a2f-400f-4e9e-94b6-317688899f21" targetNamespace="http://schemas.microsoft.com/office/2006/metadata/properties" ma:root="true" ma:fieldsID="d5592a7257a948fbcd1d3748c3bfbe83" ns2:_="" ns3:_="">
    <xsd:import namespace="8796a868-7127-405e-9e92-a32837cab98d"/>
    <xsd:import namespace="32f61a2f-400f-4e9e-94b6-317688899f2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Locatio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ObjectDetectorVersion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96a868-7127-405e-9e92-a32837cab98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ServiceLocation" ma:index="11" nillable="true" ma:displayName="Location" ma:indexed="true" ma:internalName="MediaServiceLocatio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画像タグ" ma:readOnly="false" ma:fieldId="{5cf76f15-5ced-4ddc-b409-7134ff3c332f}" ma:taxonomyMulti="true" ma:sspId="32dd98ac-7f38-441c-8624-e0daaf53fd89"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2f61a2f-400f-4e9e-94b6-317688899f21"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f2552a0e-6428-4380-80fc-c6793b9d132f}" ma:internalName="TaxCatchAll" ma:showField="CatchAllData" ma:web="32f61a2f-400f-4e9e-94b6-317688899f21">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F3402CF-0971-4FC5-B115-17C9C0A95925}">
  <ds:schemaRefs>
    <ds:schemaRef ds:uri="http://schemas.microsoft.com/sharepoint/v3/contenttype/forms"/>
  </ds:schemaRefs>
</ds:datastoreItem>
</file>

<file path=customXml/itemProps2.xml><?xml version="1.0" encoding="utf-8"?>
<ds:datastoreItem xmlns:ds="http://schemas.openxmlformats.org/officeDocument/2006/customXml" ds:itemID="{28A04661-F4E9-4108-811E-23CAD80C9C75}">
  <ds:schemaRefs>
    <ds:schemaRef ds:uri="http://schemas.microsoft.com/office/2006/documentManagement/types"/>
    <ds:schemaRef ds:uri="http://www.w3.org/XML/1998/namespace"/>
    <ds:schemaRef ds:uri="http://purl.org/dc/terms/"/>
    <ds:schemaRef ds:uri="http://purl.org/dc/dcmitype/"/>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32f61a2f-400f-4e9e-94b6-317688899f21"/>
    <ds:schemaRef ds:uri="8796a868-7127-405e-9e92-a32837cab98d"/>
  </ds:schemaRefs>
</ds:datastoreItem>
</file>

<file path=customXml/itemProps3.xml><?xml version="1.0" encoding="utf-8"?>
<ds:datastoreItem xmlns:ds="http://schemas.openxmlformats.org/officeDocument/2006/customXml" ds:itemID="{8243C772-4F42-4155-8BD4-E039F18C1FEB}">
  <ds:schemaRefs>
    <ds:schemaRef ds:uri="32f61a2f-400f-4e9e-94b6-317688899f21"/>
    <ds:schemaRef ds:uri="8796a868-7127-405e-9e92-a32837cab98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Words>14435</Words>
  <PresentationFormat>ワイド画面</PresentationFormat>
  <Paragraphs>2235</Paragraphs>
  <Slides>77</Slides>
  <Notes>29</Notes>
  <HiddenSlides>0</HiddenSlides>
  <MMClips>0</MMClips>
  <ScaleCrop>false</ScaleCrop>
  <HeadingPairs>
    <vt:vector size="8" baseType="variant">
      <vt:variant>
        <vt:lpstr>使用されているフォント</vt:lpstr>
      </vt:variant>
      <vt:variant>
        <vt:i4>9</vt:i4>
      </vt:variant>
      <vt:variant>
        <vt:lpstr>テーマ</vt:lpstr>
      </vt:variant>
      <vt:variant>
        <vt:i4>1</vt:i4>
      </vt:variant>
      <vt:variant>
        <vt:lpstr>埋め込まれた OLE サーバー</vt:lpstr>
      </vt:variant>
      <vt:variant>
        <vt:i4>1</vt:i4>
      </vt:variant>
      <vt:variant>
        <vt:lpstr>スライド タイトル</vt:lpstr>
      </vt:variant>
      <vt:variant>
        <vt:i4>77</vt:i4>
      </vt:variant>
    </vt:vector>
  </HeadingPairs>
  <TitlesOfParts>
    <vt:vector size="88" baseType="lpstr">
      <vt:lpstr>BIZ UDPゴシック</vt:lpstr>
      <vt:lpstr>HGP創英角ｺﾞｼｯｸUB</vt:lpstr>
      <vt:lpstr>Meiryo UI</vt:lpstr>
      <vt:lpstr>Noto Sans CJK JP</vt:lpstr>
      <vt:lpstr>Noto Sans JP</vt:lpstr>
      <vt:lpstr>游ゴシック</vt:lpstr>
      <vt:lpstr>游ゴシック Medium</vt:lpstr>
      <vt:lpstr>Arial</vt:lpstr>
      <vt:lpstr>Wingdings</vt:lpstr>
      <vt:lpstr>標準デザイン_配布版</vt:lpstr>
      <vt:lpstr>think-cell スライド</vt:lpstr>
      <vt:lpstr>FY2025 日本版MaaS推進・支援事業 【[プロジェクト名]】   実施計画書</vt:lpstr>
      <vt:lpstr>PowerPoint プレゼンテーション</vt:lpstr>
      <vt:lpstr>本資料の位置付け②</vt:lpstr>
      <vt:lpstr>本資料の位置付け③</vt:lpstr>
      <vt:lpstr>目次</vt:lpstr>
      <vt:lpstr>1.解決すべき社会課題</vt:lpstr>
      <vt:lpstr>２.創出価値</vt:lpstr>
      <vt:lpstr>3.課題解決のアプローチ</vt:lpstr>
      <vt:lpstr>４.KPI│これまでのKPI実績</vt:lpstr>
      <vt:lpstr>４.KPI│プロジェクト全体のKPI</vt:lpstr>
      <vt:lpstr>５.想定事業機会</vt:lpstr>
      <vt:lpstr>６.中長期的な展開</vt:lpstr>
      <vt:lpstr>目次</vt:lpstr>
      <vt:lpstr>1.サービス全体像</vt:lpstr>
      <vt:lpstr>１.サービス全体像│実現するUX</vt:lpstr>
      <vt:lpstr>１.サービス全体像│実現するUX</vt:lpstr>
      <vt:lpstr>１.サービス全体像│実現するUX</vt:lpstr>
      <vt:lpstr>１.サービス全体像│過年度の課題と解決</vt:lpstr>
      <vt:lpstr>１.サービス全体像│過年度の課題と解決</vt:lpstr>
      <vt:lpstr>１.サービス全体像│過年度の課題と解決</vt:lpstr>
      <vt:lpstr>１.サービス全体像│実装済みの機能</vt:lpstr>
      <vt:lpstr>１.サービス全体像│実装済みの機能</vt:lpstr>
      <vt:lpstr>１.サービス全体像│実装済みの機能</vt:lpstr>
      <vt:lpstr>２.実証仮説</vt:lpstr>
      <vt:lpstr>３.スコープ詳細</vt:lpstr>
      <vt:lpstr>３.スコープ詳細</vt:lpstr>
      <vt:lpstr>３.スコープ詳細</vt:lpstr>
      <vt:lpstr>４.プロジェクト実施エリア</vt:lpstr>
      <vt:lpstr>５.アーキテクチャ全体図-システムアーキテクチャ図-</vt:lpstr>
      <vt:lpstr>６.ハードウェアアーキテクチャ</vt:lpstr>
      <vt:lpstr>７.利用する技術要素</vt:lpstr>
      <vt:lpstr>８.ユーザインタフェース｜全体UI/UX、画面遷移図</vt:lpstr>
      <vt:lpstr>８.ユーザインタフェース｜画面ごとの機能一覧</vt:lpstr>
      <vt:lpstr>９.事業の推進体制</vt:lpstr>
      <vt:lpstr>目次</vt:lpstr>
      <vt:lpstr>1.データ活用の全体像</vt:lpstr>
      <vt:lpstr>１.データ活用の全体像│実現するUX</vt:lpstr>
      <vt:lpstr>１.データ活用の全体像│過年度の課題と解決</vt:lpstr>
      <vt:lpstr>１.データ活用の全体像│実装済みの機能</vt:lpstr>
      <vt:lpstr>２.実証仮説</vt:lpstr>
      <vt:lpstr>３.スコープ詳細</vt:lpstr>
      <vt:lpstr>４.データ活用実施エリア</vt:lpstr>
      <vt:lpstr>５.アーキテクチャ全体図-システムアーキテクチャ図-</vt:lpstr>
      <vt:lpstr>６.ハードウェアアーキテクチャ</vt:lpstr>
      <vt:lpstr>７.利用する技術要素</vt:lpstr>
      <vt:lpstr>８.利用するデータ一覧</vt:lpstr>
      <vt:lpstr>８.利用するデータ一覧 │ 各データ仕様</vt:lpstr>
      <vt:lpstr>９.ユーザインタフェース｜全体UI/UX、画面遷移図</vt:lpstr>
      <vt:lpstr>９.ユーザインタフェース｜画面ごとの機能一覧</vt:lpstr>
      <vt:lpstr>１０.事業の推進体制</vt:lpstr>
      <vt:lpstr>目次</vt:lpstr>
      <vt:lpstr>1.サービス全体像</vt:lpstr>
      <vt:lpstr>１.サービス全体像│実現するUX</vt:lpstr>
      <vt:lpstr>１.サービス全体像│過年度の課題と解決</vt:lpstr>
      <vt:lpstr>１.サービス全体像│実装済みの機能</vt:lpstr>
      <vt:lpstr>２.実証仮説</vt:lpstr>
      <vt:lpstr>３.スコープ詳細</vt:lpstr>
      <vt:lpstr>４.プロジェクト実施エリア</vt:lpstr>
      <vt:lpstr>５.アーキテクチャ全体図-システムアーキテクチャ図-</vt:lpstr>
      <vt:lpstr>６.ハードウェアアーキテクチャ</vt:lpstr>
      <vt:lpstr>７.利用する技術要素</vt:lpstr>
      <vt:lpstr>８.ユーザインタフェース｜全体UI/UX、画面遷移図</vt:lpstr>
      <vt:lpstr>８.ユーザインタフェース｜画面ごとの機能一覧</vt:lpstr>
      <vt:lpstr>９.事業の推進体制</vt:lpstr>
      <vt:lpstr>目次</vt:lpstr>
      <vt:lpstr>１.スケジュール（WBSガントチャート）</vt:lpstr>
      <vt:lpstr>２.プロジェクトのフロー </vt:lpstr>
      <vt:lpstr>目次</vt:lpstr>
      <vt:lpstr>1.リスク・課題</vt:lpstr>
      <vt:lpstr>2.コスト</vt:lpstr>
      <vt:lpstr>３.リソース(プロジェクト実施体制)（表）</vt:lpstr>
      <vt:lpstr>3.リソース(プロジェクト実施体制)（図）</vt:lpstr>
      <vt:lpstr>4.コミュニケーション（WBSガントチャート）</vt:lpstr>
      <vt:lpstr>5.品質</vt:lpstr>
      <vt:lpstr>6.成果物</vt:lpstr>
      <vt:lpstr>申送り事項</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006C88635A2424E86804F2342387106</vt:lpwstr>
  </property>
  <property fmtid="{D5CDD505-2E9C-101B-9397-08002B2CF9AE}" pid="3" name="MediaServiceImageTags">
    <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ies>
</file>